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av" ContentType="audio/wav"/>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Override2.xml" ContentType="application/vnd.openxmlformats-officedocument.themeOverrid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8.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9.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0.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1.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2.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3.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4.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16.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7.xml" ContentType="application/vnd.openxmlformats-officedocument.them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8.xml" ContentType="application/vnd.openxmlformats-officedocument.theme+xml"/>
  <Override PartName="/ppt/theme/themeOverride3.xml" ContentType="application/vnd.openxmlformats-officedocument.themeOverrid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9.xml" ContentType="application/vnd.openxmlformats-officedocument.theme+xml"/>
  <Override PartName="/ppt/theme/themeOverride4.xml" ContentType="application/vnd.openxmlformats-officedocument.themeOverrid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20.xml" ContentType="application/vnd.openxmlformats-officedocument.theme+xml"/>
  <Override PartName="/ppt/theme/themeOverride5.xml" ContentType="application/vnd.openxmlformats-officedocument.themeOverrid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21.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22.xml" ContentType="application/vnd.openxmlformats-officedocument.them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23.xml" ContentType="application/vnd.openxmlformats-officedocument.theme+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24.xml" ContentType="application/vnd.openxmlformats-officedocument.theme+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25.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6.xml" ContentType="application/vnd.openxmlformats-officedocument.theme+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27.xml" ContentType="application/vnd.openxmlformats-officedocument.theme+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28.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29.xml" ContentType="application/vnd.openxmlformats-officedocument.theme+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30.xml" ContentType="application/vnd.openxmlformats-officedocument.theme+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31.xml" ContentType="application/vnd.openxmlformats-officedocument.theme+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32.xml" ContentType="application/vnd.openxmlformats-officedocument.theme+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33.xml" ContentType="application/vnd.openxmlformats-officedocument.theme+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theme/theme34.xml" ContentType="application/vnd.openxmlformats-officedocument.theme+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theme/theme35.xml" ContentType="application/vnd.openxmlformats-officedocument.theme+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theme/theme36.xml" ContentType="application/vnd.openxmlformats-officedocument.theme+xml"/>
  <Override PartName="/ppt/theme/theme37.xml" ContentType="application/vnd.openxmlformats-officedocument.theme+xml"/>
  <Override PartName="/ppt/notesSlides/notesSlide1.xml" ContentType="application/vnd.openxmlformats-officedocument.presentationml.notesSlide+xml"/>
  <Override PartName="/ppt/theme/themeOverride6.xml" ContentType="application/vnd.openxmlformats-officedocument.themeOverride+xml"/>
  <Override PartName="/ppt/theme/themeOverride7.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0" r:id="rId1"/>
    <p:sldMasterId id="2147483806" r:id="rId2"/>
    <p:sldMasterId id="2147483835" r:id="rId3"/>
    <p:sldMasterId id="2147484022" r:id="rId4"/>
    <p:sldMasterId id="2147484036" r:id="rId5"/>
    <p:sldMasterId id="2147484154" r:id="rId6"/>
    <p:sldMasterId id="2147484180" r:id="rId7"/>
    <p:sldMasterId id="2147484197" r:id="rId8"/>
    <p:sldMasterId id="2147484210" r:id="rId9"/>
    <p:sldMasterId id="2147484307" r:id="rId10"/>
    <p:sldMasterId id="2147484314" r:id="rId11"/>
    <p:sldMasterId id="2147484326" r:id="rId12"/>
    <p:sldMasterId id="2147484341" r:id="rId13"/>
    <p:sldMasterId id="2147484353" r:id="rId14"/>
    <p:sldMasterId id="2147484368" r:id="rId15"/>
    <p:sldMasterId id="2147484406" r:id="rId16"/>
    <p:sldMasterId id="2147484418" r:id="rId17"/>
    <p:sldMasterId id="2147484430" r:id="rId18"/>
    <p:sldMasterId id="2147484442" r:id="rId19"/>
    <p:sldMasterId id="2147484454" r:id="rId20"/>
    <p:sldMasterId id="2147484466" r:id="rId21"/>
    <p:sldMasterId id="2147484485" r:id="rId22"/>
    <p:sldMasterId id="2147484499" r:id="rId23"/>
    <p:sldMasterId id="2147484511" r:id="rId24"/>
    <p:sldMasterId id="2147484523" r:id="rId25"/>
    <p:sldMasterId id="2147484535" r:id="rId26"/>
    <p:sldMasterId id="2147484547" r:id="rId27"/>
    <p:sldMasterId id="2147484560" r:id="rId28"/>
    <p:sldMasterId id="2147484572" r:id="rId29"/>
    <p:sldMasterId id="2147484589" r:id="rId30"/>
    <p:sldMasterId id="2147484601" r:id="rId31"/>
    <p:sldMasterId id="2147484606" r:id="rId32"/>
    <p:sldMasterId id="2147484618" r:id="rId33"/>
    <p:sldMasterId id="2147484634" r:id="rId34"/>
    <p:sldMasterId id="2147484646" r:id="rId35"/>
    <p:sldMasterId id="2147484658" r:id="rId36"/>
  </p:sldMasterIdLst>
  <p:notesMasterIdLst>
    <p:notesMasterId r:id="rId231"/>
  </p:notesMasterIdLst>
  <p:sldIdLst>
    <p:sldId id="624" r:id="rId37"/>
    <p:sldId id="488" r:id="rId38"/>
    <p:sldId id="558" r:id="rId39"/>
    <p:sldId id="674" r:id="rId40"/>
    <p:sldId id="559" r:id="rId41"/>
    <p:sldId id="560" r:id="rId42"/>
    <p:sldId id="577" r:id="rId43"/>
    <p:sldId id="672" r:id="rId44"/>
    <p:sldId id="673" r:id="rId45"/>
    <p:sldId id="561" r:id="rId46"/>
    <p:sldId id="562" r:id="rId47"/>
    <p:sldId id="573" r:id="rId48"/>
    <p:sldId id="574" r:id="rId49"/>
    <p:sldId id="629" r:id="rId50"/>
    <p:sldId id="631" r:id="rId51"/>
    <p:sldId id="578" r:id="rId52"/>
    <p:sldId id="575" r:id="rId53"/>
    <p:sldId id="628" r:id="rId54"/>
    <p:sldId id="576" r:id="rId55"/>
    <p:sldId id="563" r:id="rId56"/>
    <p:sldId id="564" r:id="rId57"/>
    <p:sldId id="565" r:id="rId58"/>
    <p:sldId id="566" r:id="rId59"/>
    <p:sldId id="567" r:id="rId60"/>
    <p:sldId id="568" r:id="rId61"/>
    <p:sldId id="569" r:id="rId62"/>
    <p:sldId id="570" r:id="rId63"/>
    <p:sldId id="571" r:id="rId64"/>
    <p:sldId id="572" r:id="rId65"/>
    <p:sldId id="625" r:id="rId66"/>
    <p:sldId id="580" r:id="rId67"/>
    <p:sldId id="581" r:id="rId68"/>
    <p:sldId id="582" r:id="rId69"/>
    <p:sldId id="583" r:id="rId70"/>
    <p:sldId id="584" r:id="rId71"/>
    <p:sldId id="585" r:id="rId72"/>
    <p:sldId id="586" r:id="rId73"/>
    <p:sldId id="587" r:id="rId74"/>
    <p:sldId id="588" r:id="rId75"/>
    <p:sldId id="589" r:id="rId76"/>
    <p:sldId id="590" r:id="rId77"/>
    <p:sldId id="591" r:id="rId78"/>
    <p:sldId id="592" r:id="rId79"/>
    <p:sldId id="593" r:id="rId80"/>
    <p:sldId id="594" r:id="rId81"/>
    <p:sldId id="595" r:id="rId82"/>
    <p:sldId id="626" r:id="rId83"/>
    <p:sldId id="596" r:id="rId84"/>
    <p:sldId id="597" r:id="rId85"/>
    <p:sldId id="598" r:id="rId86"/>
    <p:sldId id="599" r:id="rId87"/>
    <p:sldId id="600" r:id="rId88"/>
    <p:sldId id="627" r:id="rId89"/>
    <p:sldId id="601" r:id="rId90"/>
    <p:sldId id="602" r:id="rId91"/>
    <p:sldId id="603" r:id="rId92"/>
    <p:sldId id="604" r:id="rId93"/>
    <p:sldId id="605" r:id="rId94"/>
    <p:sldId id="606" r:id="rId95"/>
    <p:sldId id="607" r:id="rId96"/>
    <p:sldId id="608" r:id="rId97"/>
    <p:sldId id="609" r:id="rId98"/>
    <p:sldId id="610" r:id="rId99"/>
    <p:sldId id="611" r:id="rId100"/>
    <p:sldId id="612" r:id="rId101"/>
    <p:sldId id="613" r:id="rId102"/>
    <p:sldId id="614" r:id="rId103"/>
    <p:sldId id="615" r:id="rId104"/>
    <p:sldId id="616" r:id="rId105"/>
    <p:sldId id="617" r:id="rId106"/>
    <p:sldId id="618" r:id="rId107"/>
    <p:sldId id="619" r:id="rId108"/>
    <p:sldId id="620" r:id="rId109"/>
    <p:sldId id="621" r:id="rId110"/>
    <p:sldId id="622" r:id="rId111"/>
    <p:sldId id="623" r:id="rId112"/>
    <p:sldId id="493" r:id="rId113"/>
    <p:sldId id="494" r:id="rId114"/>
    <p:sldId id="513" r:id="rId115"/>
    <p:sldId id="630" r:id="rId116"/>
    <p:sldId id="632" r:id="rId117"/>
    <p:sldId id="515" r:id="rId118"/>
    <p:sldId id="514" r:id="rId119"/>
    <p:sldId id="497" r:id="rId120"/>
    <p:sldId id="516" r:id="rId121"/>
    <p:sldId id="517" r:id="rId122"/>
    <p:sldId id="498" r:id="rId123"/>
    <p:sldId id="500" r:id="rId124"/>
    <p:sldId id="507" r:id="rId125"/>
    <p:sldId id="510" r:id="rId126"/>
    <p:sldId id="511" r:id="rId127"/>
    <p:sldId id="634" r:id="rId128"/>
    <p:sldId id="635" r:id="rId129"/>
    <p:sldId id="636" r:id="rId130"/>
    <p:sldId id="637" r:id="rId131"/>
    <p:sldId id="638" r:id="rId132"/>
    <p:sldId id="639" r:id="rId133"/>
    <p:sldId id="640" r:id="rId134"/>
    <p:sldId id="641" r:id="rId135"/>
    <p:sldId id="642" r:id="rId136"/>
    <p:sldId id="643" r:id="rId137"/>
    <p:sldId id="644" r:id="rId138"/>
    <p:sldId id="645" r:id="rId139"/>
    <p:sldId id="646" r:id="rId140"/>
    <p:sldId id="647" r:id="rId141"/>
    <p:sldId id="648" r:id="rId142"/>
    <p:sldId id="649" r:id="rId143"/>
    <p:sldId id="650" r:id="rId144"/>
    <p:sldId id="651" r:id="rId145"/>
    <p:sldId id="652" r:id="rId146"/>
    <p:sldId id="653" r:id="rId147"/>
    <p:sldId id="654" r:id="rId148"/>
    <p:sldId id="655" r:id="rId149"/>
    <p:sldId id="656" r:id="rId150"/>
    <p:sldId id="657" r:id="rId151"/>
    <p:sldId id="658" r:id="rId152"/>
    <p:sldId id="659" r:id="rId153"/>
    <p:sldId id="660" r:id="rId154"/>
    <p:sldId id="661" r:id="rId155"/>
    <p:sldId id="662" r:id="rId156"/>
    <p:sldId id="663" r:id="rId157"/>
    <p:sldId id="664" r:id="rId158"/>
    <p:sldId id="665" r:id="rId159"/>
    <p:sldId id="666" r:id="rId160"/>
    <p:sldId id="667" r:id="rId161"/>
    <p:sldId id="668" r:id="rId162"/>
    <p:sldId id="669" r:id="rId163"/>
    <p:sldId id="670" r:id="rId164"/>
    <p:sldId id="671" r:id="rId165"/>
    <p:sldId id="541" r:id="rId166"/>
    <p:sldId id="549" r:id="rId167"/>
    <p:sldId id="542" r:id="rId168"/>
    <p:sldId id="543" r:id="rId169"/>
    <p:sldId id="544" r:id="rId170"/>
    <p:sldId id="547" r:id="rId171"/>
    <p:sldId id="548" r:id="rId172"/>
    <p:sldId id="545" r:id="rId173"/>
    <p:sldId id="546" r:id="rId174"/>
    <p:sldId id="550" r:id="rId175"/>
    <p:sldId id="552" r:id="rId176"/>
    <p:sldId id="553" r:id="rId177"/>
    <p:sldId id="551" r:id="rId178"/>
    <p:sldId id="554" r:id="rId179"/>
    <p:sldId id="555" r:id="rId180"/>
    <p:sldId id="469" r:id="rId181"/>
    <p:sldId id="490" r:id="rId182"/>
    <p:sldId id="556" r:id="rId183"/>
    <p:sldId id="557" r:id="rId184"/>
    <p:sldId id="468" r:id="rId185"/>
    <p:sldId id="480" r:id="rId186"/>
    <p:sldId id="426" r:id="rId187"/>
    <p:sldId id="427" r:id="rId188"/>
    <p:sldId id="375" r:id="rId189"/>
    <p:sldId id="381" r:id="rId190"/>
    <p:sldId id="428" r:id="rId191"/>
    <p:sldId id="344" r:id="rId192"/>
    <p:sldId id="483" r:id="rId193"/>
    <p:sldId id="348" r:id="rId194"/>
    <p:sldId id="349" r:id="rId195"/>
    <p:sldId id="484" r:id="rId196"/>
    <p:sldId id="305" r:id="rId197"/>
    <p:sldId id="266" r:id="rId198"/>
    <p:sldId id="482" r:id="rId199"/>
    <p:sldId id="485" r:id="rId200"/>
    <p:sldId id="486" r:id="rId201"/>
    <p:sldId id="313" r:id="rId202"/>
    <p:sldId id="277" r:id="rId203"/>
    <p:sldId id="461" r:id="rId204"/>
    <p:sldId id="290" r:id="rId205"/>
    <p:sldId id="293" r:id="rId206"/>
    <p:sldId id="299" r:id="rId207"/>
    <p:sldId id="487" r:id="rId208"/>
    <p:sldId id="308" r:id="rId209"/>
    <p:sldId id="311" r:id="rId210"/>
    <p:sldId id="431" r:id="rId211"/>
    <p:sldId id="434" r:id="rId212"/>
    <p:sldId id="491" r:id="rId213"/>
    <p:sldId id="436" r:id="rId214"/>
    <p:sldId id="439" r:id="rId215"/>
    <p:sldId id="445" r:id="rId216"/>
    <p:sldId id="459" r:id="rId217"/>
    <p:sldId id="460" r:id="rId218"/>
    <p:sldId id="462" r:id="rId219"/>
    <p:sldId id="492" r:id="rId220"/>
    <p:sldId id="467" r:id="rId221"/>
    <p:sldId id="464" r:id="rId222"/>
    <p:sldId id="481" r:id="rId223"/>
    <p:sldId id="479" r:id="rId224"/>
    <p:sldId id="470" r:id="rId225"/>
    <p:sldId id="472" r:id="rId226"/>
    <p:sldId id="476" r:id="rId227"/>
    <p:sldId id="477" r:id="rId228"/>
    <p:sldId id="435" r:id="rId229"/>
    <p:sldId id="633" r:id="rId23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54" autoAdjust="0"/>
    <p:restoredTop sz="97331" autoAdjust="0"/>
  </p:normalViewPr>
  <p:slideViewPr>
    <p:cSldViewPr>
      <p:cViewPr varScale="1">
        <p:scale>
          <a:sx n="99" d="100"/>
          <a:sy n="99" d="100"/>
        </p:scale>
        <p:origin x="1066" y="82"/>
      </p:cViewPr>
      <p:guideLst>
        <p:guide orient="horz" pos="2160"/>
        <p:guide pos="2880"/>
      </p:guideLst>
    </p:cSldViewPr>
  </p:slideViewPr>
  <p:outlineViewPr>
    <p:cViewPr>
      <p:scale>
        <a:sx n="33" d="100"/>
        <a:sy n="33" d="100"/>
      </p:scale>
      <p:origin x="0" y="0"/>
    </p:cViewPr>
    <p:sldLst>
      <p:sld r:id="rId1" collapse="1"/>
      <p:sld r:id="rId2" collapse="1"/>
      <p:sld r:id="rId3" collapse="1"/>
    </p:sldLst>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81.xml"/><Relationship Id="rId21" Type="http://schemas.openxmlformats.org/officeDocument/2006/relationships/slideMaster" Target="slideMasters/slideMaster21.xml"/><Relationship Id="rId42" Type="http://schemas.openxmlformats.org/officeDocument/2006/relationships/slide" Target="slides/slide6.xml"/><Relationship Id="rId63" Type="http://schemas.openxmlformats.org/officeDocument/2006/relationships/slide" Target="slides/slide27.xml"/><Relationship Id="rId84" Type="http://schemas.openxmlformats.org/officeDocument/2006/relationships/slide" Target="slides/slide48.xml"/><Relationship Id="rId138" Type="http://schemas.openxmlformats.org/officeDocument/2006/relationships/slide" Target="slides/slide102.xml"/><Relationship Id="rId159" Type="http://schemas.openxmlformats.org/officeDocument/2006/relationships/slide" Target="slides/slide123.xml"/><Relationship Id="rId170" Type="http://schemas.openxmlformats.org/officeDocument/2006/relationships/slide" Target="slides/slide134.xml"/><Relationship Id="rId191" Type="http://schemas.openxmlformats.org/officeDocument/2006/relationships/slide" Target="slides/slide155.xml"/><Relationship Id="rId205" Type="http://schemas.openxmlformats.org/officeDocument/2006/relationships/slide" Target="slides/slide169.xml"/><Relationship Id="rId226" Type="http://schemas.openxmlformats.org/officeDocument/2006/relationships/slide" Target="slides/slide190.xml"/><Relationship Id="rId107" Type="http://schemas.openxmlformats.org/officeDocument/2006/relationships/slide" Target="slides/slide71.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53" Type="http://schemas.openxmlformats.org/officeDocument/2006/relationships/slide" Target="slides/slide17.xml"/><Relationship Id="rId74" Type="http://schemas.openxmlformats.org/officeDocument/2006/relationships/slide" Target="slides/slide38.xml"/><Relationship Id="rId128" Type="http://schemas.openxmlformats.org/officeDocument/2006/relationships/slide" Target="slides/slide92.xml"/><Relationship Id="rId149" Type="http://schemas.openxmlformats.org/officeDocument/2006/relationships/slide" Target="slides/slide113.xml"/><Relationship Id="rId5" Type="http://schemas.openxmlformats.org/officeDocument/2006/relationships/slideMaster" Target="slideMasters/slideMaster5.xml"/><Relationship Id="rId95" Type="http://schemas.openxmlformats.org/officeDocument/2006/relationships/slide" Target="slides/slide59.xml"/><Relationship Id="rId160" Type="http://schemas.openxmlformats.org/officeDocument/2006/relationships/slide" Target="slides/slide124.xml"/><Relationship Id="rId181" Type="http://schemas.openxmlformats.org/officeDocument/2006/relationships/slide" Target="slides/slide145.xml"/><Relationship Id="rId216" Type="http://schemas.openxmlformats.org/officeDocument/2006/relationships/slide" Target="slides/slide180.xml"/><Relationship Id="rId22" Type="http://schemas.openxmlformats.org/officeDocument/2006/relationships/slideMaster" Target="slideMasters/slideMaster22.xml"/><Relationship Id="rId43" Type="http://schemas.openxmlformats.org/officeDocument/2006/relationships/slide" Target="slides/slide7.xml"/><Relationship Id="rId64" Type="http://schemas.openxmlformats.org/officeDocument/2006/relationships/slide" Target="slides/slide28.xml"/><Relationship Id="rId118" Type="http://schemas.openxmlformats.org/officeDocument/2006/relationships/slide" Target="slides/slide82.xml"/><Relationship Id="rId139" Type="http://schemas.openxmlformats.org/officeDocument/2006/relationships/slide" Target="slides/slide103.xml"/><Relationship Id="rId85" Type="http://schemas.openxmlformats.org/officeDocument/2006/relationships/slide" Target="slides/slide49.xml"/><Relationship Id="rId150" Type="http://schemas.openxmlformats.org/officeDocument/2006/relationships/slide" Target="slides/slide114.xml"/><Relationship Id="rId171" Type="http://schemas.openxmlformats.org/officeDocument/2006/relationships/slide" Target="slides/slide135.xml"/><Relationship Id="rId192" Type="http://schemas.openxmlformats.org/officeDocument/2006/relationships/slide" Target="slides/slide156.xml"/><Relationship Id="rId206" Type="http://schemas.openxmlformats.org/officeDocument/2006/relationships/slide" Target="slides/slide170.xml"/><Relationship Id="rId227" Type="http://schemas.openxmlformats.org/officeDocument/2006/relationships/slide" Target="slides/slide191.xml"/><Relationship Id="rId12" Type="http://schemas.openxmlformats.org/officeDocument/2006/relationships/slideMaster" Target="slideMasters/slideMaster12.xml"/><Relationship Id="rId33" Type="http://schemas.openxmlformats.org/officeDocument/2006/relationships/slideMaster" Target="slideMasters/slideMaster33.xml"/><Relationship Id="rId108" Type="http://schemas.openxmlformats.org/officeDocument/2006/relationships/slide" Target="slides/slide72.xml"/><Relationship Id="rId129" Type="http://schemas.openxmlformats.org/officeDocument/2006/relationships/slide" Target="slides/slide93.xml"/><Relationship Id="rId54" Type="http://schemas.openxmlformats.org/officeDocument/2006/relationships/slide" Target="slides/slide18.xml"/><Relationship Id="rId75" Type="http://schemas.openxmlformats.org/officeDocument/2006/relationships/slide" Target="slides/slide39.xml"/><Relationship Id="rId96" Type="http://schemas.openxmlformats.org/officeDocument/2006/relationships/slide" Target="slides/slide60.xml"/><Relationship Id="rId140" Type="http://schemas.openxmlformats.org/officeDocument/2006/relationships/slide" Target="slides/slide104.xml"/><Relationship Id="rId161" Type="http://schemas.openxmlformats.org/officeDocument/2006/relationships/slide" Target="slides/slide125.xml"/><Relationship Id="rId182" Type="http://schemas.openxmlformats.org/officeDocument/2006/relationships/slide" Target="slides/slide146.xml"/><Relationship Id="rId217" Type="http://schemas.openxmlformats.org/officeDocument/2006/relationships/slide" Target="slides/slide18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119" Type="http://schemas.openxmlformats.org/officeDocument/2006/relationships/slide" Target="slides/slide83.xml"/><Relationship Id="rId44" Type="http://schemas.openxmlformats.org/officeDocument/2006/relationships/slide" Target="slides/slide8.xml"/><Relationship Id="rId65" Type="http://schemas.openxmlformats.org/officeDocument/2006/relationships/slide" Target="slides/slide29.xml"/><Relationship Id="rId86" Type="http://schemas.openxmlformats.org/officeDocument/2006/relationships/slide" Target="slides/slide50.xml"/><Relationship Id="rId130" Type="http://schemas.openxmlformats.org/officeDocument/2006/relationships/slide" Target="slides/slide94.xml"/><Relationship Id="rId151" Type="http://schemas.openxmlformats.org/officeDocument/2006/relationships/slide" Target="slides/slide115.xml"/><Relationship Id="rId172" Type="http://schemas.openxmlformats.org/officeDocument/2006/relationships/slide" Target="slides/slide136.xml"/><Relationship Id="rId193" Type="http://schemas.openxmlformats.org/officeDocument/2006/relationships/slide" Target="slides/slide157.xml"/><Relationship Id="rId207" Type="http://schemas.openxmlformats.org/officeDocument/2006/relationships/slide" Target="slides/slide171.xml"/><Relationship Id="rId228" Type="http://schemas.openxmlformats.org/officeDocument/2006/relationships/slide" Target="slides/slide192.xml"/><Relationship Id="rId13" Type="http://schemas.openxmlformats.org/officeDocument/2006/relationships/slideMaster" Target="slideMasters/slideMaster13.xml"/><Relationship Id="rId109" Type="http://schemas.openxmlformats.org/officeDocument/2006/relationships/slide" Target="slides/slide73.xml"/><Relationship Id="rId34" Type="http://schemas.openxmlformats.org/officeDocument/2006/relationships/slideMaster" Target="slideMasters/slideMaster34.xml"/><Relationship Id="rId55" Type="http://schemas.openxmlformats.org/officeDocument/2006/relationships/slide" Target="slides/slide19.xml"/><Relationship Id="rId76" Type="http://schemas.openxmlformats.org/officeDocument/2006/relationships/slide" Target="slides/slide40.xml"/><Relationship Id="rId97" Type="http://schemas.openxmlformats.org/officeDocument/2006/relationships/slide" Target="slides/slide61.xml"/><Relationship Id="rId120" Type="http://schemas.openxmlformats.org/officeDocument/2006/relationships/slide" Target="slides/slide84.xml"/><Relationship Id="rId141" Type="http://schemas.openxmlformats.org/officeDocument/2006/relationships/slide" Target="slides/slide105.xml"/><Relationship Id="rId7" Type="http://schemas.openxmlformats.org/officeDocument/2006/relationships/slideMaster" Target="slideMasters/slideMaster7.xml"/><Relationship Id="rId162" Type="http://schemas.openxmlformats.org/officeDocument/2006/relationships/slide" Target="slides/slide126.xml"/><Relationship Id="rId183" Type="http://schemas.openxmlformats.org/officeDocument/2006/relationships/slide" Target="slides/slide147.xml"/><Relationship Id="rId218" Type="http://schemas.openxmlformats.org/officeDocument/2006/relationships/slide" Target="slides/slide182.xml"/><Relationship Id="rId24" Type="http://schemas.openxmlformats.org/officeDocument/2006/relationships/slideMaster" Target="slideMasters/slideMaster24.xml"/><Relationship Id="rId45" Type="http://schemas.openxmlformats.org/officeDocument/2006/relationships/slide" Target="slides/slide9.xml"/><Relationship Id="rId66" Type="http://schemas.openxmlformats.org/officeDocument/2006/relationships/slide" Target="slides/slide30.xml"/><Relationship Id="rId87" Type="http://schemas.openxmlformats.org/officeDocument/2006/relationships/slide" Target="slides/slide51.xml"/><Relationship Id="rId110" Type="http://schemas.openxmlformats.org/officeDocument/2006/relationships/slide" Target="slides/slide74.xml"/><Relationship Id="rId131" Type="http://schemas.openxmlformats.org/officeDocument/2006/relationships/slide" Target="slides/slide95.xml"/><Relationship Id="rId152" Type="http://schemas.openxmlformats.org/officeDocument/2006/relationships/slide" Target="slides/slide116.xml"/><Relationship Id="rId173" Type="http://schemas.openxmlformats.org/officeDocument/2006/relationships/slide" Target="slides/slide137.xml"/><Relationship Id="rId194" Type="http://schemas.openxmlformats.org/officeDocument/2006/relationships/slide" Target="slides/slide158.xml"/><Relationship Id="rId208" Type="http://schemas.openxmlformats.org/officeDocument/2006/relationships/slide" Target="slides/slide172.xml"/><Relationship Id="rId229" Type="http://schemas.openxmlformats.org/officeDocument/2006/relationships/slide" Target="slides/slide193.xml"/><Relationship Id="rId14" Type="http://schemas.openxmlformats.org/officeDocument/2006/relationships/slideMaster" Target="slideMasters/slideMaster14.xml"/><Relationship Id="rId35" Type="http://schemas.openxmlformats.org/officeDocument/2006/relationships/slideMaster" Target="slideMasters/slideMaster35.xml"/><Relationship Id="rId56" Type="http://schemas.openxmlformats.org/officeDocument/2006/relationships/slide" Target="slides/slide20.xml"/><Relationship Id="rId77" Type="http://schemas.openxmlformats.org/officeDocument/2006/relationships/slide" Target="slides/slide41.xml"/><Relationship Id="rId100" Type="http://schemas.openxmlformats.org/officeDocument/2006/relationships/slide" Target="slides/slide64.xml"/><Relationship Id="rId8" Type="http://schemas.openxmlformats.org/officeDocument/2006/relationships/slideMaster" Target="slideMasters/slideMaster8.xml"/><Relationship Id="rId98" Type="http://schemas.openxmlformats.org/officeDocument/2006/relationships/slide" Target="slides/slide62.xml"/><Relationship Id="rId121" Type="http://schemas.openxmlformats.org/officeDocument/2006/relationships/slide" Target="slides/slide85.xml"/><Relationship Id="rId142" Type="http://schemas.openxmlformats.org/officeDocument/2006/relationships/slide" Target="slides/slide106.xml"/><Relationship Id="rId163" Type="http://schemas.openxmlformats.org/officeDocument/2006/relationships/slide" Target="slides/slide127.xml"/><Relationship Id="rId184" Type="http://schemas.openxmlformats.org/officeDocument/2006/relationships/slide" Target="slides/slide148.xml"/><Relationship Id="rId219" Type="http://schemas.openxmlformats.org/officeDocument/2006/relationships/slide" Target="slides/slide183.xml"/><Relationship Id="rId230" Type="http://schemas.openxmlformats.org/officeDocument/2006/relationships/slide" Target="slides/slide194.xml"/><Relationship Id="rId25" Type="http://schemas.openxmlformats.org/officeDocument/2006/relationships/slideMaster" Target="slideMasters/slideMaster25.xml"/><Relationship Id="rId46" Type="http://schemas.openxmlformats.org/officeDocument/2006/relationships/slide" Target="slides/slide10.xml"/><Relationship Id="rId67" Type="http://schemas.openxmlformats.org/officeDocument/2006/relationships/slide" Target="slides/slide31.xml"/><Relationship Id="rId20" Type="http://schemas.openxmlformats.org/officeDocument/2006/relationships/slideMaster" Target="slideMasters/slideMaster20.xml"/><Relationship Id="rId41" Type="http://schemas.openxmlformats.org/officeDocument/2006/relationships/slide" Target="slides/slide5.xml"/><Relationship Id="rId62" Type="http://schemas.openxmlformats.org/officeDocument/2006/relationships/slide" Target="slides/slide26.xml"/><Relationship Id="rId83" Type="http://schemas.openxmlformats.org/officeDocument/2006/relationships/slide" Target="slides/slide47.xml"/><Relationship Id="rId88" Type="http://schemas.openxmlformats.org/officeDocument/2006/relationships/slide" Target="slides/slide52.xml"/><Relationship Id="rId111" Type="http://schemas.openxmlformats.org/officeDocument/2006/relationships/slide" Target="slides/slide75.xml"/><Relationship Id="rId132" Type="http://schemas.openxmlformats.org/officeDocument/2006/relationships/slide" Target="slides/slide96.xml"/><Relationship Id="rId153" Type="http://schemas.openxmlformats.org/officeDocument/2006/relationships/slide" Target="slides/slide117.xml"/><Relationship Id="rId174" Type="http://schemas.openxmlformats.org/officeDocument/2006/relationships/slide" Target="slides/slide138.xml"/><Relationship Id="rId179" Type="http://schemas.openxmlformats.org/officeDocument/2006/relationships/slide" Target="slides/slide143.xml"/><Relationship Id="rId195" Type="http://schemas.openxmlformats.org/officeDocument/2006/relationships/slide" Target="slides/slide159.xml"/><Relationship Id="rId209" Type="http://schemas.openxmlformats.org/officeDocument/2006/relationships/slide" Target="slides/slide173.xml"/><Relationship Id="rId190" Type="http://schemas.openxmlformats.org/officeDocument/2006/relationships/slide" Target="slides/slide154.xml"/><Relationship Id="rId204" Type="http://schemas.openxmlformats.org/officeDocument/2006/relationships/slide" Target="slides/slide168.xml"/><Relationship Id="rId220" Type="http://schemas.openxmlformats.org/officeDocument/2006/relationships/slide" Target="slides/slide184.xml"/><Relationship Id="rId225" Type="http://schemas.openxmlformats.org/officeDocument/2006/relationships/slide" Target="slides/slide189.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 Target="slides/slide21.xml"/><Relationship Id="rId106" Type="http://schemas.openxmlformats.org/officeDocument/2006/relationships/slide" Target="slides/slide70.xml"/><Relationship Id="rId127" Type="http://schemas.openxmlformats.org/officeDocument/2006/relationships/slide" Target="slides/slide91.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 Target="slides/slide16.xml"/><Relationship Id="rId73" Type="http://schemas.openxmlformats.org/officeDocument/2006/relationships/slide" Target="slides/slide37.xml"/><Relationship Id="rId78" Type="http://schemas.openxmlformats.org/officeDocument/2006/relationships/slide" Target="slides/slide42.xml"/><Relationship Id="rId94" Type="http://schemas.openxmlformats.org/officeDocument/2006/relationships/slide" Target="slides/slide58.xml"/><Relationship Id="rId99" Type="http://schemas.openxmlformats.org/officeDocument/2006/relationships/slide" Target="slides/slide63.xml"/><Relationship Id="rId101" Type="http://schemas.openxmlformats.org/officeDocument/2006/relationships/slide" Target="slides/slide65.xml"/><Relationship Id="rId122" Type="http://schemas.openxmlformats.org/officeDocument/2006/relationships/slide" Target="slides/slide86.xml"/><Relationship Id="rId143" Type="http://schemas.openxmlformats.org/officeDocument/2006/relationships/slide" Target="slides/slide107.xml"/><Relationship Id="rId148" Type="http://schemas.openxmlformats.org/officeDocument/2006/relationships/slide" Target="slides/slide112.xml"/><Relationship Id="rId164" Type="http://schemas.openxmlformats.org/officeDocument/2006/relationships/slide" Target="slides/slide128.xml"/><Relationship Id="rId169" Type="http://schemas.openxmlformats.org/officeDocument/2006/relationships/slide" Target="slides/slide133.xml"/><Relationship Id="rId185" Type="http://schemas.openxmlformats.org/officeDocument/2006/relationships/slide" Target="slides/slide149.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44.xml"/><Relationship Id="rId210" Type="http://schemas.openxmlformats.org/officeDocument/2006/relationships/slide" Target="slides/slide174.xml"/><Relationship Id="rId215" Type="http://schemas.openxmlformats.org/officeDocument/2006/relationships/slide" Target="slides/slide179.xml"/><Relationship Id="rId26" Type="http://schemas.openxmlformats.org/officeDocument/2006/relationships/slideMaster" Target="slideMasters/slideMaster26.xml"/><Relationship Id="rId231" Type="http://schemas.openxmlformats.org/officeDocument/2006/relationships/notesMaster" Target="notesMasters/notesMaster1.xml"/><Relationship Id="rId47" Type="http://schemas.openxmlformats.org/officeDocument/2006/relationships/slide" Target="slides/slide11.xml"/><Relationship Id="rId68" Type="http://schemas.openxmlformats.org/officeDocument/2006/relationships/slide" Target="slides/slide32.xml"/><Relationship Id="rId89" Type="http://schemas.openxmlformats.org/officeDocument/2006/relationships/slide" Target="slides/slide53.xml"/><Relationship Id="rId112" Type="http://schemas.openxmlformats.org/officeDocument/2006/relationships/slide" Target="slides/slide76.xml"/><Relationship Id="rId133" Type="http://schemas.openxmlformats.org/officeDocument/2006/relationships/slide" Target="slides/slide97.xml"/><Relationship Id="rId154" Type="http://schemas.openxmlformats.org/officeDocument/2006/relationships/slide" Target="slides/slide118.xml"/><Relationship Id="rId175" Type="http://schemas.openxmlformats.org/officeDocument/2006/relationships/slide" Target="slides/slide139.xml"/><Relationship Id="rId196" Type="http://schemas.openxmlformats.org/officeDocument/2006/relationships/slide" Target="slides/slide160.xml"/><Relationship Id="rId200" Type="http://schemas.openxmlformats.org/officeDocument/2006/relationships/slide" Target="slides/slide164.xml"/><Relationship Id="rId16" Type="http://schemas.openxmlformats.org/officeDocument/2006/relationships/slideMaster" Target="slideMasters/slideMaster16.xml"/><Relationship Id="rId221" Type="http://schemas.openxmlformats.org/officeDocument/2006/relationships/slide" Target="slides/slide185.xml"/><Relationship Id="rId37" Type="http://schemas.openxmlformats.org/officeDocument/2006/relationships/slide" Target="slides/slide1.xml"/><Relationship Id="rId58" Type="http://schemas.openxmlformats.org/officeDocument/2006/relationships/slide" Target="slides/slide22.xml"/><Relationship Id="rId79" Type="http://schemas.openxmlformats.org/officeDocument/2006/relationships/slide" Target="slides/slide43.xml"/><Relationship Id="rId102" Type="http://schemas.openxmlformats.org/officeDocument/2006/relationships/slide" Target="slides/slide66.xml"/><Relationship Id="rId123" Type="http://schemas.openxmlformats.org/officeDocument/2006/relationships/slide" Target="slides/slide87.xml"/><Relationship Id="rId144" Type="http://schemas.openxmlformats.org/officeDocument/2006/relationships/slide" Target="slides/slide108.xml"/><Relationship Id="rId90" Type="http://schemas.openxmlformats.org/officeDocument/2006/relationships/slide" Target="slides/slide54.xml"/><Relationship Id="rId165" Type="http://schemas.openxmlformats.org/officeDocument/2006/relationships/slide" Target="slides/slide129.xml"/><Relationship Id="rId186" Type="http://schemas.openxmlformats.org/officeDocument/2006/relationships/slide" Target="slides/slide150.xml"/><Relationship Id="rId211" Type="http://schemas.openxmlformats.org/officeDocument/2006/relationships/slide" Target="slides/slide175.xml"/><Relationship Id="rId232" Type="http://schemas.openxmlformats.org/officeDocument/2006/relationships/presProps" Target="presProps.xml"/><Relationship Id="rId27" Type="http://schemas.openxmlformats.org/officeDocument/2006/relationships/slideMaster" Target="slideMasters/slideMaster27.xml"/><Relationship Id="rId48" Type="http://schemas.openxmlformats.org/officeDocument/2006/relationships/slide" Target="slides/slide12.xml"/><Relationship Id="rId69" Type="http://schemas.openxmlformats.org/officeDocument/2006/relationships/slide" Target="slides/slide33.xml"/><Relationship Id="rId113" Type="http://schemas.openxmlformats.org/officeDocument/2006/relationships/slide" Target="slides/slide77.xml"/><Relationship Id="rId134" Type="http://schemas.openxmlformats.org/officeDocument/2006/relationships/slide" Target="slides/slide98.xml"/><Relationship Id="rId80" Type="http://schemas.openxmlformats.org/officeDocument/2006/relationships/slide" Target="slides/slide44.xml"/><Relationship Id="rId155" Type="http://schemas.openxmlformats.org/officeDocument/2006/relationships/slide" Target="slides/slide119.xml"/><Relationship Id="rId176" Type="http://schemas.openxmlformats.org/officeDocument/2006/relationships/slide" Target="slides/slide140.xml"/><Relationship Id="rId197" Type="http://schemas.openxmlformats.org/officeDocument/2006/relationships/slide" Target="slides/slide161.xml"/><Relationship Id="rId201" Type="http://schemas.openxmlformats.org/officeDocument/2006/relationships/slide" Target="slides/slide165.xml"/><Relationship Id="rId222" Type="http://schemas.openxmlformats.org/officeDocument/2006/relationships/slide" Target="slides/slide186.xml"/><Relationship Id="rId17" Type="http://schemas.openxmlformats.org/officeDocument/2006/relationships/slideMaster" Target="slideMasters/slideMaster17.xml"/><Relationship Id="rId38" Type="http://schemas.openxmlformats.org/officeDocument/2006/relationships/slide" Target="slides/slide2.xml"/><Relationship Id="rId59" Type="http://schemas.openxmlformats.org/officeDocument/2006/relationships/slide" Target="slides/slide23.xml"/><Relationship Id="rId103" Type="http://schemas.openxmlformats.org/officeDocument/2006/relationships/slide" Target="slides/slide67.xml"/><Relationship Id="rId124" Type="http://schemas.openxmlformats.org/officeDocument/2006/relationships/slide" Target="slides/slide88.xml"/><Relationship Id="rId70" Type="http://schemas.openxmlformats.org/officeDocument/2006/relationships/slide" Target="slides/slide34.xml"/><Relationship Id="rId91" Type="http://schemas.openxmlformats.org/officeDocument/2006/relationships/slide" Target="slides/slide55.xml"/><Relationship Id="rId145" Type="http://schemas.openxmlformats.org/officeDocument/2006/relationships/slide" Target="slides/slide109.xml"/><Relationship Id="rId166" Type="http://schemas.openxmlformats.org/officeDocument/2006/relationships/slide" Target="slides/slide130.xml"/><Relationship Id="rId187" Type="http://schemas.openxmlformats.org/officeDocument/2006/relationships/slide" Target="slides/slide151.xml"/><Relationship Id="rId1" Type="http://schemas.openxmlformats.org/officeDocument/2006/relationships/slideMaster" Target="slideMasters/slideMaster1.xml"/><Relationship Id="rId212" Type="http://schemas.openxmlformats.org/officeDocument/2006/relationships/slide" Target="slides/slide176.xml"/><Relationship Id="rId233" Type="http://schemas.openxmlformats.org/officeDocument/2006/relationships/viewProps" Target="viewProps.xml"/><Relationship Id="rId28" Type="http://schemas.openxmlformats.org/officeDocument/2006/relationships/slideMaster" Target="slideMasters/slideMaster28.xml"/><Relationship Id="rId49" Type="http://schemas.openxmlformats.org/officeDocument/2006/relationships/slide" Target="slides/slide13.xml"/><Relationship Id="rId114" Type="http://schemas.openxmlformats.org/officeDocument/2006/relationships/slide" Target="slides/slide78.xml"/><Relationship Id="rId60" Type="http://schemas.openxmlformats.org/officeDocument/2006/relationships/slide" Target="slides/slide24.xml"/><Relationship Id="rId81" Type="http://schemas.openxmlformats.org/officeDocument/2006/relationships/slide" Target="slides/slide45.xml"/><Relationship Id="rId135" Type="http://schemas.openxmlformats.org/officeDocument/2006/relationships/slide" Target="slides/slide99.xml"/><Relationship Id="rId156" Type="http://schemas.openxmlformats.org/officeDocument/2006/relationships/slide" Target="slides/slide120.xml"/><Relationship Id="rId177" Type="http://schemas.openxmlformats.org/officeDocument/2006/relationships/slide" Target="slides/slide141.xml"/><Relationship Id="rId198" Type="http://schemas.openxmlformats.org/officeDocument/2006/relationships/slide" Target="slides/slide162.xml"/><Relationship Id="rId202" Type="http://schemas.openxmlformats.org/officeDocument/2006/relationships/slide" Target="slides/slide166.xml"/><Relationship Id="rId223" Type="http://schemas.openxmlformats.org/officeDocument/2006/relationships/slide" Target="slides/slide187.xml"/><Relationship Id="rId18" Type="http://schemas.openxmlformats.org/officeDocument/2006/relationships/slideMaster" Target="slideMasters/slideMaster18.xml"/><Relationship Id="rId39" Type="http://schemas.openxmlformats.org/officeDocument/2006/relationships/slide" Target="slides/slide3.xml"/><Relationship Id="rId50" Type="http://schemas.openxmlformats.org/officeDocument/2006/relationships/slide" Target="slides/slide14.xml"/><Relationship Id="rId104" Type="http://schemas.openxmlformats.org/officeDocument/2006/relationships/slide" Target="slides/slide68.xml"/><Relationship Id="rId125" Type="http://schemas.openxmlformats.org/officeDocument/2006/relationships/slide" Target="slides/slide89.xml"/><Relationship Id="rId146" Type="http://schemas.openxmlformats.org/officeDocument/2006/relationships/slide" Target="slides/slide110.xml"/><Relationship Id="rId167" Type="http://schemas.openxmlformats.org/officeDocument/2006/relationships/slide" Target="slides/slide131.xml"/><Relationship Id="rId188" Type="http://schemas.openxmlformats.org/officeDocument/2006/relationships/slide" Target="slides/slide152.xml"/><Relationship Id="rId71" Type="http://schemas.openxmlformats.org/officeDocument/2006/relationships/slide" Target="slides/slide35.xml"/><Relationship Id="rId92" Type="http://schemas.openxmlformats.org/officeDocument/2006/relationships/slide" Target="slides/slide56.xml"/><Relationship Id="rId213" Type="http://schemas.openxmlformats.org/officeDocument/2006/relationships/slide" Target="slides/slide177.xml"/><Relationship Id="rId234" Type="http://schemas.openxmlformats.org/officeDocument/2006/relationships/theme" Target="theme/theme1.xml"/><Relationship Id="rId2" Type="http://schemas.openxmlformats.org/officeDocument/2006/relationships/slideMaster" Target="slideMasters/slideMaster2.xml"/><Relationship Id="rId29" Type="http://schemas.openxmlformats.org/officeDocument/2006/relationships/slideMaster" Target="slideMasters/slideMaster29.xml"/><Relationship Id="rId40" Type="http://schemas.openxmlformats.org/officeDocument/2006/relationships/slide" Target="slides/slide4.xml"/><Relationship Id="rId115" Type="http://schemas.openxmlformats.org/officeDocument/2006/relationships/slide" Target="slides/slide79.xml"/><Relationship Id="rId136" Type="http://schemas.openxmlformats.org/officeDocument/2006/relationships/slide" Target="slides/slide100.xml"/><Relationship Id="rId157" Type="http://schemas.openxmlformats.org/officeDocument/2006/relationships/slide" Target="slides/slide121.xml"/><Relationship Id="rId178" Type="http://schemas.openxmlformats.org/officeDocument/2006/relationships/slide" Target="slides/slide142.xml"/><Relationship Id="rId61" Type="http://schemas.openxmlformats.org/officeDocument/2006/relationships/slide" Target="slides/slide25.xml"/><Relationship Id="rId82" Type="http://schemas.openxmlformats.org/officeDocument/2006/relationships/slide" Target="slides/slide46.xml"/><Relationship Id="rId199" Type="http://schemas.openxmlformats.org/officeDocument/2006/relationships/slide" Target="slides/slide163.xml"/><Relationship Id="rId203" Type="http://schemas.openxmlformats.org/officeDocument/2006/relationships/slide" Target="slides/slide167.xml"/><Relationship Id="rId19" Type="http://schemas.openxmlformats.org/officeDocument/2006/relationships/slideMaster" Target="slideMasters/slideMaster19.xml"/><Relationship Id="rId224" Type="http://schemas.openxmlformats.org/officeDocument/2006/relationships/slide" Target="slides/slide188.xml"/><Relationship Id="rId30" Type="http://schemas.openxmlformats.org/officeDocument/2006/relationships/slideMaster" Target="slideMasters/slideMaster30.xml"/><Relationship Id="rId105" Type="http://schemas.openxmlformats.org/officeDocument/2006/relationships/slide" Target="slides/slide69.xml"/><Relationship Id="rId126" Type="http://schemas.openxmlformats.org/officeDocument/2006/relationships/slide" Target="slides/slide90.xml"/><Relationship Id="rId147" Type="http://schemas.openxmlformats.org/officeDocument/2006/relationships/slide" Target="slides/slide111.xml"/><Relationship Id="rId168" Type="http://schemas.openxmlformats.org/officeDocument/2006/relationships/slide" Target="slides/slide132.xml"/><Relationship Id="rId51" Type="http://schemas.openxmlformats.org/officeDocument/2006/relationships/slide" Target="slides/slide15.xml"/><Relationship Id="rId72" Type="http://schemas.openxmlformats.org/officeDocument/2006/relationships/slide" Target="slides/slide36.xml"/><Relationship Id="rId93" Type="http://schemas.openxmlformats.org/officeDocument/2006/relationships/slide" Target="slides/slide57.xml"/><Relationship Id="rId189" Type="http://schemas.openxmlformats.org/officeDocument/2006/relationships/slide" Target="slides/slide153.xml"/><Relationship Id="rId3" Type="http://schemas.openxmlformats.org/officeDocument/2006/relationships/slideMaster" Target="slideMasters/slideMaster3.xml"/><Relationship Id="rId214" Type="http://schemas.openxmlformats.org/officeDocument/2006/relationships/slide" Target="slides/slide178.xml"/><Relationship Id="rId235" Type="http://schemas.openxmlformats.org/officeDocument/2006/relationships/tableStyles" Target="tableStyles.xml"/><Relationship Id="rId116" Type="http://schemas.openxmlformats.org/officeDocument/2006/relationships/slide" Target="slides/slide80.xml"/><Relationship Id="rId137" Type="http://schemas.openxmlformats.org/officeDocument/2006/relationships/slide" Target="slides/slide101.xml"/><Relationship Id="rId158" Type="http://schemas.openxmlformats.org/officeDocument/2006/relationships/slide" Target="slides/slide122.xml"/></Relationships>
</file>

<file path=ppt/_rels/viewProps.xml.rels><?xml version="1.0" encoding="UTF-8" standalone="yes"?>
<Relationships xmlns="http://schemas.openxmlformats.org/package/2006/relationships"><Relationship Id="rId3" Type="http://schemas.openxmlformats.org/officeDocument/2006/relationships/slide" Target="slides/slide179.xml"/><Relationship Id="rId2" Type="http://schemas.openxmlformats.org/officeDocument/2006/relationships/slide" Target="slides/slide178.xml"/><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image" Target="../media/image33.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3.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4.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7.png"/></Relationships>
</file>

<file path=ppt/drawings/_rels/vmlDrawing8.v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image" Target="../media/image33.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عنصر نائب للرأس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عنصر نائب للتاريخ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05AF98A-6680-46F4-B416-D00B49811767}" type="datetimeFigureOut">
              <a:rPr lang="en-US" smtClean="0"/>
              <a:pPr/>
              <a:t>15/08/2024</a:t>
            </a:fld>
            <a:endParaRPr lang="en-US"/>
          </a:p>
        </p:txBody>
      </p:sp>
      <p:sp>
        <p:nvSpPr>
          <p:cNvPr id="4" name="عنصر نائب لصورة الشريحة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عنصر نائب للملاحظات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ar-SA" smtClean="0"/>
              <a:t>انقر لتحرير أنماط النص الرئيسي</a:t>
            </a:r>
          </a:p>
          <a:p>
            <a:pPr lvl="1"/>
            <a:r>
              <a:rPr lang="ar-SA" smtClean="0"/>
              <a:t>المستوى الثاني</a:t>
            </a:r>
          </a:p>
          <a:p>
            <a:pPr lvl="2"/>
            <a:r>
              <a:rPr lang="ar-SA" smtClean="0"/>
              <a:t>المستوى الثالث</a:t>
            </a:r>
          </a:p>
          <a:p>
            <a:pPr lvl="3"/>
            <a:r>
              <a:rPr lang="ar-SA" smtClean="0"/>
              <a:t>المستوى الرابع</a:t>
            </a:r>
          </a:p>
          <a:p>
            <a:pPr lvl="4"/>
            <a:r>
              <a:rPr lang="ar-SA" smtClean="0"/>
              <a:t>المستوى الخامس</a:t>
            </a:r>
            <a:endParaRPr lang="en-US"/>
          </a:p>
        </p:txBody>
      </p:sp>
      <p:sp>
        <p:nvSpPr>
          <p:cNvPr id="6" name="عنصر نائب للتذييل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عنصر نائب لرقم الشريحة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E59C669-E82E-45A8-8C19-94EF217C4D76}" type="slidenum">
              <a:rPr lang="en-US" smtClean="0"/>
              <a:pPr/>
              <a:t>‹#›</a:t>
            </a:fld>
            <a:endParaRPr lang="en-US"/>
          </a:p>
        </p:txBody>
      </p:sp>
    </p:spTree>
    <p:extLst>
      <p:ext uri="{BB962C8B-B14F-4D97-AF65-F5344CB8AC3E}">
        <p14:creationId xmlns:p14="http://schemas.microsoft.com/office/powerpoint/2010/main" val="2506237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394913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Slide Image Placeholder 1"/>
          <p:cNvSpPr>
            <a:spLocks noGrp="1" noRot="1" noChangeAspect="1" noTextEdit="1"/>
          </p:cNvSpPr>
          <p:nvPr>
            <p:ph type="sldImg"/>
          </p:nvPr>
        </p:nvSpPr>
        <p:spPr>
          <a:ln/>
        </p:spPr>
      </p:sp>
      <p:sp>
        <p:nvSpPr>
          <p:cNvPr id="180227" name="Notes Placeholder 2"/>
          <p:cNvSpPr>
            <a:spLocks noGrp="1"/>
          </p:cNvSpPr>
          <p:nvPr>
            <p:ph type="body" idx="1"/>
          </p:nvPr>
        </p:nvSpPr>
        <p:spPr>
          <a:noFill/>
          <a:ln/>
        </p:spPr>
        <p:txBody>
          <a:bodyPr/>
          <a:lstStyle/>
          <a:p>
            <a:endParaRPr lang="ar-EG" smtClean="0">
              <a:latin typeface="Arial"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A2F8F9-078F-4469-8EC8-A34600A928F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097815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Slide Image Placeholder 1"/>
          <p:cNvSpPr>
            <a:spLocks noGrp="1" noRot="1" noChangeAspect="1" noTextEdit="1"/>
          </p:cNvSpPr>
          <p:nvPr>
            <p:ph type="sldImg"/>
          </p:nvPr>
        </p:nvSpPr>
        <p:spPr>
          <a:ln/>
        </p:spPr>
      </p:sp>
      <p:sp>
        <p:nvSpPr>
          <p:cNvPr id="178179" name="Notes Placeholder 2"/>
          <p:cNvSpPr>
            <a:spLocks noGrp="1"/>
          </p:cNvSpPr>
          <p:nvPr>
            <p:ph type="body" idx="1"/>
          </p:nvPr>
        </p:nvSpPr>
        <p:spPr>
          <a:noFill/>
          <a:ln/>
        </p:spPr>
        <p:txBody>
          <a:bodyPr/>
          <a:lstStyle/>
          <a:p>
            <a:endParaRPr lang="ar-EG" smtClean="0">
              <a:latin typeface="Arial"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9CD4DC-2649-4E00-B4D1-466F1CA9704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85369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lide Image Placeholder 1"/>
          <p:cNvSpPr>
            <a:spLocks noGrp="1" noRot="1" noChangeAspect="1" noTextEdit="1"/>
          </p:cNvSpPr>
          <p:nvPr>
            <p:ph type="sldImg"/>
          </p:nvPr>
        </p:nvSpPr>
        <p:spPr>
          <a:ln/>
        </p:spPr>
      </p:sp>
      <p:sp>
        <p:nvSpPr>
          <p:cNvPr id="179203" name="Notes Placeholder 2"/>
          <p:cNvSpPr>
            <a:spLocks noGrp="1"/>
          </p:cNvSpPr>
          <p:nvPr>
            <p:ph type="body" idx="1"/>
          </p:nvPr>
        </p:nvSpPr>
        <p:spPr>
          <a:noFill/>
          <a:ln/>
        </p:spPr>
        <p:txBody>
          <a:bodyPr/>
          <a:lstStyle/>
          <a:p>
            <a:endParaRPr lang="ar-EG" smtClean="0">
              <a:latin typeface="Arial"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0358D7-E369-4E47-9043-8F51EBE77C3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01077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Slide Image Placeholder 1"/>
          <p:cNvSpPr>
            <a:spLocks noGrp="1" noRot="1" noChangeAspect="1" noTextEdit="1"/>
          </p:cNvSpPr>
          <p:nvPr>
            <p:ph type="sldImg"/>
          </p:nvPr>
        </p:nvSpPr>
        <p:spPr>
          <a:ln/>
        </p:spPr>
      </p:sp>
      <p:sp>
        <p:nvSpPr>
          <p:cNvPr id="181251" name="Notes Placeholder 2"/>
          <p:cNvSpPr>
            <a:spLocks noGrp="1"/>
          </p:cNvSpPr>
          <p:nvPr>
            <p:ph type="body" idx="1"/>
          </p:nvPr>
        </p:nvSpPr>
        <p:spPr>
          <a:noFill/>
          <a:ln/>
        </p:spPr>
        <p:txBody>
          <a:bodyPr/>
          <a:lstStyle/>
          <a:p>
            <a:endParaRPr lang="ar-EG" smtClean="0">
              <a:latin typeface="Arial"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EDB772-E2F1-46BE-AAB3-9FD61651818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17123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5A5C51-D935-4E31-8AAB-E172A48AF00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93247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3D0E40-6B68-43D5-B28C-B14B470764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87043" name="Rectangle 2"/>
          <p:cNvSpPr>
            <a:spLocks noGrp="1" noRot="1" noChangeAspect="1" noChangeArrowheads="1" noTextEdit="1"/>
          </p:cNvSpPr>
          <p:nvPr>
            <p:ph type="sldImg"/>
          </p:nvPr>
        </p:nvSpPr>
        <p:spPr>
          <a:xfrm>
            <a:off x="1150938" y="692150"/>
            <a:ext cx="4556125" cy="3416300"/>
          </a:xfrm>
          <a:ln/>
        </p:spPr>
      </p:sp>
      <p:sp>
        <p:nvSpPr>
          <p:cNvPr id="87044" name="Rectangle 3"/>
          <p:cNvSpPr>
            <a:spLocks noGrp="1" noChangeArrowheads="1"/>
          </p:cNvSpPr>
          <p:nvPr>
            <p:ph type="body" idx="1"/>
          </p:nvPr>
        </p:nvSpPr>
        <p:spPr>
          <a:xfrm>
            <a:off x="914400" y="4343400"/>
            <a:ext cx="5029200" cy="4114800"/>
          </a:xfrm>
          <a:noFill/>
          <a:ln/>
        </p:spPr>
        <p:txBody>
          <a:bodyPr/>
          <a:lstStyle/>
          <a:p>
            <a:pPr eaLnBrk="1" hangingPunct="1"/>
            <a:endParaRPr lang="en-US" smtClean="0"/>
          </a:p>
        </p:txBody>
      </p:sp>
    </p:spTree>
    <p:extLst>
      <p:ext uri="{BB962C8B-B14F-4D97-AF65-F5344CB8AC3E}">
        <p14:creationId xmlns:p14="http://schemas.microsoft.com/office/powerpoint/2010/main" val="14349077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FBE4-DF25-4826-BBBD-573B39187F3C}" type="slidenum">
              <a:rPr kumimoji="0" lang="en-US" alt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alt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37250" name="Rectangle 2"/>
          <p:cNvSpPr>
            <a:spLocks noGrp="1" noRot="1" noChangeAspect="1" noChangeArrowheads="1" noTextEdit="1"/>
          </p:cNvSpPr>
          <p:nvPr>
            <p:ph type="sldImg"/>
          </p:nvPr>
        </p:nvSpPr>
        <p:spPr>
          <a:xfrm>
            <a:off x="1143000" y="685800"/>
            <a:ext cx="4572000" cy="3429000"/>
          </a:xfrm>
        </p:spPr>
      </p:sp>
      <p:sp>
        <p:nvSpPr>
          <p:cNvPr id="437251" name="Rectangle 3"/>
          <p:cNvSpPr>
            <a:spLocks noGrp="1" noChangeArrowheads="1"/>
          </p:cNvSpPr>
          <p:nvPr>
            <p:ph type="body" idx="1"/>
          </p:nvPr>
        </p:nvSpPr>
        <p:spPr/>
        <p:txBody>
          <a:bodyPr/>
          <a:lstStyle/>
          <a:p>
            <a:endParaRPr lang="en-US" altLang="en-US">
              <a:latin typeface="-moz-fixed"/>
            </a:endParaRPr>
          </a:p>
          <a:p>
            <a:endParaRPr lang="en-US" altLang="en-US">
              <a:latin typeface="-moz-fixed"/>
            </a:endParaRPr>
          </a:p>
          <a:p>
            <a:endParaRPr lang="en-US" altLang="en-US">
              <a:latin typeface="-moz-fixed"/>
            </a:endParaRPr>
          </a:p>
        </p:txBody>
      </p:sp>
    </p:spTree>
    <p:extLst>
      <p:ext uri="{BB962C8B-B14F-4D97-AF65-F5344CB8AC3E}">
        <p14:creationId xmlns:p14="http://schemas.microsoft.com/office/powerpoint/2010/main" val="1904716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algn="r" rtl="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algn="r" rtl="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algn="r" rtl="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algn="r" rtl="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891F448-B05A-43D7-83F4-AEFD7A793C4C}" type="slidenum">
              <a:rPr kumimoji="0" lang="ar-SA"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891" name="Rectangle 2"/>
          <p:cNvSpPr>
            <a:spLocks noGrp="1" noRot="1" noChangeAspect="1" noChangeArrowheads="1" noTextEdit="1"/>
          </p:cNvSpPr>
          <p:nvPr>
            <p:ph type="sldImg"/>
          </p:nvPr>
        </p:nvSpPr>
        <p:spPr/>
      </p:sp>
      <p:sp>
        <p:nvSpPr>
          <p:cNvPr id="37892" name="Rectangle 3"/>
          <p:cNvSpPr>
            <a:spLocks noGrp="1" noChangeArrowheads="1"/>
          </p:cNvSpPr>
          <p:nvPr>
            <p:ph type="body" idx="1"/>
          </p:nvPr>
        </p:nvSpPr>
        <p:spPr>
          <a:xfrm>
            <a:off x="914400" y="4343400"/>
            <a:ext cx="50292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25597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179484" y="6513910"/>
            <a:ext cx="3962400" cy="342900"/>
          </a:xfrm>
          <a:prstGeom prst="rect">
            <a:avLst/>
          </a:prstGeo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D10B6C6-23BE-47C0-B8F3-9743BDCB42DA}" type="slidenum">
              <a:rPr kumimoji="0" lang="ar-SA" sz="18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6</a:t>
            </a:fld>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4930" name="Rectangle 2"/>
          <p:cNvSpPr>
            <a:spLocks noGrp="1" noRot="1" noChangeAspect="1" noChangeArrowheads="1" noTextEdit="1"/>
          </p:cNvSpPr>
          <p:nvPr>
            <p:ph type="sldImg"/>
          </p:nvPr>
        </p:nvSpPr>
        <p:spPr>
          <a:xfrm>
            <a:off x="2857500" y="514350"/>
            <a:ext cx="3429000" cy="2571750"/>
          </a:xfrm>
          <a:prstGeom prst="rect">
            <a:avLst/>
          </a:prstGeom>
          <a:ln/>
        </p:spPr>
      </p:sp>
      <p:sp>
        <p:nvSpPr>
          <p:cNvPr id="124931" name="Rectangle 3"/>
          <p:cNvSpPr>
            <a:spLocks noGrp="1" noChangeArrowheads="1"/>
          </p:cNvSpPr>
          <p:nvPr>
            <p:ph type="body" idx="1"/>
          </p:nvPr>
        </p:nvSpPr>
        <p:spPr>
          <a:xfrm>
            <a:off x="914400" y="3257550"/>
            <a:ext cx="7315200" cy="3086100"/>
          </a:xfrm>
          <a:prstGeom prst="rect">
            <a:avLst/>
          </a:prstGeom>
        </p:spPr>
        <p:txBody>
          <a:bodyPr/>
          <a:lstStyle/>
          <a:p>
            <a:r>
              <a:rPr lang="en-US"/>
              <a:t>Normal</a:t>
            </a:r>
          </a:p>
        </p:txBody>
      </p:sp>
    </p:spTree>
    <p:extLst>
      <p:ext uri="{BB962C8B-B14F-4D97-AF65-F5344CB8AC3E}">
        <p14:creationId xmlns:p14="http://schemas.microsoft.com/office/powerpoint/2010/main" val="34216329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179484" y="6513910"/>
            <a:ext cx="3962400" cy="342900"/>
          </a:xfrm>
          <a:prstGeom prst="rect">
            <a:avLst/>
          </a:prstGeo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D10B6C6-23BE-47C0-B8F3-9743BDCB42DA}" type="slidenum">
              <a:rPr kumimoji="0" lang="ar-SA" sz="18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8</a:t>
            </a:fld>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4930" name="Rectangle 2"/>
          <p:cNvSpPr>
            <a:spLocks noGrp="1" noRot="1" noChangeAspect="1" noChangeArrowheads="1" noTextEdit="1"/>
          </p:cNvSpPr>
          <p:nvPr>
            <p:ph type="sldImg"/>
          </p:nvPr>
        </p:nvSpPr>
        <p:spPr>
          <a:xfrm>
            <a:off x="2857500" y="514350"/>
            <a:ext cx="3429000" cy="2571750"/>
          </a:xfrm>
          <a:prstGeom prst="rect">
            <a:avLst/>
          </a:prstGeom>
          <a:ln/>
        </p:spPr>
      </p:sp>
      <p:sp>
        <p:nvSpPr>
          <p:cNvPr id="124931" name="Rectangle 3"/>
          <p:cNvSpPr>
            <a:spLocks noGrp="1" noChangeArrowheads="1"/>
          </p:cNvSpPr>
          <p:nvPr>
            <p:ph type="body" idx="1"/>
          </p:nvPr>
        </p:nvSpPr>
        <p:spPr>
          <a:xfrm>
            <a:off x="914400" y="3257550"/>
            <a:ext cx="7315200" cy="3086100"/>
          </a:xfrm>
          <a:prstGeom prst="rect">
            <a:avLst/>
          </a:prstGeom>
        </p:spPr>
        <p:txBody>
          <a:bodyPr/>
          <a:lstStyle/>
          <a:p>
            <a:r>
              <a:rPr lang="en-US"/>
              <a:t>Normal</a:t>
            </a:r>
          </a:p>
        </p:txBody>
      </p:sp>
    </p:spTree>
    <p:extLst>
      <p:ext uri="{BB962C8B-B14F-4D97-AF65-F5344CB8AC3E}">
        <p14:creationId xmlns:p14="http://schemas.microsoft.com/office/powerpoint/2010/main" val="855241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Slide Image Placeholder 1"/>
          <p:cNvSpPr>
            <a:spLocks noGrp="1" noRot="1" noChangeAspect="1" noTextEdit="1"/>
          </p:cNvSpPr>
          <p:nvPr>
            <p:ph type="sldImg"/>
          </p:nvPr>
        </p:nvSpPr>
        <p:spPr>
          <a:xfrm>
            <a:off x="1143000" y="685800"/>
            <a:ext cx="4572000" cy="3429000"/>
          </a:xfrm>
          <a:ln/>
        </p:spPr>
      </p:sp>
      <p:sp>
        <p:nvSpPr>
          <p:cNvPr id="150531" name="Notes Placeholder 2"/>
          <p:cNvSpPr>
            <a:spLocks noGrp="1"/>
          </p:cNvSpPr>
          <p:nvPr>
            <p:ph type="body" idx="1"/>
          </p:nvPr>
        </p:nvSpPr>
        <p:spPr>
          <a:noFill/>
          <a:ln/>
        </p:spPr>
        <p:txBody>
          <a:bodyPr/>
          <a:lstStyle/>
          <a:p>
            <a:endParaRPr lang="ar-EG" smtClean="0">
              <a:latin typeface="Arial"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A0FA3-3726-4D85-80CD-5CD60D66D0D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394424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a:extLst>
              <a:ext uri="{FF2B5EF4-FFF2-40B4-BE49-F238E27FC236}">
                <a16:creationId xmlns:a16="http://schemas.microsoft.com/office/drawing/2014/main" id="{3D311E82-16A8-490A-B768-D61C13CF2457}"/>
              </a:ext>
            </a:extLst>
          </p:cNvPr>
          <p:cNvSpPr>
            <a:spLocks noGrp="1" noRot="1" noChangeAspect="1" noTextEdit="1"/>
          </p:cNvSpPr>
          <p:nvPr>
            <p:ph type="sldImg"/>
          </p:nvPr>
        </p:nvSpPr>
        <p:spPr>
          <a:ln/>
        </p:spPr>
      </p:sp>
      <p:sp>
        <p:nvSpPr>
          <p:cNvPr id="36867" name="Notes Placeholder 2">
            <a:extLst>
              <a:ext uri="{FF2B5EF4-FFF2-40B4-BE49-F238E27FC236}">
                <a16:creationId xmlns:a16="http://schemas.microsoft.com/office/drawing/2014/main" id="{E97E0E5A-F796-41E7-B3AF-CA5CA7F66E6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ar-EG" altLang="en-US"/>
          </a:p>
        </p:txBody>
      </p:sp>
      <p:sp>
        <p:nvSpPr>
          <p:cNvPr id="36868" name="Slide Number Placeholder 3">
            <a:extLst>
              <a:ext uri="{FF2B5EF4-FFF2-40B4-BE49-F238E27FC236}">
                <a16:creationId xmlns:a16="http://schemas.microsoft.com/office/drawing/2014/main" id="{F4CD2114-1459-40C5-90BA-4F510F0C332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Times New Roman" panose="02020603050405020304" pitchFamily="18" charset="0"/>
              </a:defRPr>
            </a:lvl1pPr>
            <a:lvl2pPr marL="742950" indent="-285750" eaLnBrk="0" hangingPunct="0">
              <a:defRPr sz="1400">
                <a:solidFill>
                  <a:schemeClr val="tx1"/>
                </a:solidFill>
                <a:latin typeface="Times New Roman" panose="02020603050405020304" pitchFamily="18" charset="0"/>
              </a:defRPr>
            </a:lvl2pPr>
            <a:lvl3pPr marL="1143000" indent="-228600" eaLnBrk="0" hangingPunct="0">
              <a:defRPr sz="1400">
                <a:solidFill>
                  <a:schemeClr val="tx1"/>
                </a:solidFill>
                <a:latin typeface="Times New Roman" panose="02020603050405020304" pitchFamily="18" charset="0"/>
              </a:defRPr>
            </a:lvl3pPr>
            <a:lvl4pPr marL="1600200" indent="-228600" eaLnBrk="0" hangingPunct="0">
              <a:defRPr sz="1400">
                <a:solidFill>
                  <a:schemeClr val="tx1"/>
                </a:solidFill>
                <a:latin typeface="Times New Roman" panose="02020603050405020304" pitchFamily="18" charset="0"/>
              </a:defRPr>
            </a:lvl4pPr>
            <a:lvl5pPr marL="2057400" indent="-228600" eaLnBrk="0" hangingPunct="0">
              <a:defRPr sz="1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a:solidFill>
                  <a:schemeClr val="tx1"/>
                </a:solidFill>
                <a:latin typeface="Times New Roman" panose="02020603050405020304" pitchFamily="18" charset="0"/>
              </a:defRPr>
            </a:lvl9pPr>
          </a:lstStyle>
          <a:p>
            <a:pPr eaLnBrk="1" hangingPunct="1"/>
            <a:fld id="{B759CF91-F868-4E80-AAF6-D68B5C4F64F1}" type="slidenum">
              <a:rPr lang="en-US" altLang="en-US" sz="1200"/>
              <a:pPr eaLnBrk="1" hangingPunct="1"/>
              <a:t>150</a:t>
            </a:fld>
            <a:endParaRPr lang="en-US" altLang="en-US" sz="1200"/>
          </a:p>
        </p:txBody>
      </p:sp>
    </p:spTree>
    <p:extLst>
      <p:ext uri="{BB962C8B-B14F-4D97-AF65-F5344CB8AC3E}">
        <p14:creationId xmlns:p14="http://schemas.microsoft.com/office/powerpoint/2010/main" val="20824488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59C669-E82E-45A8-8C19-94EF217C4D76}" type="slidenum">
              <a:rPr lang="en-US" smtClean="0"/>
              <a:pPr/>
              <a:t>153</a:t>
            </a:fld>
            <a:endParaRPr lang="en-US"/>
          </a:p>
        </p:txBody>
      </p:sp>
    </p:spTree>
    <p:extLst>
      <p:ext uri="{BB962C8B-B14F-4D97-AF65-F5344CB8AC3E}">
        <p14:creationId xmlns:p14="http://schemas.microsoft.com/office/powerpoint/2010/main" val="30220724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p:spPr>
      </p:sp>
      <p:sp>
        <p:nvSpPr>
          <p:cNvPr id="41987" name="Notes Placeholder 2"/>
          <p:cNvSpPr>
            <a:spLocks noGrp="1"/>
          </p:cNvSpPr>
          <p:nvPr>
            <p:ph type="body" idx="1"/>
          </p:nvPr>
        </p:nvSpPr>
        <p:spPr bwMode="auto">
          <a:noFill/>
        </p:spPr>
        <p:txBody>
          <a:bodyPr/>
          <a:lstStyle/>
          <a:p>
            <a:pPr eaLnBrk="1" hangingPunct="1">
              <a:spcBef>
                <a:spcPct val="0"/>
              </a:spcBef>
            </a:pPr>
            <a:endParaRPr lang="en-US" smtClean="0">
              <a:cs typeface="Arial" charset="0"/>
            </a:endParaRPr>
          </a:p>
        </p:txBody>
      </p:sp>
      <p:sp>
        <p:nvSpPr>
          <p:cNvPr id="4096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9F9013E-35AC-400D-9FE2-1A27236B59A7}" type="slidenum">
              <a:rPr lang="ar-EG" smtClean="0"/>
              <a:pPr fontAlgn="base">
                <a:spcBef>
                  <a:spcPct val="0"/>
                </a:spcBef>
                <a:spcAft>
                  <a:spcPct val="0"/>
                </a:spcAft>
                <a:defRPr/>
              </a:pPr>
              <a:t>160</a:t>
            </a:fld>
            <a:endParaRPr lang="ar-EG" smtClean="0"/>
          </a:p>
        </p:txBody>
      </p:sp>
    </p:spTree>
    <p:extLst>
      <p:ext uri="{BB962C8B-B14F-4D97-AF65-F5344CB8AC3E}">
        <p14:creationId xmlns:p14="http://schemas.microsoft.com/office/powerpoint/2010/main" val="12123146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2E42F28-42E4-4DBD-8A51-E1D26F2C1B78}" type="slidenum">
              <a:rPr lang="ar-SA"/>
              <a:pPr/>
              <a:t>178</a:t>
            </a:fld>
            <a:endParaRPr lang="en-US"/>
          </a:p>
        </p:txBody>
      </p:sp>
      <p:sp>
        <p:nvSpPr>
          <p:cNvPr id="8194" name="Rectangle 2"/>
          <p:cNvSpPr>
            <a:spLocks noGrp="1" noRot="1" noChangeAspect="1" noChangeArrowheads="1" noTextEdit="1"/>
          </p:cNvSpPr>
          <p:nvPr>
            <p:ph type="sldImg"/>
          </p:nvPr>
        </p:nvSpPr>
        <p:spPr>
          <a:ln/>
        </p:spPr>
      </p:sp>
      <p:sp>
        <p:nvSpPr>
          <p:cNvPr id="8195" name="Rectangle 3"/>
          <p:cNvSpPr>
            <a:spLocks noGrp="1" noChangeArrowheads="1"/>
          </p:cNvSpPr>
          <p:nvPr>
            <p:ph type="body" idx="1"/>
          </p:nvPr>
        </p:nvSpPr>
        <p:spPr>
          <a:xfrm>
            <a:off x="914400" y="4343400"/>
            <a:ext cx="5029200" cy="4114800"/>
          </a:xfrm>
        </p:spPr>
        <p:txBody>
          <a:bodyPr/>
          <a:lstStyle/>
          <a:p>
            <a:r>
              <a:rPr lang="en-US" sz="1000" b="1"/>
              <a:t>UIP: Honeycombing</a:t>
            </a:r>
          </a:p>
          <a:p>
            <a:endParaRPr lang="en-US" sz="1000" b="1"/>
          </a:p>
          <a:p>
            <a:r>
              <a:rPr lang="en-US" sz="1000"/>
              <a:t>This HRCT scan from an IPF patient demonstrates honeycombing.</a:t>
            </a:r>
          </a:p>
          <a:p>
            <a:endParaRPr lang="en-US" sz="1000" b="1"/>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A4438FD-9887-41CB-9969-CF5CDA775637}" type="slidenum">
              <a:rPr lang="ar-SA"/>
              <a:pPr/>
              <a:t>179</a:t>
            </a:fld>
            <a:endParaRPr lang="en-US"/>
          </a:p>
        </p:txBody>
      </p:sp>
      <p:sp>
        <p:nvSpPr>
          <p:cNvPr id="14338" name="Rectangle 2"/>
          <p:cNvSpPr>
            <a:spLocks noGrp="1" noRot="1" noChangeAspect="1" noChangeArrowheads="1" noTextEdit="1"/>
          </p:cNvSpPr>
          <p:nvPr>
            <p:ph type="sldImg"/>
          </p:nvPr>
        </p:nvSpPr>
        <p:spPr>
          <a:ln/>
        </p:spPr>
      </p:sp>
      <p:sp>
        <p:nvSpPr>
          <p:cNvPr id="14339" name="Rectangle 3"/>
          <p:cNvSpPr>
            <a:spLocks noGrp="1" noChangeArrowheads="1"/>
          </p:cNvSpPr>
          <p:nvPr>
            <p:ph type="body" idx="1"/>
          </p:nvPr>
        </p:nvSpPr>
        <p:spPr>
          <a:xfrm>
            <a:off x="914400" y="4343400"/>
            <a:ext cx="5029200" cy="4114800"/>
          </a:xfrm>
        </p:spPr>
        <p:txBody>
          <a:bodyPr/>
          <a:lstStyle/>
          <a:p>
            <a:r>
              <a:rPr lang="en-US" sz="1000" b="1"/>
              <a:t>UIP: Traction Bronchiectasis</a:t>
            </a:r>
          </a:p>
          <a:p>
            <a:endParaRPr lang="en-US" sz="1000" b="1"/>
          </a:p>
          <a:p>
            <a:r>
              <a:rPr lang="en-US" sz="1000"/>
              <a:t>This HRCT scan from an IPF patient demonstrates traction bronchiectasis.</a:t>
            </a:r>
          </a:p>
          <a:p>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7"/>
          <p:cNvSpPr>
            <a:spLocks noGrp="1" noChangeArrowheads="1"/>
          </p:cNvSpPr>
          <p:nvPr>
            <p:ph type="sldNum" sz="quarter" idx="5"/>
          </p:nvPr>
        </p:nvSpPr>
        <p:spPr>
          <a:noFill/>
          <a:ln>
            <a:miter lim="800000"/>
            <a:headEnd/>
            <a:tailEnd/>
          </a:ln>
        </p:spPr>
        <p:txBody>
          <a:bodyPr/>
          <a:lstStyle/>
          <a:p>
            <a:fld id="{4BB863DB-98E8-4D53-91F6-A07FF93348FD}" type="slidenum">
              <a:rPr lang="ar-EG" smtClean="0"/>
              <a:pPr/>
              <a:t>182</a:t>
            </a:fld>
            <a:endParaRPr lang="en-US" smtClean="0"/>
          </a:p>
        </p:txBody>
      </p:sp>
      <p:sp>
        <p:nvSpPr>
          <p:cNvPr id="181251" name="Rectangle 2"/>
          <p:cNvSpPr>
            <a:spLocks noGrp="1" noRot="1" noChangeAspect="1" noChangeArrowheads="1" noTextEdit="1"/>
          </p:cNvSpPr>
          <p:nvPr>
            <p:ph type="sldImg"/>
          </p:nvPr>
        </p:nvSpPr>
        <p:spPr>
          <a:ln/>
        </p:spPr>
      </p:sp>
      <p:sp>
        <p:nvSpPr>
          <p:cNvPr id="181252" name="Rectangle 3"/>
          <p:cNvSpPr>
            <a:spLocks noGrp="1" noChangeArrowheads="1"/>
          </p:cNvSpPr>
          <p:nvPr>
            <p:ph type="body" idx="1"/>
          </p:nvPr>
        </p:nvSpPr>
        <p:spPr>
          <a:noFill/>
        </p:spPr>
        <p:txBody>
          <a:bodyPr/>
          <a:lstStyle/>
          <a:p>
            <a:pPr eaLnBrk="1" hangingPunct="1"/>
            <a:endParaRPr lang="en-US"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7DEEF5D0-407C-4E75-8AF6-9770204EC68C}"/>
              </a:ext>
            </a:extLst>
          </p:cNvPr>
          <p:cNvSpPr>
            <a:spLocks noGrp="1" noRot="1" noChangeAspect="1" noTextEdit="1"/>
          </p:cNvSpPr>
          <p:nvPr>
            <p:ph type="sldImg"/>
          </p:nvPr>
        </p:nvSpPr>
        <p:spPr>
          <a:ln/>
        </p:spPr>
      </p:sp>
      <p:sp>
        <p:nvSpPr>
          <p:cNvPr id="40963" name="Notes Placeholder 2">
            <a:extLst>
              <a:ext uri="{FF2B5EF4-FFF2-40B4-BE49-F238E27FC236}">
                <a16:creationId xmlns:a16="http://schemas.microsoft.com/office/drawing/2014/main" id="{BEDF1A6A-5DDB-4E4E-82D9-C482CD58998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ar-EG" altLang="en-US"/>
          </a:p>
        </p:txBody>
      </p:sp>
      <p:sp>
        <p:nvSpPr>
          <p:cNvPr id="40964" name="Slide Number Placeholder 3">
            <a:extLst>
              <a:ext uri="{FF2B5EF4-FFF2-40B4-BE49-F238E27FC236}">
                <a16:creationId xmlns:a16="http://schemas.microsoft.com/office/drawing/2014/main" id="{CCFA0CA3-FA93-4F90-8BA3-A2879739C06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Times New Roman" panose="02020603050405020304" pitchFamily="18" charset="0"/>
              </a:defRPr>
            </a:lvl1pPr>
            <a:lvl2pPr marL="742950" indent="-285750" eaLnBrk="0" hangingPunct="0">
              <a:defRPr sz="1400">
                <a:solidFill>
                  <a:schemeClr val="tx1"/>
                </a:solidFill>
                <a:latin typeface="Times New Roman" panose="02020603050405020304" pitchFamily="18" charset="0"/>
              </a:defRPr>
            </a:lvl2pPr>
            <a:lvl3pPr marL="1143000" indent="-228600" eaLnBrk="0" hangingPunct="0">
              <a:defRPr sz="1400">
                <a:solidFill>
                  <a:schemeClr val="tx1"/>
                </a:solidFill>
                <a:latin typeface="Times New Roman" panose="02020603050405020304" pitchFamily="18" charset="0"/>
              </a:defRPr>
            </a:lvl3pPr>
            <a:lvl4pPr marL="1600200" indent="-228600" eaLnBrk="0" hangingPunct="0">
              <a:defRPr sz="1400">
                <a:solidFill>
                  <a:schemeClr val="tx1"/>
                </a:solidFill>
                <a:latin typeface="Times New Roman" panose="02020603050405020304" pitchFamily="18" charset="0"/>
              </a:defRPr>
            </a:lvl4pPr>
            <a:lvl5pPr marL="2057400" indent="-228600" eaLnBrk="0" hangingPunct="0">
              <a:defRPr sz="1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a:solidFill>
                  <a:schemeClr val="tx1"/>
                </a:solidFill>
                <a:latin typeface="Times New Roman" panose="02020603050405020304" pitchFamily="18" charset="0"/>
              </a:defRPr>
            </a:lvl9pPr>
          </a:lstStyle>
          <a:p>
            <a:pPr eaLnBrk="1" hangingPunct="1"/>
            <a:fld id="{8AEC8D6A-1149-434B-A940-38DB9AF61B95}" type="slidenum">
              <a:rPr lang="en-US" altLang="en-US" sz="1200"/>
              <a:pPr eaLnBrk="1" hangingPunct="1"/>
              <a:t>185</a:t>
            </a:fld>
            <a:endParaRPr lang="en-US" altLang="en-US" sz="120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F0CC5FA8-7E12-4606-B0E1-3443F8335482}"/>
              </a:ext>
            </a:extLst>
          </p:cNvPr>
          <p:cNvSpPr>
            <a:spLocks noGrp="1" noRot="1" noChangeAspect="1" noTextEdit="1"/>
          </p:cNvSpPr>
          <p:nvPr>
            <p:ph type="sldImg"/>
          </p:nvPr>
        </p:nvSpPr>
        <p:spPr>
          <a:ln/>
        </p:spPr>
      </p:sp>
      <p:sp>
        <p:nvSpPr>
          <p:cNvPr id="33795" name="Notes Placeholder 2">
            <a:extLst>
              <a:ext uri="{FF2B5EF4-FFF2-40B4-BE49-F238E27FC236}">
                <a16:creationId xmlns:a16="http://schemas.microsoft.com/office/drawing/2014/main" id="{F3108301-6CDC-4D6F-8C1B-DE6C495764F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ar-EG" altLang="en-US"/>
          </a:p>
        </p:txBody>
      </p:sp>
      <p:sp>
        <p:nvSpPr>
          <p:cNvPr id="33796" name="Slide Number Placeholder 3">
            <a:extLst>
              <a:ext uri="{FF2B5EF4-FFF2-40B4-BE49-F238E27FC236}">
                <a16:creationId xmlns:a16="http://schemas.microsoft.com/office/drawing/2014/main" id="{F12280FC-1275-4276-9DA5-287468914C6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Times New Roman" panose="02020603050405020304" pitchFamily="18" charset="0"/>
              </a:defRPr>
            </a:lvl1pPr>
            <a:lvl2pPr marL="742950" indent="-285750" eaLnBrk="0" hangingPunct="0">
              <a:defRPr sz="1400">
                <a:solidFill>
                  <a:schemeClr val="tx1"/>
                </a:solidFill>
                <a:latin typeface="Times New Roman" panose="02020603050405020304" pitchFamily="18" charset="0"/>
              </a:defRPr>
            </a:lvl2pPr>
            <a:lvl3pPr marL="1143000" indent="-228600" eaLnBrk="0" hangingPunct="0">
              <a:defRPr sz="1400">
                <a:solidFill>
                  <a:schemeClr val="tx1"/>
                </a:solidFill>
                <a:latin typeface="Times New Roman" panose="02020603050405020304" pitchFamily="18" charset="0"/>
              </a:defRPr>
            </a:lvl3pPr>
            <a:lvl4pPr marL="1600200" indent="-228600" eaLnBrk="0" hangingPunct="0">
              <a:defRPr sz="1400">
                <a:solidFill>
                  <a:schemeClr val="tx1"/>
                </a:solidFill>
                <a:latin typeface="Times New Roman" panose="02020603050405020304" pitchFamily="18" charset="0"/>
              </a:defRPr>
            </a:lvl4pPr>
            <a:lvl5pPr marL="2057400" indent="-228600" eaLnBrk="0" hangingPunct="0">
              <a:defRPr sz="1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a:solidFill>
                  <a:schemeClr val="tx1"/>
                </a:solidFill>
                <a:latin typeface="Times New Roman" panose="02020603050405020304" pitchFamily="18" charset="0"/>
              </a:defRPr>
            </a:lvl9pPr>
          </a:lstStyle>
          <a:p>
            <a:pPr eaLnBrk="1" hangingPunct="1"/>
            <a:fld id="{E01116FD-7219-493C-B1DA-9CB52A33F312}" type="slidenum">
              <a:rPr lang="en-US" altLang="en-US" sz="1200"/>
              <a:pPr eaLnBrk="1" hangingPunct="1"/>
              <a:t>186</a:t>
            </a:fld>
            <a:endParaRPr lang="en-US" altLang="en-US" sz="120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a:extLst>
              <a:ext uri="{FF2B5EF4-FFF2-40B4-BE49-F238E27FC236}">
                <a16:creationId xmlns:a16="http://schemas.microsoft.com/office/drawing/2014/main" id="{3D311E82-16A8-490A-B768-D61C13CF2457}"/>
              </a:ext>
            </a:extLst>
          </p:cNvPr>
          <p:cNvSpPr>
            <a:spLocks noGrp="1" noRot="1" noChangeAspect="1" noTextEdit="1"/>
          </p:cNvSpPr>
          <p:nvPr>
            <p:ph type="sldImg"/>
          </p:nvPr>
        </p:nvSpPr>
        <p:spPr>
          <a:ln/>
        </p:spPr>
      </p:sp>
      <p:sp>
        <p:nvSpPr>
          <p:cNvPr id="36867" name="Notes Placeholder 2">
            <a:extLst>
              <a:ext uri="{FF2B5EF4-FFF2-40B4-BE49-F238E27FC236}">
                <a16:creationId xmlns:a16="http://schemas.microsoft.com/office/drawing/2014/main" id="{E97E0E5A-F796-41E7-B3AF-CA5CA7F66E6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ar-EG" altLang="en-US"/>
          </a:p>
        </p:txBody>
      </p:sp>
      <p:sp>
        <p:nvSpPr>
          <p:cNvPr id="36868" name="Slide Number Placeholder 3">
            <a:extLst>
              <a:ext uri="{FF2B5EF4-FFF2-40B4-BE49-F238E27FC236}">
                <a16:creationId xmlns:a16="http://schemas.microsoft.com/office/drawing/2014/main" id="{F4CD2114-1459-40C5-90BA-4F510F0C332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Times New Roman" panose="02020603050405020304" pitchFamily="18" charset="0"/>
              </a:defRPr>
            </a:lvl1pPr>
            <a:lvl2pPr marL="742950" indent="-285750" eaLnBrk="0" hangingPunct="0">
              <a:defRPr sz="1400">
                <a:solidFill>
                  <a:schemeClr val="tx1"/>
                </a:solidFill>
                <a:latin typeface="Times New Roman" panose="02020603050405020304" pitchFamily="18" charset="0"/>
              </a:defRPr>
            </a:lvl2pPr>
            <a:lvl3pPr marL="1143000" indent="-228600" eaLnBrk="0" hangingPunct="0">
              <a:defRPr sz="1400">
                <a:solidFill>
                  <a:schemeClr val="tx1"/>
                </a:solidFill>
                <a:latin typeface="Times New Roman" panose="02020603050405020304" pitchFamily="18" charset="0"/>
              </a:defRPr>
            </a:lvl3pPr>
            <a:lvl4pPr marL="1600200" indent="-228600" eaLnBrk="0" hangingPunct="0">
              <a:defRPr sz="1400">
                <a:solidFill>
                  <a:schemeClr val="tx1"/>
                </a:solidFill>
                <a:latin typeface="Times New Roman" panose="02020603050405020304" pitchFamily="18" charset="0"/>
              </a:defRPr>
            </a:lvl4pPr>
            <a:lvl5pPr marL="2057400" indent="-228600" eaLnBrk="0" hangingPunct="0">
              <a:defRPr sz="1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a:solidFill>
                  <a:schemeClr val="tx1"/>
                </a:solidFill>
                <a:latin typeface="Times New Roman" panose="02020603050405020304" pitchFamily="18" charset="0"/>
              </a:defRPr>
            </a:lvl9pPr>
          </a:lstStyle>
          <a:p>
            <a:pPr eaLnBrk="1" hangingPunct="1"/>
            <a:fld id="{B759CF91-F868-4E80-AAF6-D68B5C4F64F1}" type="slidenum">
              <a:rPr lang="en-US" altLang="en-US" sz="1200"/>
              <a:pPr eaLnBrk="1" hangingPunct="1"/>
              <a:t>187</a:t>
            </a:fld>
            <a:endParaRPr lang="en-US" altLang="en-US" sz="1200"/>
          </a:p>
        </p:txBody>
      </p:sp>
    </p:spTree>
    <p:extLst>
      <p:ext uri="{BB962C8B-B14F-4D97-AF65-F5344CB8AC3E}">
        <p14:creationId xmlns:p14="http://schemas.microsoft.com/office/powerpoint/2010/main" val="38147412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a:extLst>
              <a:ext uri="{FF2B5EF4-FFF2-40B4-BE49-F238E27FC236}">
                <a16:creationId xmlns:a16="http://schemas.microsoft.com/office/drawing/2014/main" id="{3D311E82-16A8-490A-B768-D61C13CF2457}"/>
              </a:ext>
            </a:extLst>
          </p:cNvPr>
          <p:cNvSpPr>
            <a:spLocks noGrp="1" noRot="1" noChangeAspect="1" noTextEdit="1"/>
          </p:cNvSpPr>
          <p:nvPr>
            <p:ph type="sldImg"/>
          </p:nvPr>
        </p:nvSpPr>
        <p:spPr>
          <a:ln/>
        </p:spPr>
      </p:sp>
      <p:sp>
        <p:nvSpPr>
          <p:cNvPr id="36867" name="Notes Placeholder 2">
            <a:extLst>
              <a:ext uri="{FF2B5EF4-FFF2-40B4-BE49-F238E27FC236}">
                <a16:creationId xmlns:a16="http://schemas.microsoft.com/office/drawing/2014/main" id="{E97E0E5A-F796-41E7-B3AF-CA5CA7F66E6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ar-EG" altLang="en-US"/>
          </a:p>
        </p:txBody>
      </p:sp>
      <p:sp>
        <p:nvSpPr>
          <p:cNvPr id="36868" name="Slide Number Placeholder 3">
            <a:extLst>
              <a:ext uri="{FF2B5EF4-FFF2-40B4-BE49-F238E27FC236}">
                <a16:creationId xmlns:a16="http://schemas.microsoft.com/office/drawing/2014/main" id="{F4CD2114-1459-40C5-90BA-4F510F0C332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Times New Roman" panose="02020603050405020304" pitchFamily="18" charset="0"/>
              </a:defRPr>
            </a:lvl1pPr>
            <a:lvl2pPr marL="742950" indent="-285750" eaLnBrk="0" hangingPunct="0">
              <a:defRPr sz="1400">
                <a:solidFill>
                  <a:schemeClr val="tx1"/>
                </a:solidFill>
                <a:latin typeface="Times New Roman" panose="02020603050405020304" pitchFamily="18" charset="0"/>
              </a:defRPr>
            </a:lvl2pPr>
            <a:lvl3pPr marL="1143000" indent="-228600" eaLnBrk="0" hangingPunct="0">
              <a:defRPr sz="1400">
                <a:solidFill>
                  <a:schemeClr val="tx1"/>
                </a:solidFill>
                <a:latin typeface="Times New Roman" panose="02020603050405020304" pitchFamily="18" charset="0"/>
              </a:defRPr>
            </a:lvl3pPr>
            <a:lvl4pPr marL="1600200" indent="-228600" eaLnBrk="0" hangingPunct="0">
              <a:defRPr sz="1400">
                <a:solidFill>
                  <a:schemeClr val="tx1"/>
                </a:solidFill>
                <a:latin typeface="Times New Roman" panose="02020603050405020304" pitchFamily="18" charset="0"/>
              </a:defRPr>
            </a:lvl4pPr>
            <a:lvl5pPr marL="2057400" indent="-228600" eaLnBrk="0" hangingPunct="0">
              <a:defRPr sz="1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a:solidFill>
                  <a:schemeClr val="tx1"/>
                </a:solidFill>
                <a:latin typeface="Times New Roman" panose="02020603050405020304" pitchFamily="18" charset="0"/>
              </a:defRPr>
            </a:lvl9pPr>
          </a:lstStyle>
          <a:p>
            <a:pPr eaLnBrk="1" hangingPunct="1"/>
            <a:fld id="{B759CF91-F868-4E80-AAF6-D68B5C4F64F1}" type="slidenum">
              <a:rPr lang="en-US" altLang="en-US" sz="1200"/>
              <a:pPr eaLnBrk="1" hangingPunct="1"/>
              <a:t>188</a:t>
            </a:fld>
            <a:endParaRPr lang="en-US" altLang="en-US" sz="1200"/>
          </a:p>
        </p:txBody>
      </p:sp>
    </p:spTree>
    <p:extLst>
      <p:ext uri="{BB962C8B-B14F-4D97-AF65-F5344CB8AC3E}">
        <p14:creationId xmlns:p14="http://schemas.microsoft.com/office/powerpoint/2010/main" val="2199043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Slide Image Placeholder 1"/>
          <p:cNvSpPr>
            <a:spLocks noGrp="1" noRot="1" noChangeAspect="1" noTextEdit="1"/>
          </p:cNvSpPr>
          <p:nvPr>
            <p:ph type="sldImg"/>
          </p:nvPr>
        </p:nvSpPr>
        <p:spPr>
          <a:xfrm>
            <a:off x="1143000" y="685800"/>
            <a:ext cx="4572000" cy="3429000"/>
          </a:xfrm>
          <a:ln/>
        </p:spPr>
      </p:sp>
      <p:sp>
        <p:nvSpPr>
          <p:cNvPr id="151555" name="Notes Placeholder 2"/>
          <p:cNvSpPr>
            <a:spLocks noGrp="1"/>
          </p:cNvSpPr>
          <p:nvPr>
            <p:ph type="body" idx="1"/>
          </p:nvPr>
        </p:nvSpPr>
        <p:spPr>
          <a:noFill/>
          <a:ln/>
        </p:spPr>
        <p:txBody>
          <a:bodyPr/>
          <a:lstStyle/>
          <a:p>
            <a:endParaRPr lang="ar-EG" smtClean="0">
              <a:latin typeface="Arial"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BC20B7-207F-4EBD-B4F1-3575A6F7073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26233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a:extLst>
              <a:ext uri="{FF2B5EF4-FFF2-40B4-BE49-F238E27FC236}">
                <a16:creationId xmlns:a16="http://schemas.microsoft.com/office/drawing/2014/main" id="{3D311E82-16A8-490A-B768-D61C13CF2457}"/>
              </a:ext>
            </a:extLst>
          </p:cNvPr>
          <p:cNvSpPr>
            <a:spLocks noGrp="1" noRot="1" noChangeAspect="1" noTextEdit="1"/>
          </p:cNvSpPr>
          <p:nvPr>
            <p:ph type="sldImg"/>
          </p:nvPr>
        </p:nvSpPr>
        <p:spPr>
          <a:ln/>
        </p:spPr>
      </p:sp>
      <p:sp>
        <p:nvSpPr>
          <p:cNvPr id="36867" name="Notes Placeholder 2">
            <a:extLst>
              <a:ext uri="{FF2B5EF4-FFF2-40B4-BE49-F238E27FC236}">
                <a16:creationId xmlns:a16="http://schemas.microsoft.com/office/drawing/2014/main" id="{E97E0E5A-F796-41E7-B3AF-CA5CA7F66E6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ar-EG" altLang="en-US"/>
          </a:p>
        </p:txBody>
      </p:sp>
      <p:sp>
        <p:nvSpPr>
          <p:cNvPr id="36868" name="Slide Number Placeholder 3">
            <a:extLst>
              <a:ext uri="{FF2B5EF4-FFF2-40B4-BE49-F238E27FC236}">
                <a16:creationId xmlns:a16="http://schemas.microsoft.com/office/drawing/2014/main" id="{F4CD2114-1459-40C5-90BA-4F510F0C332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Times New Roman" panose="02020603050405020304" pitchFamily="18" charset="0"/>
              </a:defRPr>
            </a:lvl1pPr>
            <a:lvl2pPr marL="742950" indent="-285750" eaLnBrk="0" hangingPunct="0">
              <a:defRPr sz="1400">
                <a:solidFill>
                  <a:schemeClr val="tx1"/>
                </a:solidFill>
                <a:latin typeface="Times New Roman" panose="02020603050405020304" pitchFamily="18" charset="0"/>
              </a:defRPr>
            </a:lvl2pPr>
            <a:lvl3pPr marL="1143000" indent="-228600" eaLnBrk="0" hangingPunct="0">
              <a:defRPr sz="1400">
                <a:solidFill>
                  <a:schemeClr val="tx1"/>
                </a:solidFill>
                <a:latin typeface="Times New Roman" panose="02020603050405020304" pitchFamily="18" charset="0"/>
              </a:defRPr>
            </a:lvl3pPr>
            <a:lvl4pPr marL="1600200" indent="-228600" eaLnBrk="0" hangingPunct="0">
              <a:defRPr sz="1400">
                <a:solidFill>
                  <a:schemeClr val="tx1"/>
                </a:solidFill>
                <a:latin typeface="Times New Roman" panose="02020603050405020304" pitchFamily="18" charset="0"/>
              </a:defRPr>
            </a:lvl4pPr>
            <a:lvl5pPr marL="2057400" indent="-228600" eaLnBrk="0" hangingPunct="0">
              <a:defRPr sz="1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a:solidFill>
                  <a:schemeClr val="tx1"/>
                </a:solidFill>
                <a:latin typeface="Times New Roman" panose="02020603050405020304" pitchFamily="18" charset="0"/>
              </a:defRPr>
            </a:lvl9pPr>
          </a:lstStyle>
          <a:p>
            <a:pPr eaLnBrk="1" hangingPunct="1"/>
            <a:fld id="{B759CF91-F868-4E80-AAF6-D68B5C4F64F1}" type="slidenum">
              <a:rPr lang="en-US" altLang="en-US" sz="1200"/>
              <a:pPr eaLnBrk="1" hangingPunct="1"/>
              <a:t>189</a:t>
            </a:fld>
            <a:endParaRPr lang="en-US" altLang="en-US" sz="1200"/>
          </a:p>
        </p:txBody>
      </p:sp>
    </p:spTree>
    <p:extLst>
      <p:ext uri="{BB962C8B-B14F-4D97-AF65-F5344CB8AC3E}">
        <p14:creationId xmlns:p14="http://schemas.microsoft.com/office/powerpoint/2010/main" val="39887275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a:extLst>
              <a:ext uri="{FF2B5EF4-FFF2-40B4-BE49-F238E27FC236}">
                <a16:creationId xmlns:a16="http://schemas.microsoft.com/office/drawing/2014/main" id="{3D311E82-16A8-490A-B768-D61C13CF2457}"/>
              </a:ext>
            </a:extLst>
          </p:cNvPr>
          <p:cNvSpPr>
            <a:spLocks noGrp="1" noRot="1" noChangeAspect="1" noTextEdit="1"/>
          </p:cNvSpPr>
          <p:nvPr>
            <p:ph type="sldImg"/>
          </p:nvPr>
        </p:nvSpPr>
        <p:spPr>
          <a:ln/>
        </p:spPr>
      </p:sp>
      <p:sp>
        <p:nvSpPr>
          <p:cNvPr id="36867" name="Notes Placeholder 2">
            <a:extLst>
              <a:ext uri="{FF2B5EF4-FFF2-40B4-BE49-F238E27FC236}">
                <a16:creationId xmlns:a16="http://schemas.microsoft.com/office/drawing/2014/main" id="{E97E0E5A-F796-41E7-B3AF-CA5CA7F66E6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ar-EG" altLang="en-US"/>
          </a:p>
        </p:txBody>
      </p:sp>
      <p:sp>
        <p:nvSpPr>
          <p:cNvPr id="36868" name="Slide Number Placeholder 3">
            <a:extLst>
              <a:ext uri="{FF2B5EF4-FFF2-40B4-BE49-F238E27FC236}">
                <a16:creationId xmlns:a16="http://schemas.microsoft.com/office/drawing/2014/main" id="{F4CD2114-1459-40C5-90BA-4F510F0C332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Times New Roman" panose="02020603050405020304" pitchFamily="18" charset="0"/>
              </a:defRPr>
            </a:lvl1pPr>
            <a:lvl2pPr marL="742950" indent="-285750" eaLnBrk="0" hangingPunct="0">
              <a:defRPr sz="1400">
                <a:solidFill>
                  <a:schemeClr val="tx1"/>
                </a:solidFill>
                <a:latin typeface="Times New Roman" panose="02020603050405020304" pitchFamily="18" charset="0"/>
              </a:defRPr>
            </a:lvl2pPr>
            <a:lvl3pPr marL="1143000" indent="-228600" eaLnBrk="0" hangingPunct="0">
              <a:defRPr sz="1400">
                <a:solidFill>
                  <a:schemeClr val="tx1"/>
                </a:solidFill>
                <a:latin typeface="Times New Roman" panose="02020603050405020304" pitchFamily="18" charset="0"/>
              </a:defRPr>
            </a:lvl3pPr>
            <a:lvl4pPr marL="1600200" indent="-228600" eaLnBrk="0" hangingPunct="0">
              <a:defRPr sz="1400">
                <a:solidFill>
                  <a:schemeClr val="tx1"/>
                </a:solidFill>
                <a:latin typeface="Times New Roman" panose="02020603050405020304" pitchFamily="18" charset="0"/>
              </a:defRPr>
            </a:lvl4pPr>
            <a:lvl5pPr marL="2057400" indent="-228600" eaLnBrk="0" hangingPunct="0">
              <a:defRPr sz="1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a:solidFill>
                  <a:schemeClr val="tx1"/>
                </a:solidFill>
                <a:latin typeface="Times New Roman" panose="02020603050405020304" pitchFamily="18" charset="0"/>
              </a:defRPr>
            </a:lvl9pPr>
          </a:lstStyle>
          <a:p>
            <a:pPr eaLnBrk="1" hangingPunct="1"/>
            <a:fld id="{B759CF91-F868-4E80-AAF6-D68B5C4F64F1}" type="slidenum">
              <a:rPr lang="en-US" altLang="en-US" sz="1200"/>
              <a:pPr eaLnBrk="1" hangingPunct="1"/>
              <a:t>190</a:t>
            </a:fld>
            <a:endParaRPr lang="en-US" altLang="en-US" sz="1200"/>
          </a:p>
        </p:txBody>
      </p:sp>
    </p:spTree>
    <p:extLst>
      <p:ext uri="{BB962C8B-B14F-4D97-AF65-F5344CB8AC3E}">
        <p14:creationId xmlns:p14="http://schemas.microsoft.com/office/powerpoint/2010/main" val="25865523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a:extLst>
              <a:ext uri="{FF2B5EF4-FFF2-40B4-BE49-F238E27FC236}">
                <a16:creationId xmlns:a16="http://schemas.microsoft.com/office/drawing/2014/main" id="{3D311E82-16A8-490A-B768-D61C13CF2457}"/>
              </a:ext>
            </a:extLst>
          </p:cNvPr>
          <p:cNvSpPr>
            <a:spLocks noGrp="1" noRot="1" noChangeAspect="1" noTextEdit="1"/>
          </p:cNvSpPr>
          <p:nvPr>
            <p:ph type="sldImg"/>
          </p:nvPr>
        </p:nvSpPr>
        <p:spPr>
          <a:ln/>
        </p:spPr>
      </p:sp>
      <p:sp>
        <p:nvSpPr>
          <p:cNvPr id="36867" name="Notes Placeholder 2">
            <a:extLst>
              <a:ext uri="{FF2B5EF4-FFF2-40B4-BE49-F238E27FC236}">
                <a16:creationId xmlns:a16="http://schemas.microsoft.com/office/drawing/2014/main" id="{E97E0E5A-F796-41E7-B3AF-CA5CA7F66E6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ar-EG" altLang="en-US"/>
          </a:p>
        </p:txBody>
      </p:sp>
      <p:sp>
        <p:nvSpPr>
          <p:cNvPr id="36868" name="Slide Number Placeholder 3">
            <a:extLst>
              <a:ext uri="{FF2B5EF4-FFF2-40B4-BE49-F238E27FC236}">
                <a16:creationId xmlns:a16="http://schemas.microsoft.com/office/drawing/2014/main" id="{F4CD2114-1459-40C5-90BA-4F510F0C332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Times New Roman" panose="02020603050405020304" pitchFamily="18" charset="0"/>
              </a:defRPr>
            </a:lvl1pPr>
            <a:lvl2pPr marL="742950" indent="-285750" eaLnBrk="0" hangingPunct="0">
              <a:defRPr sz="1400">
                <a:solidFill>
                  <a:schemeClr val="tx1"/>
                </a:solidFill>
                <a:latin typeface="Times New Roman" panose="02020603050405020304" pitchFamily="18" charset="0"/>
              </a:defRPr>
            </a:lvl2pPr>
            <a:lvl3pPr marL="1143000" indent="-228600" eaLnBrk="0" hangingPunct="0">
              <a:defRPr sz="1400">
                <a:solidFill>
                  <a:schemeClr val="tx1"/>
                </a:solidFill>
                <a:latin typeface="Times New Roman" panose="02020603050405020304" pitchFamily="18" charset="0"/>
              </a:defRPr>
            </a:lvl3pPr>
            <a:lvl4pPr marL="1600200" indent="-228600" eaLnBrk="0" hangingPunct="0">
              <a:defRPr sz="1400">
                <a:solidFill>
                  <a:schemeClr val="tx1"/>
                </a:solidFill>
                <a:latin typeface="Times New Roman" panose="02020603050405020304" pitchFamily="18" charset="0"/>
              </a:defRPr>
            </a:lvl4pPr>
            <a:lvl5pPr marL="2057400" indent="-228600" eaLnBrk="0" hangingPunct="0">
              <a:defRPr sz="1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a:solidFill>
                  <a:schemeClr val="tx1"/>
                </a:solidFill>
                <a:latin typeface="Times New Roman" panose="02020603050405020304" pitchFamily="18" charset="0"/>
              </a:defRPr>
            </a:lvl9pPr>
          </a:lstStyle>
          <a:p>
            <a:pPr eaLnBrk="1" hangingPunct="1"/>
            <a:fld id="{B759CF91-F868-4E80-AAF6-D68B5C4F64F1}" type="slidenum">
              <a:rPr lang="en-US" altLang="en-US" sz="1200"/>
              <a:pPr eaLnBrk="1" hangingPunct="1"/>
              <a:t>191</a:t>
            </a:fld>
            <a:endParaRPr lang="en-US" altLang="en-US" sz="1200"/>
          </a:p>
        </p:txBody>
      </p:sp>
    </p:spTree>
    <p:extLst>
      <p:ext uri="{BB962C8B-B14F-4D97-AF65-F5344CB8AC3E}">
        <p14:creationId xmlns:p14="http://schemas.microsoft.com/office/powerpoint/2010/main" val="39329659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a:extLst>
              <a:ext uri="{FF2B5EF4-FFF2-40B4-BE49-F238E27FC236}">
                <a16:creationId xmlns:a16="http://schemas.microsoft.com/office/drawing/2014/main" id="{3D311E82-16A8-490A-B768-D61C13CF2457}"/>
              </a:ext>
            </a:extLst>
          </p:cNvPr>
          <p:cNvSpPr>
            <a:spLocks noGrp="1" noRot="1" noChangeAspect="1" noTextEdit="1"/>
          </p:cNvSpPr>
          <p:nvPr>
            <p:ph type="sldImg"/>
          </p:nvPr>
        </p:nvSpPr>
        <p:spPr>
          <a:ln/>
        </p:spPr>
      </p:sp>
      <p:sp>
        <p:nvSpPr>
          <p:cNvPr id="36867" name="Notes Placeholder 2">
            <a:extLst>
              <a:ext uri="{FF2B5EF4-FFF2-40B4-BE49-F238E27FC236}">
                <a16:creationId xmlns:a16="http://schemas.microsoft.com/office/drawing/2014/main" id="{E97E0E5A-F796-41E7-B3AF-CA5CA7F66E6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ar-EG" altLang="en-US"/>
          </a:p>
        </p:txBody>
      </p:sp>
      <p:sp>
        <p:nvSpPr>
          <p:cNvPr id="36868" name="Slide Number Placeholder 3">
            <a:extLst>
              <a:ext uri="{FF2B5EF4-FFF2-40B4-BE49-F238E27FC236}">
                <a16:creationId xmlns:a16="http://schemas.microsoft.com/office/drawing/2014/main" id="{F4CD2114-1459-40C5-90BA-4F510F0C332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Times New Roman" panose="02020603050405020304" pitchFamily="18" charset="0"/>
              </a:defRPr>
            </a:lvl1pPr>
            <a:lvl2pPr marL="742950" indent="-285750" eaLnBrk="0" hangingPunct="0">
              <a:defRPr sz="1400">
                <a:solidFill>
                  <a:schemeClr val="tx1"/>
                </a:solidFill>
                <a:latin typeface="Times New Roman" panose="02020603050405020304" pitchFamily="18" charset="0"/>
              </a:defRPr>
            </a:lvl2pPr>
            <a:lvl3pPr marL="1143000" indent="-228600" eaLnBrk="0" hangingPunct="0">
              <a:defRPr sz="1400">
                <a:solidFill>
                  <a:schemeClr val="tx1"/>
                </a:solidFill>
                <a:latin typeface="Times New Roman" panose="02020603050405020304" pitchFamily="18" charset="0"/>
              </a:defRPr>
            </a:lvl3pPr>
            <a:lvl4pPr marL="1600200" indent="-228600" eaLnBrk="0" hangingPunct="0">
              <a:defRPr sz="1400">
                <a:solidFill>
                  <a:schemeClr val="tx1"/>
                </a:solidFill>
                <a:latin typeface="Times New Roman" panose="02020603050405020304" pitchFamily="18" charset="0"/>
              </a:defRPr>
            </a:lvl4pPr>
            <a:lvl5pPr marL="2057400" indent="-228600" eaLnBrk="0" hangingPunct="0">
              <a:defRPr sz="1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a:solidFill>
                  <a:schemeClr val="tx1"/>
                </a:solidFill>
                <a:latin typeface="Times New Roman" panose="02020603050405020304" pitchFamily="18" charset="0"/>
              </a:defRPr>
            </a:lvl9pPr>
          </a:lstStyle>
          <a:p>
            <a:pPr eaLnBrk="1" hangingPunct="1"/>
            <a:fld id="{B759CF91-F868-4E80-AAF6-D68B5C4F64F1}" type="slidenum">
              <a:rPr lang="en-US" altLang="en-US" sz="1200"/>
              <a:pPr eaLnBrk="1" hangingPunct="1"/>
              <a:t>192</a:t>
            </a:fld>
            <a:endParaRPr lang="en-US" altLang="en-US" sz="1200"/>
          </a:p>
        </p:txBody>
      </p:sp>
    </p:spTree>
    <p:extLst>
      <p:ext uri="{BB962C8B-B14F-4D97-AF65-F5344CB8AC3E}">
        <p14:creationId xmlns:p14="http://schemas.microsoft.com/office/powerpoint/2010/main" val="38342586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p:cNvSpPr>
            <a:spLocks noGrp="1" noRot="1" noChangeAspect="1" noTextEdit="1"/>
          </p:cNvSpPr>
          <p:nvPr>
            <p:ph type="sldImg"/>
          </p:nvPr>
        </p:nvSpPr>
        <p:spPr>
          <a:xfrm>
            <a:off x="1143000" y="685800"/>
            <a:ext cx="4572000" cy="3429000"/>
          </a:xfrm>
          <a:ln/>
        </p:spPr>
      </p:sp>
      <p:sp>
        <p:nvSpPr>
          <p:cNvPr id="148483" name="Notes Placeholder 2"/>
          <p:cNvSpPr>
            <a:spLocks noGrp="1"/>
          </p:cNvSpPr>
          <p:nvPr>
            <p:ph type="body" idx="1"/>
          </p:nvPr>
        </p:nvSpPr>
        <p:spPr>
          <a:noFill/>
          <a:ln/>
        </p:spPr>
        <p:txBody>
          <a:bodyPr/>
          <a:lstStyle/>
          <a:p>
            <a:endParaRPr lang="ar-EG" smtClean="0">
              <a:latin typeface="Arial"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169702-56DC-4958-868B-85567D7806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412846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p:cNvSpPr>
            <a:spLocks noGrp="1" noRot="1" noChangeAspect="1" noTextEdit="1"/>
          </p:cNvSpPr>
          <p:nvPr>
            <p:ph type="sldImg"/>
          </p:nvPr>
        </p:nvSpPr>
        <p:spPr>
          <a:xfrm>
            <a:off x="1143000" y="685800"/>
            <a:ext cx="4572000" cy="3429000"/>
          </a:xfrm>
          <a:ln/>
        </p:spPr>
      </p:sp>
      <p:sp>
        <p:nvSpPr>
          <p:cNvPr id="138243" name="Notes Placeholder 2"/>
          <p:cNvSpPr>
            <a:spLocks noGrp="1"/>
          </p:cNvSpPr>
          <p:nvPr>
            <p:ph type="body" idx="1"/>
          </p:nvPr>
        </p:nvSpPr>
        <p:spPr>
          <a:noFill/>
          <a:ln/>
        </p:spPr>
        <p:txBody>
          <a:bodyPr/>
          <a:lstStyle/>
          <a:p>
            <a:endParaRPr lang="ar-EG" smtClean="0">
              <a:latin typeface="Arial"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58AA24-850F-4CF7-82F6-EE5A7FE526B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11216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Slide Image Placeholder 1"/>
          <p:cNvSpPr>
            <a:spLocks noGrp="1" noRot="1" noChangeAspect="1" noTextEdit="1"/>
          </p:cNvSpPr>
          <p:nvPr>
            <p:ph type="sldImg"/>
          </p:nvPr>
        </p:nvSpPr>
        <p:spPr>
          <a:xfrm>
            <a:off x="1143000" y="685800"/>
            <a:ext cx="4572000" cy="3429000"/>
          </a:xfrm>
          <a:ln/>
        </p:spPr>
      </p:sp>
      <p:sp>
        <p:nvSpPr>
          <p:cNvPr id="149507" name="Notes Placeholder 2"/>
          <p:cNvSpPr>
            <a:spLocks noGrp="1"/>
          </p:cNvSpPr>
          <p:nvPr>
            <p:ph type="body" idx="1"/>
          </p:nvPr>
        </p:nvSpPr>
        <p:spPr>
          <a:noFill/>
          <a:ln/>
        </p:spPr>
        <p:txBody>
          <a:bodyPr/>
          <a:lstStyle/>
          <a:p>
            <a:endParaRPr lang="ar-EG" smtClean="0">
              <a:latin typeface="Arial"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3A24-50B4-4E2A-8FC7-D75E08FA60F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1354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a:xfrm>
            <a:off x="1143000" y="685800"/>
            <a:ext cx="4572000" cy="3429000"/>
          </a:xfrm>
          <a:ln/>
        </p:spPr>
      </p:sp>
      <p:sp>
        <p:nvSpPr>
          <p:cNvPr id="136195" name="Notes Placeholder 2"/>
          <p:cNvSpPr>
            <a:spLocks noGrp="1"/>
          </p:cNvSpPr>
          <p:nvPr>
            <p:ph type="body" idx="1"/>
          </p:nvPr>
        </p:nvSpPr>
        <p:spPr>
          <a:noFill/>
          <a:ln/>
        </p:spPr>
        <p:txBody>
          <a:bodyPr/>
          <a:lstStyle/>
          <a:p>
            <a:endParaRPr lang="ar-EG" smtClean="0">
              <a:latin typeface="Arial"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8947F8-37CF-49DC-9586-59B0C1A7F4C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74442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a:xfrm>
            <a:off x="1143000" y="685800"/>
            <a:ext cx="4572000" cy="3429000"/>
          </a:xfrm>
          <a:ln/>
        </p:spPr>
      </p:sp>
      <p:sp>
        <p:nvSpPr>
          <p:cNvPr id="136195" name="Notes Placeholder 2"/>
          <p:cNvSpPr>
            <a:spLocks noGrp="1"/>
          </p:cNvSpPr>
          <p:nvPr>
            <p:ph type="body" idx="1"/>
          </p:nvPr>
        </p:nvSpPr>
        <p:spPr>
          <a:noFill/>
          <a:ln/>
        </p:spPr>
        <p:txBody>
          <a:bodyPr/>
          <a:lstStyle/>
          <a:p>
            <a:endParaRPr lang="ar-EG" smtClean="0">
              <a:latin typeface="Arial"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8947F8-37CF-49DC-9586-59B0C1A7F4C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47278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a:extLst>
              <a:ext uri="{FF2B5EF4-FFF2-40B4-BE49-F238E27FC236}">
                <a16:creationId xmlns:a16="http://schemas.microsoft.com/office/drawing/2014/main" id="{B9E3E4BB-CA40-AEB2-5F32-612602D5B085}"/>
              </a:ext>
            </a:extLst>
          </p:cNvPr>
          <p:cNvSpPr>
            <a:spLocks noGrp="1" noChangeArrowheads="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4052CC-8C49-4DA9-AB20-2081034166B8}"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9682" name="Rectangle 2">
            <a:extLst>
              <a:ext uri="{FF2B5EF4-FFF2-40B4-BE49-F238E27FC236}">
                <a16:creationId xmlns:a16="http://schemas.microsoft.com/office/drawing/2014/main" id="{A89A31EA-D042-6370-BADE-A89909C70B22}"/>
              </a:ext>
            </a:extLst>
          </p:cNvPr>
          <p:cNvSpPr>
            <a:spLocks noGrp="1" noChangeArrowheads="1"/>
          </p:cNvSpPr>
          <p:nvPr>
            <p:ph type="body" idx="1"/>
          </p:nvPr>
        </p:nvSpPr>
        <p:spPr>
          <a:xfrm>
            <a:off x="936625" y="4340225"/>
            <a:ext cx="4940300" cy="3962400"/>
          </a:xfrm>
          <a:ln/>
        </p:spPr>
        <p:txBody>
          <a:bodyPr lIns="89227" tIns="43831" rIns="89227" bIns="43831"/>
          <a:lstStyle/>
          <a:p>
            <a:pPr marL="230188" indent="-230188" eaLnBrk="1" fontAlgn="auto" hangingPunct="1">
              <a:spcBef>
                <a:spcPts val="0"/>
              </a:spcBef>
              <a:spcAft>
                <a:spcPts val="0"/>
              </a:spcAft>
              <a:buFontTx/>
              <a:buChar char="•"/>
              <a:defRPr/>
            </a:pPr>
            <a:r>
              <a:rPr lang="en-US"/>
              <a:t>With asthma, what we see is the tip of the iceberg, the symptoms. </a:t>
            </a:r>
          </a:p>
          <a:p>
            <a:pPr marL="230188" indent="-230188" eaLnBrk="1" fontAlgn="auto" hangingPunct="1">
              <a:spcBef>
                <a:spcPts val="0"/>
              </a:spcBef>
              <a:spcAft>
                <a:spcPts val="0"/>
              </a:spcAft>
              <a:buFontTx/>
              <a:buChar char="•"/>
              <a:defRPr/>
            </a:pPr>
            <a:r>
              <a:rPr lang="en-US"/>
              <a:t>At the base of the iceberg is the airway inflammation. </a:t>
            </a:r>
          </a:p>
          <a:p>
            <a:pPr marL="230188" indent="-230188" eaLnBrk="1" fontAlgn="auto" hangingPunct="1">
              <a:lnSpc>
                <a:spcPct val="150000"/>
              </a:lnSpc>
              <a:spcBef>
                <a:spcPts val="0"/>
              </a:spcBef>
              <a:spcAft>
                <a:spcPts val="0"/>
              </a:spcAft>
              <a:buFontTx/>
              <a:buChar char="•"/>
              <a:defRPr/>
            </a:pPr>
            <a:r>
              <a:rPr lang="en-US"/>
              <a:t>This inflammation underlies the bronchial hyperresponsiveness of asthma, the air flow obstruction, and </a:t>
            </a:r>
            <a:r>
              <a:rPr lang="en-US">
                <a:solidFill>
                  <a:schemeClr val="tx2"/>
                </a:solidFill>
              </a:rPr>
              <a:t>the culmination of the inflammatory process is the tip of the iceberg, the symptoms.</a:t>
            </a:r>
          </a:p>
          <a:p>
            <a:pPr marL="230188" indent="-230188" eaLnBrk="1" fontAlgn="auto" hangingPunct="1">
              <a:lnSpc>
                <a:spcPct val="150000"/>
              </a:lnSpc>
              <a:spcBef>
                <a:spcPts val="0"/>
              </a:spcBef>
              <a:spcAft>
                <a:spcPts val="0"/>
              </a:spcAft>
              <a:defRPr/>
            </a:pPr>
            <a:r>
              <a:rPr lang="en-US">
                <a:solidFill>
                  <a:schemeClr val="tx2"/>
                </a:solidFill>
              </a:rPr>
              <a:t>	*</a:t>
            </a:r>
            <a:r>
              <a:rPr lang="en-US">
                <a:solidFill>
                  <a:schemeClr val="tx2"/>
                </a:solidFill>
                <a:effectLst>
                  <a:outerShdw blurRad="38100" dist="38100" dir="2700000" algn="tl">
                    <a:srgbClr val="C0C0C0"/>
                  </a:outerShdw>
                </a:effectLst>
              </a:rPr>
              <a:t>Active inflammation of the airways can be present for 6 to 8 weeks following a severe respiratory infection.</a:t>
            </a:r>
          </a:p>
          <a:p>
            <a:pPr marL="230188" indent="-230188" eaLnBrk="1" fontAlgn="auto" hangingPunct="1">
              <a:lnSpc>
                <a:spcPct val="150000"/>
              </a:lnSpc>
              <a:spcBef>
                <a:spcPts val="0"/>
              </a:spcBef>
              <a:spcAft>
                <a:spcPts val="0"/>
              </a:spcAft>
              <a:defRPr/>
            </a:pPr>
            <a:r>
              <a:rPr lang="en-US">
                <a:solidFill>
                  <a:schemeClr val="tx2"/>
                </a:solidFill>
              </a:rPr>
              <a:t>	*</a:t>
            </a:r>
            <a:r>
              <a:rPr lang="en-US">
                <a:solidFill>
                  <a:schemeClr val="tx2"/>
                </a:solidFill>
                <a:effectLst>
                  <a:outerShdw blurRad="38100" dist="38100" dir="2700000" algn="tl">
                    <a:srgbClr val="C0C0C0"/>
                  </a:outerShdw>
                </a:effectLst>
              </a:rPr>
              <a:t>Airflow obstruction results from bronchoconstriction, bronchial edema, mucus hypersecretion, and inflammatory cell recruitment including</a:t>
            </a:r>
          </a:p>
          <a:p>
            <a:pPr marL="230188" indent="-230188" eaLnBrk="1" fontAlgn="auto" hangingPunct="1">
              <a:lnSpc>
                <a:spcPct val="150000"/>
              </a:lnSpc>
              <a:spcBef>
                <a:spcPts val="0"/>
              </a:spcBef>
              <a:spcAft>
                <a:spcPts val="0"/>
              </a:spcAft>
              <a:defRPr/>
            </a:pPr>
            <a:r>
              <a:rPr lang="en-US">
                <a:solidFill>
                  <a:schemeClr val="tx2"/>
                </a:solidFill>
                <a:effectLst>
                  <a:outerShdw blurRad="38100" dist="38100" dir="2700000" algn="tl">
                    <a:srgbClr val="C0C0C0"/>
                  </a:outerShdw>
                </a:effectLst>
              </a:rPr>
              <a:t>           eosinophils, a key inflammatory cell.</a:t>
            </a:r>
          </a:p>
        </p:txBody>
      </p:sp>
      <p:sp>
        <p:nvSpPr>
          <p:cNvPr id="69636" name="Rectangle 3">
            <a:extLst>
              <a:ext uri="{FF2B5EF4-FFF2-40B4-BE49-F238E27FC236}">
                <a16:creationId xmlns:a16="http://schemas.microsoft.com/office/drawing/2014/main" id="{C1D96ED1-CAE9-42D1-D8B9-229B05B4891A}"/>
              </a:ext>
            </a:extLst>
          </p:cNvPr>
          <p:cNvSpPr>
            <a:spLocks noGrp="1" noRot="1" noChangeAspect="1" noChangeArrowheads="1" noTextEdit="1"/>
          </p:cNvSpPr>
          <p:nvPr>
            <p:ph type="sldImg"/>
          </p:nvPr>
        </p:nvSpPr>
        <p:spPr bwMode="auto">
          <a:xfrm>
            <a:off x="1158875" y="688975"/>
            <a:ext cx="4467225" cy="3349625"/>
          </a:xfrm>
          <a:noFill/>
          <a:ln cap="flat">
            <a:solidFill>
              <a:schemeClr val="tx1"/>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19000712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5.xml"/><Relationship Id="rId4" Type="http://schemas.openxmlformats.org/officeDocument/2006/relationships/image" Target="../media/image11.pn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7.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2" Type="http://schemas.openxmlformats.org/officeDocument/2006/relationships/slideMaster" Target="../slideMasters/slideMaster19.xml"/><Relationship Id="rId1" Type="http://schemas.openxmlformats.org/officeDocument/2006/relationships/themeOverride" Target="../theme/themeOverride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20.xml"/><Relationship Id="rId1" Type="http://schemas.openxmlformats.org/officeDocument/2006/relationships/themeOverride" Target="../theme/themeOverride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3.xml"/><Relationship Id="rId1" Type="http://schemas.openxmlformats.org/officeDocument/2006/relationships/themeOverride" Target="../theme/themeOverride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1.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audio" Target="../media/audio1.wav"/></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audio" Target="../media/audio1.wav"/></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audio" Target="../media/audio1.wav"/></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audio" Target="../media/audio1.wav"/></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audio" Target="../media/audio1.wav"/></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audio" Target="../media/audio1.wav"/></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audio" Target="../media/audio1.wav"/></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audio" Target="../media/audio1.wav"/></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audio" Target="../media/audio1.wav"/></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audio" Target="../media/audio1.wav"/></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audio" Target="../media/audio1.wav"/></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2" name="Rectangle 11"/>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13" name="Rounded Rectangle 12"/>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9" name="Subtitle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17" name="Footer Placeholder 16"/>
          <p:cNvSpPr>
            <a:spLocks noGrp="1"/>
          </p:cNvSpPr>
          <p:nvPr>
            <p:ph type="ftr" sz="quarter" idx="11"/>
          </p:nvPr>
        </p:nvSpPr>
        <p:spPr/>
        <p:txBody>
          <a:bodyPr/>
          <a:lstStyle/>
          <a:p>
            <a:endParaRPr lang="en-US"/>
          </a:p>
        </p:txBody>
      </p:sp>
      <p:sp>
        <p:nvSpPr>
          <p:cNvPr id="29" name="Slide Number Placeholder 28"/>
          <p:cNvSpPr>
            <a:spLocks noGrp="1"/>
          </p:cNvSpPr>
          <p:nvPr>
            <p:ph type="sldNum" sz="quarter" idx="12"/>
          </p:nvPr>
        </p:nvSpPr>
        <p:spPr/>
        <p:txBody>
          <a:bodyPr lIns="0" tIns="0" rIns="0" bIns="0">
            <a:noAutofit/>
          </a:bodyPr>
          <a:lstStyle>
            <a:lvl1pPr>
              <a:defRPr sz="1400">
                <a:solidFill>
                  <a:srgbClr val="FFFFFF"/>
                </a:solidFill>
              </a:defRPr>
            </a:lvl1pPr>
          </a:lstStyle>
          <a:p>
            <a:fld id="{588F465F-DAF4-455E-950B-4E617B86F3AD}" type="slidenum">
              <a:rPr lang="en-US" smtClean="0"/>
              <a:pPr/>
              <a:t>‹#›</a:t>
            </a:fld>
            <a:endParaRPr lang="en-US"/>
          </a:p>
        </p:txBody>
      </p:sp>
      <p:sp>
        <p:nvSpPr>
          <p:cNvPr id="7" name="Rectangle 6"/>
          <p:cNvSpPr/>
          <p:nvPr/>
        </p:nvSpPr>
        <p:spPr>
          <a:xfrm>
            <a:off x="62931" y="1449303"/>
            <a:ext cx="9021537" cy="1527349"/>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62931" y="1396720"/>
            <a:ext cx="9021537" cy="12058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p:nvSpPr>
        <p:spPr>
          <a:xfrm>
            <a:off x="62931" y="2976649"/>
            <a:ext cx="9021537" cy="11053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le 7"/>
          <p:cNvSpPr>
            <a:spLocks noGrp="1"/>
          </p:cNvSpPr>
          <p:nvPr>
            <p:ph type="ctrTitle"/>
          </p:nvPr>
        </p:nvSpPr>
        <p:spPr>
          <a:xfrm>
            <a:off x="457200" y="1505930"/>
            <a:ext cx="8229600" cy="1470025"/>
          </a:xfrm>
        </p:spPr>
        <p:txBody>
          <a:bodyPr anchor="ctr"/>
          <a:lstStyle>
            <a:lvl1pPr algn="ctr">
              <a:defRPr lang="en-US" dirty="0">
                <a:solidFill>
                  <a:srgbClr val="FFFFFF"/>
                </a:solidFill>
              </a:defRPr>
            </a:lvl1pPr>
          </a:lstStyle>
          <a:p>
            <a:r>
              <a:rPr kumimoji="0" lang="en-US" smtClean="0"/>
              <a:t>Click to edit Master title style</a:t>
            </a:r>
            <a:endParaRPr kumimoji="0" lang="en-US"/>
          </a:p>
        </p:txBody>
      </p:sp>
    </p:spTree>
  </p:cSld>
  <p:clrMapOvr>
    <a:overrideClrMapping bg1="lt1" tx1="dk1" bg2="lt2" tx2="dk2" accent1="accent1" accent2="accent2" accent3="accent3" accent4="accent4" accent5="accent5" accent6="accent6" hlink="hlink" folHlink="folHlink"/>
  </p:clrMapOvr>
  <p:transition>
    <p:dissolve/>
    <p:sndAc>
      <p:stSnd>
        <p:snd r:embed="rId1" name="chimes.wav"/>
      </p:stSnd>
    </p:sndAc>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8F465F-DAF4-455E-950B-4E617B86F3AD}" type="slidenum">
              <a:rPr lang="en-US" smtClean="0"/>
              <a:pPr/>
              <a:t>‹#›</a:t>
            </a:fld>
            <a:endParaRPr lang="en-US"/>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245225"/>
            <a:ext cx="2133600" cy="476250"/>
          </a:xfrm>
        </p:spPr>
        <p:txBody>
          <a:bodyPr/>
          <a:lstStyle>
            <a:lvl1pPr>
              <a:defRPr/>
            </a:lvl1pPr>
          </a:lstStyle>
          <a:p>
            <a:endParaRPr lang="en-US"/>
          </a:p>
        </p:txBody>
      </p:sp>
      <p:sp>
        <p:nvSpPr>
          <p:cNvPr id="6" name="Footer Placeholder 5"/>
          <p:cNvSpPr>
            <a:spLocks noGrp="1"/>
          </p:cNvSpPr>
          <p:nvPr>
            <p:ph type="ftr" sz="quarter" idx="11"/>
          </p:nvPr>
        </p:nvSpPr>
        <p:spPr>
          <a:xfrm>
            <a:off x="3124200" y="6245225"/>
            <a:ext cx="2895600" cy="476250"/>
          </a:xfrm>
        </p:spPr>
        <p:txBody>
          <a:bodyPr/>
          <a:lstStyle>
            <a:lvl1pPr>
              <a:defRPr/>
            </a:lvl1pPr>
          </a:lstStyle>
          <a:p>
            <a:endParaRPr lang="en-US"/>
          </a:p>
        </p:txBody>
      </p:sp>
      <p:sp>
        <p:nvSpPr>
          <p:cNvPr id="7" name="Slide Number Placeholder 6"/>
          <p:cNvSpPr>
            <a:spLocks noGrp="1"/>
          </p:cNvSpPr>
          <p:nvPr>
            <p:ph type="sldNum" sz="quarter" idx="12"/>
          </p:nvPr>
        </p:nvSpPr>
        <p:spPr>
          <a:xfrm>
            <a:off x="6553200" y="6245225"/>
            <a:ext cx="2133600" cy="476250"/>
          </a:xfrm>
        </p:spPr>
        <p:txBody>
          <a:bodyPr/>
          <a:lstStyle>
            <a:lvl1pPr>
              <a:defRPr/>
            </a:lvl1pPr>
          </a:lstStyle>
          <a:p>
            <a:fld id="{D1C028E9-3B8F-4F44-9CF1-86360D609ECA}" type="slidenum">
              <a:rPr lang="ar-SA"/>
              <a:pPr/>
              <a:t>‹#›</a:t>
            </a:fld>
            <a:endParaRPr lang="en-US"/>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ight Triangle 9"/>
          <p:cNvSpPr/>
          <p:nvPr/>
        </p:nvSpPr>
        <p:spPr>
          <a:xfrm>
            <a:off x="-2" y="4664147"/>
            <a:ext cx="9151089"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9" name="Title 8"/>
          <p:cNvSpPr>
            <a:spLocks noGrp="1"/>
          </p:cNvSpPr>
          <p:nvPr>
            <p:ph type="ctrTitle"/>
          </p:nvPr>
        </p:nvSpPr>
        <p:spPr>
          <a:xfrm>
            <a:off x="685800" y="1752601"/>
            <a:ext cx="7772400" cy="1829761"/>
          </a:xfrm>
        </p:spPr>
        <p:txBody>
          <a:bodyPr vert="horz" anchor="b">
            <a:normAutofit/>
            <a:scene3d>
              <a:camera prst="orthographicFront"/>
              <a:lightRig rig="soft" dir="t"/>
            </a:scene3d>
            <a:sp3d prstMaterial="softEdge">
              <a:bevelT w="25400" h="25400"/>
            </a:sp3d>
          </a:bodyPr>
          <a:lstStyle>
            <a:lvl1pPr algn="r">
              <a:defRPr sz="4800" b="1">
                <a:solidFill>
                  <a:schemeClr val="tx2"/>
                </a:solidFill>
                <a:effectLst>
                  <a:outerShdw blurRad="31750" dist="25400" dir="5400000" algn="tl" rotWithShape="0">
                    <a:srgbClr val="000000">
                      <a:alpha val="25000"/>
                    </a:srgbClr>
                  </a:outerShdw>
                </a:effectLst>
              </a:defRPr>
            </a:lvl1pPr>
            <a:extLst/>
          </a:lstStyle>
          <a:p>
            <a:r>
              <a:rPr kumimoji="0" lang="en-US" smtClean="0"/>
              <a:t>Click to edit Master title style</a:t>
            </a:r>
            <a:endParaRPr kumimoji="0" lang="en-US"/>
          </a:p>
        </p:txBody>
      </p:sp>
      <p:sp>
        <p:nvSpPr>
          <p:cNvPr id="17" name="Subtitle 16"/>
          <p:cNvSpPr>
            <a:spLocks noGrp="1"/>
          </p:cNvSpPr>
          <p:nvPr>
            <p:ph type="subTitle" idx="1"/>
          </p:nvPr>
        </p:nvSpPr>
        <p:spPr>
          <a:xfrm>
            <a:off x="685800" y="3611607"/>
            <a:ext cx="7772400" cy="1199704"/>
          </a:xfrm>
        </p:spPr>
        <p:txBody>
          <a:bodyPr lIns="45720" rIns="45720"/>
          <a:lstStyle>
            <a:lvl1pPr marL="0" marR="64008" indent="0" algn="r">
              <a:buNone/>
              <a:defRPr>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smtClean="0"/>
              <a:t>Click to edit Master subtitle style</a:t>
            </a:r>
            <a:endParaRPr kumimoji="0" lang="en-US"/>
          </a:p>
        </p:txBody>
      </p:sp>
      <p:grpSp>
        <p:nvGrpSpPr>
          <p:cNvPr id="2" name="Group 1"/>
          <p:cNvGrpSpPr/>
          <p:nvPr/>
        </p:nvGrpSpPr>
        <p:grpSpPr>
          <a:xfrm>
            <a:off x="-3765" y="4953000"/>
            <a:ext cx="9147765" cy="1912088"/>
            <a:chOff x="-3765" y="4832896"/>
            <a:chExt cx="9147765" cy="2032192"/>
          </a:xfrm>
        </p:grpSpPr>
        <p:sp>
          <p:nvSpPr>
            <p:cNvPr id="7" name="Freeform 6"/>
            <p:cNvSpPr>
              <a:spLocks/>
            </p:cNvSpPr>
            <p:nvPr/>
          </p:nvSpPr>
          <p:spPr bwMode="auto">
            <a:xfrm>
              <a:off x="1687513" y="4832896"/>
              <a:ext cx="7456487" cy="518816"/>
            </a:xfrm>
            <a:custGeom>
              <a:avLst>
                <a:gd name="A1" fmla="val 0"/>
                <a:gd name="A2" fmla="val 0"/>
                <a:gd name="A3" fmla="val 0"/>
                <a:gd name="A4" fmla="val 0"/>
                <a:gd name="A5" fmla="val 0"/>
                <a:gd name="A6" fmla="val 0"/>
                <a:gd name="A7" fmla="val 0"/>
                <a:gd name="A8" fmla="val 0"/>
              </a:avLst>
              <a:gdLst/>
              <a:ahLst/>
              <a:cxnLst>
                <a:cxn ang="0">
                  <a:pos x="4697" y="0"/>
                </a:cxn>
                <a:cxn ang="0">
                  <a:pos x="4697" y="367"/>
                </a:cxn>
                <a:cxn ang="0">
                  <a:pos x="0" y="218"/>
                </a:cxn>
                <a:cxn ang="0">
                  <a:pos x="4697" y="0"/>
                </a:cxn>
              </a:cxnLst>
              <a:rect l="0" t="0" r="0" b="0"/>
              <a:pathLst>
                <a:path w="4697" h="367">
                  <a:moveTo>
                    <a:pt x="4697" y="0"/>
                  </a:moveTo>
                  <a:lnTo>
                    <a:pt x="4697" y="367"/>
                  </a:lnTo>
                  <a:lnTo>
                    <a:pt x="0" y="218"/>
                  </a:lnTo>
                  <a:lnTo>
                    <a:pt x="4697" y="0"/>
                  </a:lnTo>
                  <a:close/>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8" name="Freeform 7"/>
            <p:cNvSpPr>
              <a:spLocks/>
            </p:cNvSpPr>
            <p:nvPr/>
          </p:nvSpPr>
          <p:spPr bwMode="auto">
            <a:xfrm>
              <a:off x="35443" y="5135526"/>
              <a:ext cx="9108557" cy="83820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0" y="0"/>
                  </a:moveTo>
                  <a:lnTo>
                    <a:pt x="5760" y="0"/>
                  </a:lnTo>
                  <a:lnTo>
                    <a:pt x="5760" y="528"/>
                  </a:lnTo>
                  <a:lnTo>
                    <a:pt x="48" y="0"/>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11" name="Freeform 10"/>
            <p:cNvSpPr>
              <a:spLocks/>
            </p:cNvSpPr>
            <p:nvPr/>
          </p:nvSpPr>
          <p:spPr bwMode="auto">
            <a:xfrm>
              <a:off x="0" y="4883888"/>
              <a:ext cx="9144000" cy="1981200"/>
            </a:xfrm>
            <a:custGeom>
              <a:avLst>
                <a:gd name="A1" fmla="val 0"/>
                <a:gd name="A2" fmla="val 0"/>
                <a:gd name="A3" fmla="val 0"/>
                <a:gd name="A4" fmla="val 0"/>
                <a:gd name="A5" fmla="val 0"/>
                <a:gd name="A6" fmla="val 0"/>
                <a:gd name="A7" fmla="val 0"/>
                <a:gd name="A8" fmla="val 0"/>
              </a:avLst>
              <a:gdLst/>
              <a:ahLst/>
              <a:cxnLst>
                <a:cxn ang="0">
                  <a:pos x="0" y="0"/>
                </a:cxn>
                <a:cxn ang="0">
                  <a:pos x="0" y="1248"/>
                </a:cxn>
                <a:cxn ang="0">
                  <a:pos x="5760" y="1248"/>
                </a:cxn>
                <a:cxn ang="0">
                  <a:pos x="5760" y="528"/>
                </a:cxn>
                <a:cxn ang="0">
                  <a:pos x="0" y="0"/>
                </a:cxn>
              </a:cxnLst>
              <a:rect l="0" t="0" r="0" b="0"/>
              <a:pathLst>
                <a:path w="5760" h="1248">
                  <a:moveTo>
                    <a:pt x="0" y="0"/>
                  </a:moveTo>
                  <a:lnTo>
                    <a:pt x="0" y="1248"/>
                  </a:lnTo>
                  <a:lnTo>
                    <a:pt x="5760" y="1248"/>
                  </a:lnTo>
                  <a:lnTo>
                    <a:pt x="5760" y="528"/>
                  </a:lnTo>
                  <a:lnTo>
                    <a:pt x="0" y="0"/>
                  </a:lnTo>
                  <a:close/>
                </a:path>
              </a:pathLst>
            </a:cu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cxnSp>
          <p:nvCxnSpPr>
            <p:cNvPr id="12" name="Straight Connector 11"/>
            <p:cNvCxnSpPr/>
            <p:nvPr/>
          </p:nvCxnSpPr>
          <p:spPr>
            <a:xfrm>
              <a:off x="-3765" y="4880373"/>
              <a:ext cx="9147765" cy="83994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grpSp>
      <p:sp>
        <p:nvSpPr>
          <p:cNvPr id="30" name="Date Placeholder 29"/>
          <p:cNvSpPr>
            <a:spLocks noGrp="1"/>
          </p:cNvSpPr>
          <p:nvPr>
            <p:ph type="dt" sz="half" idx="10"/>
          </p:nvPr>
        </p:nvSpPr>
        <p:spPr/>
        <p:txBody>
          <a:bodyPr/>
          <a:lstStyle>
            <a:lvl1pPr>
              <a:defRPr>
                <a:solidFill>
                  <a:srgbClr val="FFFFFF"/>
                </a:solidFill>
              </a:defRPr>
            </a:lvl1pPr>
            <a:extLst/>
          </a:lstStyle>
          <a:p>
            <a:pPr marL="0" marR="0" lvl="0" indent="0" algn="l" defTabSz="914400" rtl="0" eaLnBrk="1" fontAlgn="auto" latinLnBrk="0" hangingPunct="1">
              <a:lnSpc>
                <a:spcPct val="100000"/>
              </a:lnSpc>
              <a:spcBef>
                <a:spcPts val="0"/>
              </a:spcBef>
              <a:spcAft>
                <a:spcPts val="0"/>
              </a:spcAft>
              <a:buClrTx/>
              <a:buSzTx/>
              <a:buFontTx/>
              <a:buNone/>
              <a:tabLst/>
              <a:defRPr/>
            </a:pPr>
            <a:fld id="{7040FD69-1FD6-4F58-A56A-4A19CE056754}" type="datetimeFigureOut">
              <a:rPr kumimoji="0" lang="en-US" sz="1000" b="0" i="0" u="none" strike="noStrike" kern="1200" cap="none" spc="0" normalizeH="0" baseline="0" noProof="0" smtClean="0">
                <a:ln>
                  <a:noFill/>
                </a:ln>
                <a:solidFill>
                  <a:srgbClr val="FFFFFF"/>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srgbClr val="FFFFFF"/>
              </a:solidFill>
              <a:effectLst/>
              <a:uLnTx/>
              <a:uFillTx/>
              <a:latin typeface="Lucida Sans Unicode"/>
              <a:ea typeface="+mn-ea"/>
              <a:cs typeface="+mn-cs"/>
            </a:endParaRPr>
          </a:p>
        </p:txBody>
      </p:sp>
      <p:sp>
        <p:nvSpPr>
          <p:cNvPr id="19" name="Footer Placeholder 18"/>
          <p:cNvSpPr>
            <a:spLocks noGrp="1"/>
          </p:cNvSpPr>
          <p:nvPr>
            <p:ph type="ftr" sz="quarter" idx="11"/>
          </p:nvPr>
        </p:nvSpPr>
        <p:spPr/>
        <p:txBody>
          <a:bodyPr/>
          <a:lstStyle>
            <a:lvl1pPr>
              <a:defRPr>
                <a:solidFill>
                  <a:schemeClr val="accent1">
                    <a:tint val="20000"/>
                  </a:schemeClr>
                </a:solidFill>
              </a:defRPr>
            </a:lvl1pPr>
            <a:extLst/>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DA2BF">
                  <a:tint val="20000"/>
                </a:srgbClr>
              </a:solidFill>
              <a:effectLst/>
              <a:uLnTx/>
              <a:uFillTx/>
              <a:latin typeface="Lucida Sans Unicode"/>
              <a:ea typeface="+mn-ea"/>
              <a:cs typeface="+mn-cs"/>
            </a:endParaRPr>
          </a:p>
        </p:txBody>
      </p:sp>
      <p:sp>
        <p:nvSpPr>
          <p:cNvPr id="27" name="Slide Number Placeholder 26"/>
          <p:cNvSpPr>
            <a:spLocks noGrp="1"/>
          </p:cNvSpPr>
          <p:nvPr>
            <p:ph type="sldNum" sz="quarter" idx="12"/>
          </p:nvPr>
        </p:nvSpPr>
        <p:spPr/>
        <p:txBody>
          <a:bodyPr/>
          <a:lstStyle>
            <a:lvl1pPr>
              <a:defRPr>
                <a:solidFill>
                  <a:srgbClr val="FFFFFF"/>
                </a:solidFill>
              </a:defRPr>
            </a:lvl1pPr>
            <a:extLst/>
          </a:lstStyle>
          <a:p>
            <a:pPr marL="0" marR="0" lvl="0" indent="0" algn="r" defTabSz="914400" rtl="0" eaLnBrk="1" fontAlgn="auto" latinLnBrk="0" hangingPunct="1">
              <a:lnSpc>
                <a:spcPct val="100000"/>
              </a:lnSpc>
              <a:spcBef>
                <a:spcPts val="0"/>
              </a:spcBef>
              <a:spcAft>
                <a:spcPts val="0"/>
              </a:spcAft>
              <a:buClrTx/>
              <a:buSzTx/>
              <a:buFontTx/>
              <a:buNone/>
              <a:tabLst/>
              <a:defRPr/>
            </a:pPr>
            <a:fld id="{F5CB9D19-7457-4276-82EC-1FA2153ACF1D}" type="slidenum">
              <a:rPr kumimoji="0" lang="en-US" sz="1000" b="0" i="0" u="none" strike="noStrike" kern="1200" cap="none" spc="0" normalizeH="0" baseline="0" noProof="0" smtClean="0">
                <a:ln>
                  <a:noFill/>
                </a:ln>
                <a:solidFill>
                  <a:srgbClr val="FFFFFF"/>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Lucida Sans Unicode"/>
              <a:ea typeface="+mn-ea"/>
              <a:cs typeface="+mn-cs"/>
            </a:endParaRPr>
          </a:p>
        </p:txBody>
      </p:sp>
    </p:spTree>
    <p:extLst>
      <p:ext uri="{BB962C8B-B14F-4D97-AF65-F5344CB8AC3E}">
        <p14:creationId xmlns:p14="http://schemas.microsoft.com/office/powerpoint/2010/main" val="303858847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40FD69-1FD6-4F58-A56A-4A19CE056754}" type="datetimeFigureOut">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5" name="Footer Placeholder 4"/>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CB9D19-7457-4276-82EC-1FA2153ACF1D}" type="slidenum">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7" name="Title 6"/>
          <p:cNvSpPr>
            <a:spLocks noGrp="1"/>
          </p:cNvSpPr>
          <p:nvPr>
            <p:ph type="title"/>
          </p:nvPr>
        </p:nvSpPr>
        <p:spPr/>
        <p:txBody>
          <a:bodyPr rtlCol="0"/>
          <a:lstStyle/>
          <a:p>
            <a:r>
              <a:rPr kumimoji="0" lang="en-US" smtClean="0"/>
              <a:t>Click to edit Master title style</a:t>
            </a:r>
            <a:endParaRPr kumimoji="0" lang="en-US"/>
          </a:p>
        </p:txBody>
      </p:sp>
    </p:spTree>
    <p:extLst>
      <p:ext uri="{BB962C8B-B14F-4D97-AF65-F5344CB8AC3E}">
        <p14:creationId xmlns:p14="http://schemas.microsoft.com/office/powerpoint/2010/main" val="249455193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22376" y="1059712"/>
            <a:ext cx="7772400" cy="1828800"/>
          </a:xfrm>
        </p:spPr>
        <p:txBody>
          <a:bodyPr vert="horz" anchor="b">
            <a:normAutofit/>
            <a:scene3d>
              <a:camera prst="orthographicFront"/>
              <a:lightRig rig="soft" dir="t"/>
            </a:scene3d>
            <a:sp3d prstMaterial="softEdge">
              <a:bevelT w="25400" h="25400"/>
            </a:sp3d>
          </a:bodyPr>
          <a:lstStyle>
            <a:lvl1pPr algn="r">
              <a:buNone/>
              <a:defRPr sz="4800" b="1" cap="none" baseline="0">
                <a:effectLst>
                  <a:outerShdw blurRad="31750" dist="25400" dir="5400000" algn="tl" rotWithShape="0">
                    <a:srgbClr val="000000">
                      <a:alpha val="25000"/>
                    </a:srgbClr>
                  </a:outerShdw>
                </a:effectLst>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3922713" y="2931712"/>
            <a:ext cx="4572000" cy="1454888"/>
          </a:xfrm>
        </p:spPr>
        <p:txBody>
          <a:bodyPr lIns="91440" rIns="91440" anchor="t"/>
          <a:lstStyle>
            <a:lvl1pPr marL="0" indent="0" algn="l">
              <a:buNone/>
              <a:defRPr sz="23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40FD69-1FD6-4F58-A56A-4A19CE056754}" type="datetimeFigureOut">
              <a:rPr kumimoji="0" lang="en-US" sz="1000" b="0" i="0" u="none" strike="noStrike" kern="1200" cap="none" spc="0" normalizeH="0" baseline="0" noProof="0" smtClean="0">
                <a:ln>
                  <a:noFill/>
                </a:ln>
                <a:solidFill>
                  <a:prstClr val="white"/>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5" name="Footer Placeholder 4"/>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CB9D19-7457-4276-82EC-1FA2153ACF1D}" type="slidenum">
              <a:rPr kumimoji="0" lang="en-US" sz="1000" b="0" i="0" u="none" strike="noStrike" kern="1200" cap="none" spc="0" normalizeH="0" baseline="0" noProof="0" smtClean="0">
                <a:ln>
                  <a:noFill/>
                </a:ln>
                <a:solidFill>
                  <a:prstClr val="white"/>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7" name="Chevron 6"/>
          <p:cNvSpPr/>
          <p:nvPr/>
        </p:nvSpPr>
        <p:spPr>
          <a:xfrm>
            <a:off x="3636680" y="3005472"/>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8" name="Chevron 7"/>
          <p:cNvSpPr/>
          <p:nvPr/>
        </p:nvSpPr>
        <p:spPr>
          <a:xfrm>
            <a:off x="3450264" y="3005472"/>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spTree>
    <p:extLst>
      <p:ext uri="{BB962C8B-B14F-4D97-AF65-F5344CB8AC3E}">
        <p14:creationId xmlns:p14="http://schemas.microsoft.com/office/powerpoint/2010/main" val="1496883519"/>
      </p:ext>
    </p:extLst>
  </p:cSld>
  <p:clrMapOvr>
    <a:overrideClrMapping bg1="dk1" tx1="lt1" bg2="dk2" tx2="lt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bg>
      <p:bgRef idx="1002">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481328"/>
            <a:ext cx="40386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48200" y="1481328"/>
            <a:ext cx="40386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40FD69-1FD6-4F58-A56A-4A19CE056754}" type="datetimeFigureOut">
              <a:rPr kumimoji="0" lang="en-US" sz="1000" b="0" i="0" u="none" strike="noStrike" kern="1200" cap="none" spc="0" normalizeH="0" baseline="0" noProof="0" smtClean="0">
                <a:ln>
                  <a:noFill/>
                </a:ln>
                <a:solidFill>
                  <a:prstClr val="white"/>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6" name="Footer Placeholder 5"/>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CB9D19-7457-4276-82EC-1FA2153ACF1D}" type="slidenum">
              <a:rPr kumimoji="0" lang="en-US" sz="1000" b="0" i="0" u="none" strike="noStrike" kern="1200" cap="none" spc="0" normalizeH="0" baseline="0" noProof="0" smtClean="0">
                <a:ln>
                  <a:noFill/>
                </a:ln>
                <a:solidFill>
                  <a:prstClr val="white"/>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8" name="Title 7"/>
          <p:cNvSpPr>
            <a:spLocks noGrp="1"/>
          </p:cNvSpPr>
          <p:nvPr>
            <p:ph type="title"/>
          </p:nvPr>
        </p:nvSpPr>
        <p:spPr/>
        <p:txBody>
          <a:bodyPr rtlCol="0"/>
          <a:lstStyle/>
          <a:p>
            <a:r>
              <a:rPr kumimoji="0" lang="en-US" smtClean="0"/>
              <a:t>Click to edit Master title style</a:t>
            </a:r>
            <a:endParaRPr kumimoji="0" lang="en-US"/>
          </a:p>
        </p:txBody>
      </p:sp>
    </p:spTree>
    <p:extLst>
      <p:ext uri="{BB962C8B-B14F-4D97-AF65-F5344CB8AC3E}">
        <p14:creationId xmlns:p14="http://schemas.microsoft.com/office/powerpoint/2010/main" val="3179145609"/>
      </p:ext>
    </p:extLst>
  </p:cSld>
  <p:clrMapOvr>
    <a:overrideClrMapping bg1="dk1" tx1="lt1" bg2="dk2" tx2="lt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woTxTwoObj" preserve="1">
  <p:cSld name="Comparison">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8229600" cy="1143000"/>
          </a:xfrm>
        </p:spPr>
        <p:txBody>
          <a:bodyPr anchor="ctr"/>
          <a:lstStyle>
            <a:lvl1pPr>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457200" y="5410200"/>
            <a:ext cx="4040188"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645026" y="5410200"/>
            <a:ext cx="4041775"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57200" y="1444294"/>
            <a:ext cx="4040188" cy="3941763"/>
          </a:xfrm>
          <a:ln>
            <a:noFill/>
            <a:prstDash val="sysDash"/>
            <a:miter lim="800000"/>
          </a:ln>
        </p:spPr>
        <p:txBody>
          <a:bodyPr/>
          <a:lstStyle>
            <a:lvl1pPr>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645025" y="1444294"/>
            <a:ext cx="4041775" cy="3941763"/>
          </a:xfrm>
          <a:ln>
            <a:noFill/>
            <a:prstDash val="sysDash"/>
            <a:miter lim="800000"/>
          </a:ln>
        </p:spPr>
        <p:txBody>
          <a:bodyPr/>
          <a:lstStyle>
            <a:lvl1pPr>
              <a:spcBef>
                <a:spcPts val="0"/>
              </a:spcBef>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40FD69-1FD6-4F58-A56A-4A19CE056754}" type="datetimeFigureOut">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8" name="Footer Placeholder 7"/>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CB9D19-7457-4276-82EC-1FA2153ACF1D}" type="slidenum">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Tree>
    <p:extLst>
      <p:ext uri="{BB962C8B-B14F-4D97-AF65-F5344CB8AC3E}">
        <p14:creationId xmlns:p14="http://schemas.microsoft.com/office/powerpoint/2010/main" val="3397686301"/>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bg>
      <p:bgRef idx="1002">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40FD69-1FD6-4F58-A56A-4A19CE056754}" type="datetimeFigureOut">
              <a:rPr kumimoji="0" lang="en-US" sz="1000" b="0" i="0" u="none" strike="noStrike" kern="1200" cap="none" spc="0" normalizeH="0" baseline="0" noProof="0" smtClean="0">
                <a:ln>
                  <a:noFill/>
                </a:ln>
                <a:solidFill>
                  <a:prstClr val="white"/>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4" name="Footer Placeholder 3"/>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CB9D19-7457-4276-82EC-1FA2153ACF1D}" type="slidenum">
              <a:rPr kumimoji="0" lang="en-US" sz="1000" b="0" i="0" u="none" strike="noStrike" kern="1200" cap="none" spc="0" normalizeH="0" baseline="0" noProof="0" smtClean="0">
                <a:ln>
                  <a:noFill/>
                </a:ln>
                <a:solidFill>
                  <a:prstClr val="white"/>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6" name="Title 5"/>
          <p:cNvSpPr>
            <a:spLocks noGrp="1"/>
          </p:cNvSpPr>
          <p:nvPr>
            <p:ph type="title"/>
          </p:nvPr>
        </p:nvSpPr>
        <p:spPr/>
        <p:txBody>
          <a:bodyPr rtlCol="0"/>
          <a:lstStyle/>
          <a:p>
            <a:r>
              <a:rPr kumimoji="0" lang="en-US" smtClean="0"/>
              <a:t>Click to edit Master title style</a:t>
            </a:r>
            <a:endParaRPr kumimoji="0" lang="en-US"/>
          </a:p>
        </p:txBody>
      </p:sp>
    </p:spTree>
    <p:extLst>
      <p:ext uri="{BB962C8B-B14F-4D97-AF65-F5344CB8AC3E}">
        <p14:creationId xmlns:p14="http://schemas.microsoft.com/office/powerpoint/2010/main" val="2966343683"/>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40FD69-1FD6-4F58-A56A-4A19CE056754}" type="datetimeFigureOut">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3" name="Footer Placeholder 2"/>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CB9D19-7457-4276-82EC-1FA2153ACF1D}" type="slidenum">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Tree>
    <p:extLst>
      <p:ext uri="{BB962C8B-B14F-4D97-AF65-F5344CB8AC3E}">
        <p14:creationId xmlns:p14="http://schemas.microsoft.com/office/powerpoint/2010/main" val="1647922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914400" y="4876800"/>
            <a:ext cx="7481776" cy="457200"/>
          </a:xfrm>
        </p:spPr>
        <p:txBody>
          <a:bodyPr vert="horz" anchor="t">
            <a:noAutofit/>
            <a:sp3d prstMaterial="softEdge">
              <a:bevelT w="0" h="0"/>
            </a:sp3d>
          </a:bodyPr>
          <a:lstStyle>
            <a:lvl1pPr algn="r">
              <a:buNone/>
              <a:defRPr sz="2500" b="0">
                <a:solidFill>
                  <a:schemeClr val="accent1"/>
                </a:solidFill>
                <a:effectLst/>
              </a:defRPr>
            </a:lvl1pPr>
            <a:extLst/>
          </a:lstStyle>
          <a:p>
            <a:r>
              <a:rPr kumimoji="0" lang="en-US" smtClean="0"/>
              <a:t>Click to edit Master title style</a:t>
            </a:r>
            <a:endParaRPr kumimoji="0" lang="en-US"/>
          </a:p>
        </p:txBody>
      </p:sp>
      <p:sp>
        <p:nvSpPr>
          <p:cNvPr id="3" name="Text Placeholder 2"/>
          <p:cNvSpPr>
            <a:spLocks noGrp="1"/>
          </p:cNvSpPr>
          <p:nvPr>
            <p:ph type="body" idx="2"/>
          </p:nvPr>
        </p:nvSpPr>
        <p:spPr>
          <a:xfrm>
            <a:off x="4419600" y="5355102"/>
            <a:ext cx="3974592" cy="914400"/>
          </a:xfrm>
        </p:spPr>
        <p:txBody>
          <a:bodyPr/>
          <a:lstStyle>
            <a:lvl1pPr marL="0" indent="0" algn="r">
              <a:buNone/>
              <a:defRPr sz="1600"/>
            </a:lvl1pPr>
            <a:lvl2pPr>
              <a:buNone/>
              <a:defRPr sz="1200"/>
            </a:lvl2pPr>
            <a:lvl3pPr>
              <a:buNone/>
              <a:defRPr sz="1000"/>
            </a:lvl3pPr>
            <a:lvl4pPr>
              <a:buNone/>
              <a:defRPr sz="900"/>
            </a:lvl4pPr>
            <a:lvl5pPr>
              <a:buNone/>
              <a:defRPr sz="900"/>
            </a:lvl5pPr>
            <a:extLst/>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914400" y="274320"/>
            <a:ext cx="7479792" cy="4572000"/>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a:xfrm>
            <a:off x="6727032" y="6407944"/>
            <a:ext cx="1920240" cy="36576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40FD69-1FD6-4F58-A56A-4A19CE056754}" type="datetimeFigureOut">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6" name="Footer Placeholder 5"/>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CB9D19-7457-4276-82EC-1FA2153ACF1D}" type="slidenum">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Tree>
    <p:extLst>
      <p:ext uri="{BB962C8B-B14F-4D97-AF65-F5344CB8AC3E}">
        <p14:creationId xmlns:p14="http://schemas.microsoft.com/office/powerpoint/2010/main" val="3530966166"/>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2">
        <a:schemeClr val="bg1"/>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141232" y="5443402"/>
            <a:ext cx="7162800" cy="648232"/>
          </a:xfrm>
          <a:noFill/>
        </p:spPr>
        <p:txBody>
          <a:bodyPr lIns="91440" tIns="0" rIns="91440" anchor="t"/>
          <a:lstStyle>
            <a:lvl1pPr marL="0" marR="18288" indent="0" algn="r">
              <a:buNone/>
              <a:defRPr sz="1400"/>
            </a:lvl1pPr>
            <a:lvl2pPr>
              <a:defRPr sz="1200"/>
            </a:lvl2pPr>
            <a:lvl3pPr>
              <a:defRPr sz="1000"/>
            </a:lvl3pPr>
            <a:lvl4pPr>
              <a:defRPr sz="900"/>
            </a:lvl4pPr>
            <a:lvl5pPr>
              <a:defRPr sz="900"/>
            </a:lvl5pPr>
            <a:extLst/>
          </a:lstStyle>
          <a:p>
            <a:pPr lvl="0" eaLnBrk="1" latinLnBrk="0" hangingPunct="1"/>
            <a:r>
              <a:rPr kumimoji="0" lang="en-US" smtClean="0"/>
              <a:t>Click to edit Master text styles</a:t>
            </a:r>
          </a:p>
        </p:txBody>
      </p:sp>
      <p:sp>
        <p:nvSpPr>
          <p:cNvPr id="3" name="Picture Placeholder 2"/>
          <p:cNvSpPr>
            <a:spLocks noGrp="1"/>
          </p:cNvSpPr>
          <p:nvPr>
            <p:ph type="pic" idx="1"/>
          </p:nvPr>
        </p:nvSpPr>
        <p:spPr>
          <a:xfrm>
            <a:off x="228600" y="189968"/>
            <a:ext cx="8686800" cy="4389120"/>
          </a:xfrm>
          <a:prstGeom prst="rect">
            <a:avLst/>
          </a:prstGeom>
          <a:solidFill>
            <a:schemeClr val="bg2"/>
          </a:solidFill>
          <a:ln>
            <a:solidFill>
              <a:schemeClr val="bg1"/>
            </a:solidFill>
          </a:ln>
          <a:effectLst>
            <a:innerShdw blurRad="95250">
              <a:srgbClr val="000000"/>
            </a:innerShdw>
          </a:effectLst>
        </p:spPr>
        <p:txBody>
          <a:bodyPr/>
          <a:lstStyle>
            <a:lvl1pPr marL="0" indent="0">
              <a:buNone/>
              <a:defRPr sz="3200"/>
            </a:lvl1pPr>
            <a:extLst/>
          </a:lstStyle>
          <a:p>
            <a:r>
              <a:rPr kumimoji="0" lang="en-US" smtClean="0"/>
              <a:t>Click icon to add picture</a:t>
            </a:r>
            <a:endParaRPr kumimoji="0" lang="en-US" dirty="0"/>
          </a:p>
        </p:txBody>
      </p:sp>
      <p:sp>
        <p:nvSpPr>
          <p:cNvPr id="5" name="Date Placeholder 4"/>
          <p:cNvSpPr>
            <a:spLocks noGrp="1"/>
          </p:cNvSpPr>
          <p:nvPr>
            <p:ph type="dt" sz="half" idx="10"/>
          </p:nvPr>
        </p:nvSpPr>
        <p:spPr/>
        <p:txBody>
          <a:bodyPr/>
          <a:lstStyle>
            <a:lvl1pPr>
              <a:defRPr>
                <a:solidFill>
                  <a:schemeClr val="tx1"/>
                </a:solidFill>
              </a:defRPr>
            </a:lvl1pPr>
            <a:extLst/>
          </a:lstStyle>
          <a:p>
            <a:pPr marL="0" marR="0" lvl="0" indent="0" algn="l" defTabSz="914400" rtl="0" eaLnBrk="1" fontAlgn="auto" latinLnBrk="0" hangingPunct="1">
              <a:lnSpc>
                <a:spcPct val="100000"/>
              </a:lnSpc>
              <a:spcBef>
                <a:spcPts val="0"/>
              </a:spcBef>
              <a:spcAft>
                <a:spcPts val="0"/>
              </a:spcAft>
              <a:buClrTx/>
              <a:buSzTx/>
              <a:buFontTx/>
              <a:buNone/>
              <a:tabLst/>
              <a:defRPr/>
            </a:pPr>
            <a:fld id="{7040FD69-1FD6-4F58-A56A-4A19CE056754}" type="datetimeFigureOut">
              <a:rPr kumimoji="0" lang="en-US" sz="1000" b="0" i="0" u="none" strike="noStrike" kern="1200" cap="none" spc="0" normalizeH="0" baseline="0" noProof="0" smtClean="0">
                <a:ln>
                  <a:noFill/>
                </a:ln>
                <a:solidFill>
                  <a:prstClr val="white"/>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6" name="Footer Placeholder 5"/>
          <p:cNvSpPr>
            <a:spLocks noGrp="1"/>
          </p:cNvSpPr>
          <p:nvPr>
            <p:ph type="ftr" sz="quarter" idx="11"/>
          </p:nvPr>
        </p:nvSpPr>
        <p:spPr>
          <a:xfrm>
            <a:off x="4380072" y="6407944"/>
            <a:ext cx="2350681" cy="365125"/>
          </a:xfrm>
        </p:spPr>
        <p:txBody>
          <a:bodyPr/>
          <a:lstStyle>
            <a:lvl1pPr>
              <a:defRPr>
                <a:solidFill>
                  <a:schemeClr val="tx1"/>
                </a:solidFill>
              </a:defRPr>
            </a:lvl1pPr>
            <a:extLst/>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7" name="Slide Number Placeholder 6"/>
          <p:cNvSpPr>
            <a:spLocks noGrp="1"/>
          </p:cNvSpPr>
          <p:nvPr>
            <p:ph type="sldNum" sz="quarter" idx="12"/>
          </p:nvPr>
        </p:nvSpPr>
        <p:spPr/>
        <p:txBody>
          <a:bodyPr/>
          <a:lstStyle>
            <a:lvl1pPr>
              <a:defRPr>
                <a:solidFill>
                  <a:schemeClr val="tx1"/>
                </a:solidFill>
              </a:defRPr>
            </a:lvl1pPr>
            <a:extLst/>
          </a:lstStyle>
          <a:p>
            <a:pPr marL="0" marR="0" lvl="0" indent="0" algn="r" defTabSz="914400" rtl="0" eaLnBrk="1" fontAlgn="auto" latinLnBrk="0" hangingPunct="1">
              <a:lnSpc>
                <a:spcPct val="100000"/>
              </a:lnSpc>
              <a:spcBef>
                <a:spcPts val="0"/>
              </a:spcBef>
              <a:spcAft>
                <a:spcPts val="0"/>
              </a:spcAft>
              <a:buClrTx/>
              <a:buSzTx/>
              <a:buFontTx/>
              <a:buNone/>
              <a:tabLst/>
              <a:defRPr/>
            </a:pPr>
            <a:fld id="{F5CB9D19-7457-4276-82EC-1FA2153ACF1D}" type="slidenum">
              <a:rPr kumimoji="0" lang="en-US" sz="1000" b="0" i="0" u="none" strike="noStrike" kern="1200" cap="none" spc="0" normalizeH="0" baseline="0" noProof="0" smtClean="0">
                <a:ln>
                  <a:noFill/>
                </a:ln>
                <a:solidFill>
                  <a:prstClr val="white"/>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2" name="Title 1"/>
          <p:cNvSpPr>
            <a:spLocks noGrp="1"/>
          </p:cNvSpPr>
          <p:nvPr>
            <p:ph type="title"/>
          </p:nvPr>
        </p:nvSpPr>
        <p:spPr>
          <a:xfrm>
            <a:off x="228600" y="4865122"/>
            <a:ext cx="8075432" cy="562672"/>
          </a:xfrm>
          <a:noFill/>
        </p:spPr>
        <p:txBody>
          <a:bodyPr anchor="t">
            <a:sp3d prstMaterial="softEdge"/>
          </a:bodyPr>
          <a:lstStyle>
            <a:lvl1pPr marR="0" algn="r">
              <a:buNone/>
              <a:defRPr sz="3000" b="0">
                <a:solidFill>
                  <a:schemeClr val="accent1"/>
                </a:solidFill>
                <a:effectLst>
                  <a:outerShdw blurRad="50800" dist="25000" dir="5400000" algn="t" rotWithShape="0">
                    <a:prstClr val="black">
                      <a:alpha val="45000"/>
                    </a:prstClr>
                  </a:outerShdw>
                </a:effectLst>
              </a:defRPr>
            </a:lvl1pPr>
            <a:extLst/>
          </a:lstStyle>
          <a:p>
            <a:r>
              <a:rPr kumimoji="0" lang="en-US" smtClean="0"/>
              <a:t>Click to edit Master title style</a:t>
            </a:r>
            <a:endParaRPr kumimoji="0" lang="en-US"/>
          </a:p>
        </p:txBody>
      </p:sp>
      <p:sp>
        <p:nvSpPr>
          <p:cNvPr id="8" name="Freeform 7"/>
          <p:cNvSpPr>
            <a:spLocks/>
          </p:cNvSpPr>
          <p:nvPr/>
        </p:nvSpPr>
        <p:spPr bwMode="auto">
          <a:xfrm>
            <a:off x="499273" y="5944936"/>
            <a:ext cx="4940624"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9" name="Freeform 8"/>
          <p:cNvSpPr>
            <a:spLocks/>
          </p:cNvSpPr>
          <p:nvPr/>
        </p:nvSpPr>
        <p:spPr bwMode="auto">
          <a:xfrm>
            <a:off x="485717" y="5939011"/>
            <a:ext cx="369045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10" name="Right Triangle 9"/>
          <p:cNvSpPr>
            <a:spLocks/>
          </p:cNvSpPr>
          <p:nvPr/>
        </p:nvSpPr>
        <p:spPr bwMode="auto">
          <a:xfrm>
            <a:off x="-6042" y="5791253"/>
            <a:ext cx="3402314" cy="1080868"/>
          </a:xfrm>
          <a:prstGeom prst="rtTriangle">
            <a:avLst/>
          </a:pr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cxnSp>
        <p:nvCxnSpPr>
          <p:cNvPr id="11" name="Straight Connector 10"/>
          <p:cNvCxnSpPr/>
          <p:nvPr/>
        </p:nvCxnSpPr>
        <p:spPr>
          <a:xfrm>
            <a:off x="-9237" y="5787738"/>
            <a:ext cx="340550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12" name="Chevron 11"/>
          <p:cNvSpPr/>
          <p:nvPr/>
        </p:nvSpPr>
        <p:spPr>
          <a:xfrm>
            <a:off x="8664112" y="4988440"/>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13" name="Chevron 12"/>
          <p:cNvSpPr/>
          <p:nvPr/>
        </p:nvSpPr>
        <p:spPr>
          <a:xfrm>
            <a:off x="8477696" y="4988440"/>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spTree>
    <p:extLst>
      <p:ext uri="{BB962C8B-B14F-4D97-AF65-F5344CB8AC3E}">
        <p14:creationId xmlns:p14="http://schemas.microsoft.com/office/powerpoint/2010/main" val="445725422"/>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1"/>
            <a:ext cx="2011680" cy="5851525"/>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914400" y="274640"/>
            <a:ext cx="5562600" cy="5851525"/>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8F465F-DAF4-455E-950B-4E617B86F3AD}" type="slidenum">
              <a:rPr lang="en-US" smtClean="0"/>
              <a:pPr/>
              <a:t>‹#›</a:t>
            </a:fld>
            <a:endParaRPr lang="en-US"/>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1481329"/>
            <a:ext cx="8229600" cy="4386071"/>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40FD69-1FD6-4F58-A56A-4A19CE056754}" type="datetimeFigureOut">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5" name="Footer Placeholder 4"/>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CB9D19-7457-4276-82EC-1FA2153ACF1D}" type="slidenum">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Tree>
    <p:extLst>
      <p:ext uri="{BB962C8B-B14F-4D97-AF65-F5344CB8AC3E}">
        <p14:creationId xmlns:p14="http://schemas.microsoft.com/office/powerpoint/2010/main" val="21758623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44013" y="274640"/>
            <a:ext cx="1777470" cy="5592761"/>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274641"/>
            <a:ext cx="6324600" cy="5592760"/>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40FD69-1FD6-4F58-A56A-4A19CE056754}" type="datetimeFigureOut">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5" name="Footer Placeholder 4"/>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CB9D19-7457-4276-82EC-1FA2153ACF1D}" type="slidenum">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Tree>
    <p:extLst>
      <p:ext uri="{BB962C8B-B14F-4D97-AF65-F5344CB8AC3E}">
        <p14:creationId xmlns:p14="http://schemas.microsoft.com/office/powerpoint/2010/main" val="26996776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41814948"/>
      </p:ext>
    </p:extLst>
  </p:cSld>
  <p:clrMapOvr>
    <a:masterClrMapping/>
  </p:clrMapOv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FD293D"/>
                </a:solidFill>
                <a:latin typeface="Arial Black"/>
                <a:cs typeface="Arial Black"/>
              </a:defRPr>
            </a:lvl1pPr>
          </a:lstStyle>
          <a:p>
            <a:endParaRPr/>
          </a:p>
        </p:txBody>
      </p:sp>
      <p:sp>
        <p:nvSpPr>
          <p:cNvPr id="3" name="Holder 3"/>
          <p:cNvSpPr>
            <a:spLocks noGrp="1"/>
          </p:cNvSpPr>
          <p:nvPr>
            <p:ph type="body" idx="1"/>
          </p:nvPr>
        </p:nvSpPr>
        <p:spPr/>
        <p:txBody>
          <a:bodyPr lIns="0" tIns="0" rIns="0" bIns="0"/>
          <a:lstStyle>
            <a:lvl1pPr>
              <a:defRPr sz="220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836242867"/>
      </p:ext>
    </p:extLst>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FD293D"/>
                </a:solidFill>
                <a:latin typeface="Arial Black"/>
                <a:cs typeface="Arial Black"/>
              </a:defRPr>
            </a:lvl1pPr>
          </a:lstStyle>
          <a:p>
            <a:endParaRPr/>
          </a:p>
        </p:txBody>
      </p:sp>
      <p:sp>
        <p:nvSpPr>
          <p:cNvPr id="3" name="Holder 3"/>
          <p:cNvSpPr>
            <a:spLocks noGrp="1"/>
          </p:cNvSpPr>
          <p:nvPr>
            <p:ph sz="half" idx="2"/>
          </p:nvPr>
        </p:nvSpPr>
        <p:spPr>
          <a:xfrm>
            <a:off x="916940" y="2335890"/>
            <a:ext cx="3135629" cy="3712210"/>
          </a:xfrm>
          <a:prstGeom prst="rect">
            <a:avLst/>
          </a:prstGeom>
        </p:spPr>
        <p:txBody>
          <a:bodyPr wrap="square" lIns="0" tIns="0" rIns="0" bIns="0">
            <a:spAutoFit/>
          </a:bodyPr>
          <a:lstStyle>
            <a:lvl1pPr>
              <a:defRPr sz="2400" b="0" i="0">
                <a:solidFill>
                  <a:schemeClr val="tx1"/>
                </a:solidFill>
                <a:latin typeface="Arial"/>
                <a:cs typeface="Arial"/>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352775950"/>
      </p:ext>
    </p:extLst>
  </p:cSld>
  <p:clrMapOvr>
    <a:masterClrMapping/>
  </p:clrMapOv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obj" preserve="1">
  <p:cSld name="Title Only">
    <p:spTree>
      <p:nvGrpSpPr>
        <p:cNvPr id="1" name=""/>
        <p:cNvGrpSpPr/>
        <p:nvPr/>
      </p:nvGrpSpPr>
      <p:grpSpPr>
        <a:xfrm>
          <a:off x="0" y="0"/>
          <a:ext cx="0" cy="0"/>
          <a:chOff x="0" y="0"/>
          <a:chExt cx="0" cy="0"/>
        </a:xfrm>
      </p:grpSpPr>
      <p:sp>
        <p:nvSpPr>
          <p:cNvPr id="16" name="bk object 16"/>
          <p:cNvSpPr/>
          <p:nvPr/>
        </p:nvSpPr>
        <p:spPr>
          <a:xfrm>
            <a:off x="167639" y="228600"/>
            <a:ext cx="8823960" cy="6096000"/>
          </a:xfrm>
          <a:custGeom>
            <a:avLst/>
            <a:gdLst/>
            <a:ahLst/>
            <a:cxnLst/>
            <a:rect l="l" t="t" r="r" b="b"/>
            <a:pathLst>
              <a:path w="8823960" h="6096000">
                <a:moveTo>
                  <a:pt x="673095" y="0"/>
                </a:moveTo>
                <a:lnTo>
                  <a:pt x="622656" y="2482"/>
                </a:lnTo>
                <a:lnTo>
                  <a:pt x="572469" y="9760"/>
                </a:lnTo>
                <a:lnTo>
                  <a:pt x="522787" y="21581"/>
                </a:lnTo>
                <a:lnTo>
                  <a:pt x="473861" y="37694"/>
                </a:lnTo>
                <a:lnTo>
                  <a:pt x="425946" y="57845"/>
                </a:lnTo>
                <a:lnTo>
                  <a:pt x="379292" y="81783"/>
                </a:lnTo>
                <a:lnTo>
                  <a:pt x="334152" y="109254"/>
                </a:lnTo>
                <a:lnTo>
                  <a:pt x="290780" y="140007"/>
                </a:lnTo>
                <a:lnTo>
                  <a:pt x="249426" y="173788"/>
                </a:lnTo>
                <a:lnTo>
                  <a:pt x="210344" y="210346"/>
                </a:lnTo>
                <a:lnTo>
                  <a:pt x="173786" y="249428"/>
                </a:lnTo>
                <a:lnTo>
                  <a:pt x="140005" y="290781"/>
                </a:lnTo>
                <a:lnTo>
                  <a:pt x="109253" y="334153"/>
                </a:lnTo>
                <a:lnTo>
                  <a:pt x="81782" y="379292"/>
                </a:lnTo>
                <a:lnTo>
                  <a:pt x="57845" y="425946"/>
                </a:lnTo>
                <a:lnTo>
                  <a:pt x="37693" y="473861"/>
                </a:lnTo>
                <a:lnTo>
                  <a:pt x="21581" y="522785"/>
                </a:lnTo>
                <a:lnTo>
                  <a:pt x="9760" y="572466"/>
                </a:lnTo>
                <a:lnTo>
                  <a:pt x="2482" y="622652"/>
                </a:lnTo>
                <a:lnTo>
                  <a:pt x="0" y="673089"/>
                </a:lnTo>
                <a:lnTo>
                  <a:pt x="0" y="5422903"/>
                </a:lnTo>
                <a:lnTo>
                  <a:pt x="2482" y="5473343"/>
                </a:lnTo>
                <a:lnTo>
                  <a:pt x="9760" y="5523530"/>
                </a:lnTo>
                <a:lnTo>
                  <a:pt x="21581" y="5573212"/>
                </a:lnTo>
                <a:lnTo>
                  <a:pt x="37693" y="5622137"/>
                </a:lnTo>
                <a:lnTo>
                  <a:pt x="57845" y="5670053"/>
                </a:lnTo>
                <a:lnTo>
                  <a:pt x="81782" y="5716707"/>
                </a:lnTo>
                <a:lnTo>
                  <a:pt x="109253" y="5761847"/>
                </a:lnTo>
                <a:lnTo>
                  <a:pt x="140005" y="5805219"/>
                </a:lnTo>
                <a:lnTo>
                  <a:pt x="173786" y="5846573"/>
                </a:lnTo>
                <a:lnTo>
                  <a:pt x="210344" y="5885655"/>
                </a:lnTo>
                <a:lnTo>
                  <a:pt x="249426" y="5922212"/>
                </a:lnTo>
                <a:lnTo>
                  <a:pt x="290780" y="5955994"/>
                </a:lnTo>
                <a:lnTo>
                  <a:pt x="334152" y="5986746"/>
                </a:lnTo>
                <a:lnTo>
                  <a:pt x="379292" y="6014217"/>
                </a:lnTo>
                <a:lnTo>
                  <a:pt x="425946" y="6038154"/>
                </a:lnTo>
                <a:lnTo>
                  <a:pt x="473861" y="6058305"/>
                </a:lnTo>
                <a:lnTo>
                  <a:pt x="522787" y="6074418"/>
                </a:lnTo>
                <a:lnTo>
                  <a:pt x="572469" y="6086239"/>
                </a:lnTo>
                <a:lnTo>
                  <a:pt x="622656" y="6093517"/>
                </a:lnTo>
                <a:lnTo>
                  <a:pt x="673095" y="6095999"/>
                </a:lnTo>
                <a:lnTo>
                  <a:pt x="8150869" y="6095999"/>
                </a:lnTo>
                <a:lnTo>
                  <a:pt x="8201307" y="6093517"/>
                </a:lnTo>
                <a:lnTo>
                  <a:pt x="8251493" y="6086239"/>
                </a:lnTo>
                <a:lnTo>
                  <a:pt x="8301174" y="6074418"/>
                </a:lnTo>
                <a:lnTo>
                  <a:pt x="8350098" y="6058305"/>
                </a:lnTo>
                <a:lnTo>
                  <a:pt x="8398013" y="6038154"/>
                </a:lnTo>
                <a:lnTo>
                  <a:pt x="8444666" y="6014217"/>
                </a:lnTo>
                <a:lnTo>
                  <a:pt x="8489806" y="5986746"/>
                </a:lnTo>
                <a:lnTo>
                  <a:pt x="8533178" y="5955994"/>
                </a:lnTo>
                <a:lnTo>
                  <a:pt x="8574531" y="5922212"/>
                </a:lnTo>
                <a:lnTo>
                  <a:pt x="8613613" y="5885655"/>
                </a:lnTo>
                <a:lnTo>
                  <a:pt x="8650171" y="5846573"/>
                </a:lnTo>
                <a:lnTo>
                  <a:pt x="8683952" y="5805219"/>
                </a:lnTo>
                <a:lnTo>
                  <a:pt x="8714705" y="5761847"/>
                </a:lnTo>
                <a:lnTo>
                  <a:pt x="8742176" y="5716707"/>
                </a:lnTo>
                <a:lnTo>
                  <a:pt x="8766114" y="5670053"/>
                </a:lnTo>
                <a:lnTo>
                  <a:pt x="8786265" y="5622137"/>
                </a:lnTo>
                <a:lnTo>
                  <a:pt x="8802377" y="5573212"/>
                </a:lnTo>
                <a:lnTo>
                  <a:pt x="8814199" y="5523530"/>
                </a:lnTo>
                <a:lnTo>
                  <a:pt x="8821477" y="5473343"/>
                </a:lnTo>
                <a:lnTo>
                  <a:pt x="8823959" y="5422903"/>
                </a:lnTo>
                <a:lnTo>
                  <a:pt x="8823959" y="673089"/>
                </a:lnTo>
                <a:lnTo>
                  <a:pt x="8821477" y="622652"/>
                </a:lnTo>
                <a:lnTo>
                  <a:pt x="8814199" y="572466"/>
                </a:lnTo>
                <a:lnTo>
                  <a:pt x="8802377" y="522785"/>
                </a:lnTo>
                <a:lnTo>
                  <a:pt x="8786265" y="473861"/>
                </a:lnTo>
                <a:lnTo>
                  <a:pt x="8766114" y="425946"/>
                </a:lnTo>
                <a:lnTo>
                  <a:pt x="8742176" y="379292"/>
                </a:lnTo>
                <a:lnTo>
                  <a:pt x="8714705" y="334153"/>
                </a:lnTo>
                <a:lnTo>
                  <a:pt x="8683952" y="290781"/>
                </a:lnTo>
                <a:lnTo>
                  <a:pt x="8650171" y="249428"/>
                </a:lnTo>
                <a:lnTo>
                  <a:pt x="8613613" y="210346"/>
                </a:lnTo>
                <a:lnTo>
                  <a:pt x="8574531" y="173788"/>
                </a:lnTo>
                <a:lnTo>
                  <a:pt x="8533178" y="140007"/>
                </a:lnTo>
                <a:lnTo>
                  <a:pt x="8489806" y="109254"/>
                </a:lnTo>
                <a:lnTo>
                  <a:pt x="8444666" y="81783"/>
                </a:lnTo>
                <a:lnTo>
                  <a:pt x="8398013" y="57845"/>
                </a:lnTo>
                <a:lnTo>
                  <a:pt x="8350098" y="37694"/>
                </a:lnTo>
                <a:lnTo>
                  <a:pt x="8301174" y="21581"/>
                </a:lnTo>
                <a:lnTo>
                  <a:pt x="8251493" y="9760"/>
                </a:lnTo>
                <a:lnTo>
                  <a:pt x="8201307" y="2482"/>
                </a:lnTo>
                <a:lnTo>
                  <a:pt x="8150869" y="0"/>
                </a:lnTo>
                <a:lnTo>
                  <a:pt x="673095" y="0"/>
                </a:lnTo>
                <a:close/>
              </a:path>
            </a:pathLst>
          </a:custGeom>
          <a:ln w="28393">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bk object 17"/>
          <p:cNvSpPr/>
          <p:nvPr/>
        </p:nvSpPr>
        <p:spPr>
          <a:xfrm>
            <a:off x="167639" y="228600"/>
            <a:ext cx="0" cy="0"/>
          </a:xfrm>
          <a:custGeom>
            <a:avLst/>
            <a:gdLst/>
            <a:ahLst/>
            <a:cxnLst/>
            <a:rect l="l" t="t" r="r" b="b"/>
            <a:pathLst>
              <a:path>
                <a:moveTo>
                  <a:pt x="0" y="0"/>
                </a:moveTo>
                <a:lnTo>
                  <a:pt x="0" y="0"/>
                </a:lnTo>
              </a:path>
            </a:pathLst>
          </a:custGeom>
          <a:ln w="28393">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bk object 18"/>
          <p:cNvSpPr/>
          <p:nvPr/>
        </p:nvSpPr>
        <p:spPr>
          <a:xfrm>
            <a:off x="8991600" y="6324600"/>
            <a:ext cx="0" cy="0"/>
          </a:xfrm>
          <a:custGeom>
            <a:avLst/>
            <a:gdLst/>
            <a:ahLst/>
            <a:cxnLst/>
            <a:rect l="l" t="t" r="r" b="b"/>
            <a:pathLst>
              <a:path>
                <a:moveTo>
                  <a:pt x="0" y="0"/>
                </a:moveTo>
                <a:lnTo>
                  <a:pt x="0" y="0"/>
                </a:lnTo>
              </a:path>
            </a:pathLst>
          </a:custGeom>
          <a:ln w="28393">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bk object 19"/>
          <p:cNvSpPr/>
          <p:nvPr/>
        </p:nvSpPr>
        <p:spPr>
          <a:xfrm>
            <a:off x="762000" y="1709410"/>
            <a:ext cx="7696200" cy="0"/>
          </a:xfrm>
          <a:custGeom>
            <a:avLst/>
            <a:gdLst/>
            <a:ahLst/>
            <a:cxnLst/>
            <a:rect l="l" t="t" r="r" b="b"/>
            <a:pathLst>
              <a:path w="7696200">
                <a:moveTo>
                  <a:pt x="0" y="0"/>
                </a:moveTo>
                <a:lnTo>
                  <a:pt x="7696199" y="0"/>
                </a:lnTo>
              </a:path>
            </a:pathLst>
          </a:custGeom>
          <a:ln w="38097">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Holder 2"/>
          <p:cNvSpPr>
            <a:spLocks noGrp="1"/>
          </p:cNvSpPr>
          <p:nvPr>
            <p:ph type="title"/>
          </p:nvPr>
        </p:nvSpPr>
        <p:spPr/>
        <p:txBody>
          <a:bodyPr lIns="0" tIns="0" rIns="0" bIns="0"/>
          <a:lstStyle>
            <a:lvl1pPr>
              <a:defRPr sz="3600" b="1" i="0">
                <a:solidFill>
                  <a:srgbClr val="FD293D"/>
                </a:solidFill>
                <a:latin typeface="Arial Black"/>
                <a:cs typeface="Arial Black"/>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029781442"/>
      </p:ext>
    </p:extLst>
  </p:cSld>
  <p:clrMapOvr>
    <a:masterClrMapping/>
  </p:clrMapOv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352704759"/>
      </p:ext>
    </p:extLst>
  </p:cSld>
  <p:clrMapOvr>
    <a:masterClrMapping/>
  </p:clrMapOv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28600"/>
            <a:ext cx="8229600" cy="5867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2"/>
          <p:cNvSpPr>
            <a:spLocks noGrp="1"/>
          </p:cNvSpPr>
          <p:nvPr>
            <p:ph type="dt" sz="half" idx="10"/>
          </p:nvPr>
        </p:nvSpPr>
        <p:spPr>
          <a:xfrm>
            <a:off x="457200" y="6248400"/>
            <a:ext cx="2133600" cy="457200"/>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a:xfrm>
            <a:off x="3124200" y="6248400"/>
            <a:ext cx="2895600" cy="457200"/>
          </a:xfrm>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a:xfrm>
            <a:off x="6553200" y="6248400"/>
            <a:ext cx="2133600" cy="457200"/>
          </a:xfrm>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1B18891-A162-4432-A34B-D467C745B02A}" type="slidenum">
              <a:rPr kumimoji="0" lang="ar-SA" sz="18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92363666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0085420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6612523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0"/>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38588"/>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5"/>
          <p:cNvSpPr>
            <a:spLocks noGrp="1"/>
          </p:cNvSpPr>
          <p:nvPr>
            <p:ph type="dt" sz="half" idx="10"/>
          </p:nvPr>
        </p:nvSpPr>
        <p:spPr>
          <a:xfrm>
            <a:off x="6553200" y="6245225"/>
            <a:ext cx="2133600" cy="476250"/>
          </a:xfrm>
        </p:spPr>
        <p:txBody>
          <a:bodyPr/>
          <a:lstStyle>
            <a:lvl1pPr>
              <a:defRPr/>
            </a:lvl1pPr>
          </a:lstStyle>
          <a:p>
            <a:endParaRPr lang="en-US"/>
          </a:p>
        </p:txBody>
      </p:sp>
      <p:sp>
        <p:nvSpPr>
          <p:cNvPr id="7" name="Footer Placeholder 6"/>
          <p:cNvSpPr>
            <a:spLocks noGrp="1"/>
          </p:cNvSpPr>
          <p:nvPr>
            <p:ph type="ftr" sz="quarter" idx="11"/>
          </p:nvPr>
        </p:nvSpPr>
        <p:spPr>
          <a:xfrm>
            <a:off x="3124200" y="6245225"/>
            <a:ext cx="2895600" cy="476250"/>
          </a:xfrm>
        </p:spPr>
        <p:txBody>
          <a:bodyPr/>
          <a:lstStyle>
            <a:lvl1pPr>
              <a:defRPr/>
            </a:lvl1pPr>
          </a:lstStyle>
          <a:p>
            <a:endParaRPr lang="en-US"/>
          </a:p>
        </p:txBody>
      </p:sp>
      <p:sp>
        <p:nvSpPr>
          <p:cNvPr id="8" name="Slide Number Placeholder 7"/>
          <p:cNvSpPr>
            <a:spLocks noGrp="1"/>
          </p:cNvSpPr>
          <p:nvPr>
            <p:ph type="sldNum" sz="quarter" idx="12"/>
          </p:nvPr>
        </p:nvSpPr>
        <p:spPr>
          <a:xfrm>
            <a:off x="457200" y="6245225"/>
            <a:ext cx="2133600" cy="476250"/>
          </a:xfrm>
        </p:spPr>
        <p:txBody>
          <a:bodyPr/>
          <a:lstStyle>
            <a:lvl1pPr>
              <a:defRPr/>
            </a:lvl1pPr>
          </a:lstStyle>
          <a:p>
            <a:fld id="{B78EC636-6886-4854-8967-D915FC6FBE7E}" type="slidenum">
              <a:rPr lang="ar-SA"/>
              <a:pPr/>
              <a:t>‹#›</a:t>
            </a:fld>
            <a:endParaRPr lang="en-US"/>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33507326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页脚占位符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7" name="灯片编号占位符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07413666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8" name="页脚占位符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9" name="灯片编号占位符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0123329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4" name="页脚占位符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灯片编号占位符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47146842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3" name="页脚占位符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411235422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页脚占位符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7" name="灯片编号占位符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85283686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页脚占位符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7" name="灯片编号占位符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70890600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91207303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1852598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2" name="Group 2"/>
          <p:cNvGrpSpPr>
            <a:grpSpLocks/>
          </p:cNvGrpSpPr>
          <p:nvPr/>
        </p:nvGrpSpPr>
        <p:grpSpPr bwMode="auto">
          <a:xfrm>
            <a:off x="-6350" y="20638"/>
            <a:ext cx="9144000" cy="6858000"/>
            <a:chOff x="0" y="0"/>
            <a:chExt cx="5760" cy="4320"/>
          </a:xfrm>
        </p:grpSpPr>
        <p:sp>
          <p:nvSpPr>
            <p:cNvPr id="10243" name="Freeform 3"/>
            <p:cNvSpPr>
              <a:spLocks/>
            </p:cNvSpPr>
            <p:nvPr/>
          </p:nvSpPr>
          <p:spPr bwMode="hidden">
            <a:xfrm>
              <a:off x="0" y="3072"/>
              <a:ext cx="5760" cy="1248"/>
            </a:xfrm>
            <a:custGeom>
              <a:avLst/>
              <a:gdLst/>
              <a:ahLst/>
              <a:cxnLst>
                <a:cxn ang="0">
                  <a:pos x="6027" y="2296"/>
                </a:cxn>
                <a:cxn ang="0">
                  <a:pos x="0" y="2296"/>
                </a:cxn>
                <a:cxn ang="0">
                  <a:pos x="0" y="0"/>
                </a:cxn>
                <a:cxn ang="0">
                  <a:pos x="6027" y="0"/>
                </a:cxn>
                <a:cxn ang="0">
                  <a:pos x="6027" y="2296"/>
                </a:cxn>
                <a:cxn ang="0">
                  <a:pos x="6027" y="2296"/>
                </a:cxn>
              </a:cxnLst>
              <a:rect l="0" t="0" r="r" b="b"/>
              <a:pathLst>
                <a:path w="6027" h="2296">
                  <a:moveTo>
                    <a:pt x="6027" y="2296"/>
                  </a:moveTo>
                  <a:lnTo>
                    <a:pt x="0" y="2296"/>
                  </a:lnTo>
                  <a:lnTo>
                    <a:pt x="0" y="0"/>
                  </a:lnTo>
                  <a:lnTo>
                    <a:pt x="6027" y="0"/>
                  </a:lnTo>
                  <a:lnTo>
                    <a:pt x="6027" y="2296"/>
                  </a:lnTo>
                  <a:lnTo>
                    <a:pt x="6027" y="2296"/>
                  </a:lnTo>
                  <a:close/>
                </a:path>
              </a:pathLst>
            </a:custGeom>
            <a:gradFill rotWithShape="0">
              <a:gsLst>
                <a:gs pos="0">
                  <a:schemeClr val="bg1"/>
                </a:gs>
                <a:gs pos="100000">
                  <a:schemeClr val="accent2"/>
                </a:gs>
              </a:gsLst>
              <a:lin ang="54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44" name="Freeform 4"/>
            <p:cNvSpPr>
              <a:spLocks/>
            </p:cNvSpPr>
            <p:nvPr/>
          </p:nvSpPr>
          <p:spPr bwMode="hidden">
            <a:xfrm>
              <a:off x="0" y="0"/>
              <a:ext cx="5760" cy="3072"/>
            </a:xfrm>
            <a:custGeom>
              <a:avLst/>
              <a:gdLst/>
              <a:ahLst/>
              <a:cxnLst>
                <a:cxn ang="0">
                  <a:pos x="6027" y="2296"/>
                </a:cxn>
                <a:cxn ang="0">
                  <a:pos x="0" y="2296"/>
                </a:cxn>
                <a:cxn ang="0">
                  <a:pos x="0" y="0"/>
                </a:cxn>
                <a:cxn ang="0">
                  <a:pos x="6027" y="0"/>
                </a:cxn>
                <a:cxn ang="0">
                  <a:pos x="6027" y="2296"/>
                </a:cxn>
                <a:cxn ang="0">
                  <a:pos x="6027" y="2296"/>
                </a:cxn>
              </a:cxnLst>
              <a:rect l="0" t="0" r="r" b="b"/>
              <a:pathLst>
                <a:path w="6027" h="2296">
                  <a:moveTo>
                    <a:pt x="6027" y="2296"/>
                  </a:moveTo>
                  <a:lnTo>
                    <a:pt x="0" y="2296"/>
                  </a:lnTo>
                  <a:lnTo>
                    <a:pt x="0" y="0"/>
                  </a:lnTo>
                  <a:lnTo>
                    <a:pt x="6027" y="0"/>
                  </a:lnTo>
                  <a:lnTo>
                    <a:pt x="6027" y="2296"/>
                  </a:lnTo>
                  <a:lnTo>
                    <a:pt x="6027" y="2296"/>
                  </a:lnTo>
                  <a:close/>
                </a:path>
              </a:pathLst>
            </a:custGeom>
            <a:gradFill rotWithShape="0">
              <a:gsLst>
                <a:gs pos="0">
                  <a:schemeClr val="bg1">
                    <a:gamma/>
                    <a:shade val="46275"/>
                    <a:invGamma/>
                  </a:schemeClr>
                </a:gs>
                <a:gs pos="100000">
                  <a:schemeClr val="bg1"/>
                </a:gs>
              </a:gsLst>
              <a:lin ang="54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sp>
        <p:nvSpPr>
          <p:cNvPr id="10245" name="Freeform 5"/>
          <p:cNvSpPr>
            <a:spLocks/>
          </p:cNvSpPr>
          <p:nvPr/>
        </p:nvSpPr>
        <p:spPr bwMode="hidden">
          <a:xfrm>
            <a:off x="6242050" y="6269038"/>
            <a:ext cx="2895600" cy="609600"/>
          </a:xfrm>
          <a:custGeom>
            <a:avLst/>
            <a:gdLst/>
            <a:ahLst/>
            <a:cxnLst>
              <a:cxn ang="0">
                <a:pos x="5748" y="246"/>
              </a:cxn>
              <a:cxn ang="0">
                <a:pos x="0" y="246"/>
              </a:cxn>
              <a:cxn ang="0">
                <a:pos x="0" y="0"/>
              </a:cxn>
              <a:cxn ang="0">
                <a:pos x="5748" y="0"/>
              </a:cxn>
              <a:cxn ang="0">
                <a:pos x="5748" y="246"/>
              </a:cxn>
              <a:cxn ang="0">
                <a:pos x="5748" y="246"/>
              </a:cxn>
            </a:cxnLst>
            <a:rect l="0" t="0" r="r" b="b"/>
            <a:pathLst>
              <a:path w="5748" h="246">
                <a:moveTo>
                  <a:pt x="5748" y="246"/>
                </a:moveTo>
                <a:lnTo>
                  <a:pt x="0" y="246"/>
                </a:lnTo>
                <a:lnTo>
                  <a:pt x="0" y="0"/>
                </a:lnTo>
                <a:lnTo>
                  <a:pt x="5748" y="0"/>
                </a:lnTo>
                <a:lnTo>
                  <a:pt x="5748" y="246"/>
                </a:lnTo>
                <a:lnTo>
                  <a:pt x="5748" y="246"/>
                </a:lnTo>
                <a:close/>
              </a:path>
            </a:pathLst>
          </a:custGeom>
          <a:gradFill rotWithShape="0">
            <a:gsLst>
              <a:gs pos="0">
                <a:schemeClr val="bg1"/>
              </a:gs>
              <a:gs pos="100000">
                <a:schemeClr val="hlink"/>
              </a:gs>
            </a:gsLst>
            <a:lin ang="189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nvGrpSpPr>
          <p:cNvPr id="3" name="Group 6"/>
          <p:cNvGrpSpPr>
            <a:grpSpLocks/>
          </p:cNvGrpSpPr>
          <p:nvPr/>
        </p:nvGrpSpPr>
        <p:grpSpPr bwMode="auto">
          <a:xfrm>
            <a:off x="-1588" y="6034088"/>
            <a:ext cx="7845426" cy="850900"/>
            <a:chOff x="0" y="3792"/>
            <a:chExt cx="4942" cy="536"/>
          </a:xfrm>
        </p:grpSpPr>
        <p:sp>
          <p:nvSpPr>
            <p:cNvPr id="10247" name="Freeform 7"/>
            <p:cNvSpPr>
              <a:spLocks/>
            </p:cNvSpPr>
            <p:nvPr userDrawn="1"/>
          </p:nvSpPr>
          <p:spPr bwMode="ltGray">
            <a:xfrm>
              <a:off x="1488" y="3792"/>
              <a:ext cx="3240" cy="536"/>
            </a:xfrm>
            <a:custGeom>
              <a:avLst/>
              <a:gdLst/>
              <a:ahLst/>
              <a:cxnLst>
                <a:cxn ang="0">
                  <a:pos x="3132" y="469"/>
                </a:cxn>
                <a:cxn ang="0">
                  <a:pos x="2995" y="395"/>
                </a:cxn>
                <a:cxn ang="0">
                  <a:pos x="2911" y="375"/>
                </a:cxn>
                <a:cxn ang="0">
                  <a:pos x="2678" y="228"/>
                </a:cxn>
                <a:cxn ang="0">
                  <a:pos x="2553" y="74"/>
                </a:cxn>
                <a:cxn ang="0">
                  <a:pos x="2457" y="7"/>
                </a:cxn>
                <a:cxn ang="0">
                  <a:pos x="2403" y="47"/>
                </a:cxn>
                <a:cxn ang="0">
                  <a:pos x="2289" y="74"/>
                </a:cxn>
                <a:cxn ang="0">
                  <a:pos x="2134" y="74"/>
                </a:cxn>
                <a:cxn ang="0">
                  <a:pos x="2044" y="128"/>
                </a:cxn>
                <a:cxn ang="0">
                  <a:pos x="1775" y="222"/>
                </a:cxn>
                <a:cxn ang="0">
                  <a:pos x="1602" y="181"/>
                </a:cxn>
                <a:cxn ang="0">
                  <a:pos x="1560" y="101"/>
                </a:cxn>
                <a:cxn ang="0">
                  <a:pos x="1542" y="87"/>
                </a:cxn>
                <a:cxn ang="0">
                  <a:pos x="1446" y="60"/>
                </a:cxn>
                <a:cxn ang="0">
                  <a:pos x="1375" y="74"/>
                </a:cxn>
                <a:cxn ang="0">
                  <a:pos x="1309" y="87"/>
                </a:cxn>
                <a:cxn ang="0">
                  <a:pos x="1243" y="13"/>
                </a:cxn>
                <a:cxn ang="0">
                  <a:pos x="1225" y="0"/>
                </a:cxn>
                <a:cxn ang="0">
                  <a:pos x="1189" y="0"/>
                </a:cxn>
                <a:cxn ang="0">
                  <a:pos x="1106" y="34"/>
                </a:cxn>
                <a:cxn ang="0">
                  <a:pos x="1106" y="34"/>
                </a:cxn>
                <a:cxn ang="0">
                  <a:pos x="1094" y="40"/>
                </a:cxn>
                <a:cxn ang="0">
                  <a:pos x="1070" y="54"/>
                </a:cxn>
                <a:cxn ang="0">
                  <a:pos x="1034" y="74"/>
                </a:cxn>
                <a:cxn ang="0">
                  <a:pos x="1004" y="74"/>
                </a:cxn>
                <a:cxn ang="0">
                  <a:pos x="986" y="74"/>
                </a:cxn>
                <a:cxn ang="0">
                  <a:pos x="956" y="81"/>
                </a:cxn>
                <a:cxn ang="0">
                  <a:pos x="920" y="94"/>
                </a:cxn>
                <a:cxn ang="0">
                  <a:pos x="884" y="107"/>
                </a:cxn>
                <a:cxn ang="0">
                  <a:pos x="843" y="128"/>
                </a:cxn>
                <a:cxn ang="0">
                  <a:pos x="813" y="141"/>
                </a:cxn>
                <a:cxn ang="0">
                  <a:pos x="789" y="148"/>
                </a:cxn>
                <a:cxn ang="0">
                  <a:pos x="783" y="154"/>
                </a:cxn>
                <a:cxn ang="0">
                  <a:pos x="556" y="228"/>
                </a:cxn>
                <a:cxn ang="0">
                  <a:pos x="394" y="294"/>
                </a:cxn>
                <a:cxn ang="0">
                  <a:pos x="107" y="462"/>
                </a:cxn>
                <a:cxn ang="0">
                  <a:pos x="0" y="536"/>
                </a:cxn>
                <a:cxn ang="0">
                  <a:pos x="3240" y="536"/>
                </a:cxn>
                <a:cxn ang="0">
                  <a:pos x="3132" y="469"/>
                </a:cxn>
                <a:cxn ang="0">
                  <a:pos x="3132" y="469"/>
                </a:cxn>
              </a:cxnLst>
              <a:rect l="0" t="0" r="r" b="b"/>
              <a:pathLst>
                <a:path w="3240" h="536">
                  <a:moveTo>
                    <a:pt x="3132" y="469"/>
                  </a:moveTo>
                  <a:lnTo>
                    <a:pt x="2995" y="395"/>
                  </a:lnTo>
                  <a:lnTo>
                    <a:pt x="2911" y="375"/>
                  </a:lnTo>
                  <a:lnTo>
                    <a:pt x="2678" y="228"/>
                  </a:lnTo>
                  <a:lnTo>
                    <a:pt x="2553" y="74"/>
                  </a:lnTo>
                  <a:lnTo>
                    <a:pt x="2457" y="7"/>
                  </a:lnTo>
                  <a:lnTo>
                    <a:pt x="2403" y="47"/>
                  </a:lnTo>
                  <a:lnTo>
                    <a:pt x="2289" y="74"/>
                  </a:lnTo>
                  <a:lnTo>
                    <a:pt x="2134" y="74"/>
                  </a:lnTo>
                  <a:lnTo>
                    <a:pt x="2044" y="128"/>
                  </a:lnTo>
                  <a:lnTo>
                    <a:pt x="1775" y="222"/>
                  </a:lnTo>
                  <a:lnTo>
                    <a:pt x="1602" y="181"/>
                  </a:lnTo>
                  <a:lnTo>
                    <a:pt x="1560" y="101"/>
                  </a:lnTo>
                  <a:lnTo>
                    <a:pt x="1542" y="87"/>
                  </a:lnTo>
                  <a:lnTo>
                    <a:pt x="1446" y="60"/>
                  </a:lnTo>
                  <a:lnTo>
                    <a:pt x="1375" y="74"/>
                  </a:lnTo>
                  <a:lnTo>
                    <a:pt x="1309" y="87"/>
                  </a:lnTo>
                  <a:lnTo>
                    <a:pt x="1243" y="13"/>
                  </a:lnTo>
                  <a:lnTo>
                    <a:pt x="1225" y="0"/>
                  </a:lnTo>
                  <a:lnTo>
                    <a:pt x="1189" y="0"/>
                  </a:lnTo>
                  <a:lnTo>
                    <a:pt x="1106" y="34"/>
                  </a:lnTo>
                  <a:lnTo>
                    <a:pt x="1106" y="34"/>
                  </a:lnTo>
                  <a:lnTo>
                    <a:pt x="1094" y="40"/>
                  </a:lnTo>
                  <a:lnTo>
                    <a:pt x="1070" y="54"/>
                  </a:lnTo>
                  <a:lnTo>
                    <a:pt x="1034" y="74"/>
                  </a:lnTo>
                  <a:lnTo>
                    <a:pt x="1004" y="74"/>
                  </a:lnTo>
                  <a:lnTo>
                    <a:pt x="986" y="74"/>
                  </a:lnTo>
                  <a:lnTo>
                    <a:pt x="956" y="81"/>
                  </a:lnTo>
                  <a:lnTo>
                    <a:pt x="920" y="94"/>
                  </a:lnTo>
                  <a:lnTo>
                    <a:pt x="884" y="107"/>
                  </a:lnTo>
                  <a:lnTo>
                    <a:pt x="843" y="128"/>
                  </a:lnTo>
                  <a:lnTo>
                    <a:pt x="813" y="141"/>
                  </a:lnTo>
                  <a:lnTo>
                    <a:pt x="789" y="148"/>
                  </a:lnTo>
                  <a:lnTo>
                    <a:pt x="783" y="154"/>
                  </a:lnTo>
                  <a:lnTo>
                    <a:pt x="556" y="228"/>
                  </a:lnTo>
                  <a:lnTo>
                    <a:pt x="394" y="294"/>
                  </a:lnTo>
                  <a:lnTo>
                    <a:pt x="107" y="462"/>
                  </a:lnTo>
                  <a:lnTo>
                    <a:pt x="0" y="536"/>
                  </a:lnTo>
                  <a:lnTo>
                    <a:pt x="3240" y="536"/>
                  </a:lnTo>
                  <a:lnTo>
                    <a:pt x="3132" y="469"/>
                  </a:lnTo>
                  <a:lnTo>
                    <a:pt x="3132" y="469"/>
                  </a:lnTo>
                  <a:close/>
                </a:path>
              </a:pathLst>
            </a:custGeom>
            <a:gradFill rotWithShape="0">
              <a:gsLst>
                <a:gs pos="0">
                  <a:schemeClr val="bg2">
                    <a:gamma/>
                    <a:tint val="66667"/>
                    <a:invGamma/>
                  </a:schemeClr>
                </a:gs>
                <a:gs pos="100000">
                  <a:schemeClr val="bg2"/>
                </a:gs>
              </a:gsLst>
              <a:lin ang="54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nvGrpSpPr>
            <p:cNvPr id="4" name="Group 8"/>
            <p:cNvGrpSpPr>
              <a:grpSpLocks/>
            </p:cNvGrpSpPr>
            <p:nvPr userDrawn="1"/>
          </p:nvGrpSpPr>
          <p:grpSpPr bwMode="auto">
            <a:xfrm>
              <a:off x="2486" y="3792"/>
              <a:ext cx="2456" cy="536"/>
              <a:chOff x="2486" y="3792"/>
              <a:chExt cx="2456" cy="536"/>
            </a:xfrm>
          </p:grpSpPr>
          <p:sp>
            <p:nvSpPr>
              <p:cNvPr id="10249" name="Freeform 9"/>
              <p:cNvSpPr>
                <a:spLocks/>
              </p:cNvSpPr>
              <p:nvPr userDrawn="1"/>
            </p:nvSpPr>
            <p:spPr bwMode="ltGray">
              <a:xfrm>
                <a:off x="3948" y="3799"/>
                <a:ext cx="994" cy="529"/>
              </a:xfrm>
              <a:custGeom>
                <a:avLst/>
                <a:gdLst/>
                <a:ahLst/>
                <a:cxnLst>
                  <a:cxn ang="0">
                    <a:pos x="636" y="373"/>
                  </a:cxn>
                  <a:cxn ang="0">
                    <a:pos x="495" y="370"/>
                  </a:cxn>
                  <a:cxn ang="0">
                    <a:pos x="280" y="249"/>
                  </a:cxn>
                  <a:cxn ang="0">
                    <a:pos x="127" y="66"/>
                  </a:cxn>
                  <a:cxn ang="0">
                    <a:pos x="0" y="0"/>
                  </a:cxn>
                  <a:cxn ang="0">
                    <a:pos x="22" y="26"/>
                  </a:cxn>
                  <a:cxn ang="0">
                    <a:pos x="0" y="65"/>
                  </a:cxn>
                  <a:cxn ang="0">
                    <a:pos x="30" y="119"/>
                  </a:cxn>
                  <a:cxn ang="0">
                    <a:pos x="75" y="243"/>
                  </a:cxn>
                  <a:cxn ang="0">
                    <a:pos x="45" y="422"/>
                  </a:cxn>
                  <a:cxn ang="0">
                    <a:pos x="200" y="329"/>
                  </a:cxn>
                  <a:cxn ang="0">
                    <a:pos x="592" y="527"/>
                  </a:cxn>
                  <a:cxn ang="0">
                    <a:pos x="994" y="529"/>
                  </a:cxn>
                  <a:cxn ang="0">
                    <a:pos x="828" y="473"/>
                  </a:cxn>
                  <a:cxn ang="0">
                    <a:pos x="636" y="373"/>
                  </a:cxn>
                </a:cxnLst>
                <a:rect l="0" t="0" r="r" b="b"/>
                <a:pathLst>
                  <a:path w="994" h="529">
                    <a:moveTo>
                      <a:pt x="636" y="373"/>
                    </a:moveTo>
                    <a:lnTo>
                      <a:pt x="495" y="370"/>
                    </a:lnTo>
                    <a:lnTo>
                      <a:pt x="280" y="249"/>
                    </a:lnTo>
                    <a:lnTo>
                      <a:pt x="127" y="66"/>
                    </a:lnTo>
                    <a:lnTo>
                      <a:pt x="0" y="0"/>
                    </a:lnTo>
                    <a:lnTo>
                      <a:pt x="22" y="26"/>
                    </a:lnTo>
                    <a:lnTo>
                      <a:pt x="0" y="65"/>
                    </a:lnTo>
                    <a:lnTo>
                      <a:pt x="30" y="119"/>
                    </a:lnTo>
                    <a:lnTo>
                      <a:pt x="75" y="243"/>
                    </a:lnTo>
                    <a:lnTo>
                      <a:pt x="45" y="422"/>
                    </a:lnTo>
                    <a:lnTo>
                      <a:pt x="200" y="329"/>
                    </a:lnTo>
                    <a:lnTo>
                      <a:pt x="592" y="527"/>
                    </a:lnTo>
                    <a:lnTo>
                      <a:pt x="994" y="529"/>
                    </a:lnTo>
                    <a:lnTo>
                      <a:pt x="828" y="473"/>
                    </a:lnTo>
                    <a:lnTo>
                      <a:pt x="636" y="373"/>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50" name="Freeform 10"/>
              <p:cNvSpPr>
                <a:spLocks/>
              </p:cNvSpPr>
              <p:nvPr userDrawn="1"/>
            </p:nvSpPr>
            <p:spPr bwMode="ltGray">
              <a:xfrm>
                <a:off x="2677" y="3792"/>
                <a:ext cx="186" cy="395"/>
              </a:xfrm>
              <a:custGeom>
                <a:avLst/>
                <a:gdLst/>
                <a:ahLst/>
                <a:cxnLst>
                  <a:cxn ang="0">
                    <a:pos x="36" y="0"/>
                  </a:cxn>
                  <a:cxn ang="0">
                    <a:pos x="54" y="18"/>
                  </a:cxn>
                  <a:cxn ang="0">
                    <a:pos x="24" y="30"/>
                  </a:cxn>
                  <a:cxn ang="0">
                    <a:pos x="18" y="66"/>
                  </a:cxn>
                  <a:cxn ang="0">
                    <a:pos x="42" y="114"/>
                  </a:cxn>
                  <a:cxn ang="0">
                    <a:pos x="48" y="162"/>
                  </a:cxn>
                  <a:cxn ang="0">
                    <a:pos x="0" y="353"/>
                  </a:cxn>
                  <a:cxn ang="0">
                    <a:pos x="54" y="233"/>
                  </a:cxn>
                  <a:cxn ang="0">
                    <a:pos x="84" y="216"/>
                  </a:cxn>
                  <a:cxn ang="0">
                    <a:pos x="126" y="126"/>
                  </a:cxn>
                  <a:cxn ang="0">
                    <a:pos x="144" y="120"/>
                  </a:cxn>
                  <a:cxn ang="0">
                    <a:pos x="144" y="90"/>
                  </a:cxn>
                  <a:cxn ang="0">
                    <a:pos x="186" y="66"/>
                  </a:cxn>
                  <a:cxn ang="0">
                    <a:pos x="162" y="60"/>
                  </a:cxn>
                  <a:cxn ang="0">
                    <a:pos x="36" y="0"/>
                  </a:cxn>
                  <a:cxn ang="0">
                    <a:pos x="36" y="0"/>
                  </a:cxn>
                </a:cxnLst>
                <a:rect l="0" t="0" r="r" b="b"/>
                <a:pathLst>
                  <a:path w="186" h="353">
                    <a:moveTo>
                      <a:pt x="36" y="0"/>
                    </a:moveTo>
                    <a:lnTo>
                      <a:pt x="54" y="18"/>
                    </a:lnTo>
                    <a:lnTo>
                      <a:pt x="24" y="30"/>
                    </a:lnTo>
                    <a:lnTo>
                      <a:pt x="18" y="66"/>
                    </a:lnTo>
                    <a:lnTo>
                      <a:pt x="42" y="114"/>
                    </a:lnTo>
                    <a:lnTo>
                      <a:pt x="48" y="162"/>
                    </a:lnTo>
                    <a:lnTo>
                      <a:pt x="0" y="353"/>
                    </a:lnTo>
                    <a:lnTo>
                      <a:pt x="54" y="233"/>
                    </a:lnTo>
                    <a:lnTo>
                      <a:pt x="84" y="216"/>
                    </a:lnTo>
                    <a:lnTo>
                      <a:pt x="126" y="126"/>
                    </a:lnTo>
                    <a:lnTo>
                      <a:pt x="144" y="120"/>
                    </a:lnTo>
                    <a:lnTo>
                      <a:pt x="144" y="90"/>
                    </a:lnTo>
                    <a:lnTo>
                      <a:pt x="186" y="66"/>
                    </a:lnTo>
                    <a:lnTo>
                      <a:pt x="162" y="60"/>
                    </a:lnTo>
                    <a:lnTo>
                      <a:pt x="36" y="0"/>
                    </a:lnTo>
                    <a:lnTo>
                      <a:pt x="36" y="0"/>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51" name="Freeform 11"/>
              <p:cNvSpPr>
                <a:spLocks/>
              </p:cNvSpPr>
              <p:nvPr userDrawn="1"/>
            </p:nvSpPr>
            <p:spPr bwMode="ltGray">
              <a:xfrm>
                <a:off x="3030" y="3893"/>
                <a:ext cx="378" cy="271"/>
              </a:xfrm>
              <a:custGeom>
                <a:avLst/>
                <a:gdLst/>
                <a:ahLst/>
                <a:cxnLst>
                  <a:cxn ang="0">
                    <a:pos x="18" y="0"/>
                  </a:cxn>
                  <a:cxn ang="0">
                    <a:pos x="12" y="13"/>
                  </a:cxn>
                  <a:cxn ang="0">
                    <a:pos x="0" y="40"/>
                  </a:cxn>
                  <a:cxn ang="0">
                    <a:pos x="60" y="121"/>
                  </a:cxn>
                  <a:cxn ang="0">
                    <a:pos x="310" y="271"/>
                  </a:cxn>
                  <a:cxn ang="0">
                    <a:pos x="290" y="139"/>
                  </a:cxn>
                  <a:cxn ang="0">
                    <a:pos x="378" y="76"/>
                  </a:cxn>
                  <a:cxn ang="0">
                    <a:pos x="251" y="94"/>
                  </a:cxn>
                  <a:cxn ang="0">
                    <a:pos x="90" y="54"/>
                  </a:cxn>
                  <a:cxn ang="0">
                    <a:pos x="18" y="0"/>
                  </a:cxn>
                  <a:cxn ang="0">
                    <a:pos x="18" y="0"/>
                  </a:cxn>
                </a:cxnLst>
                <a:rect l="0" t="0" r="r" b="b"/>
                <a:pathLst>
                  <a:path w="378" h="271">
                    <a:moveTo>
                      <a:pt x="18" y="0"/>
                    </a:moveTo>
                    <a:lnTo>
                      <a:pt x="12" y="13"/>
                    </a:lnTo>
                    <a:lnTo>
                      <a:pt x="0" y="40"/>
                    </a:lnTo>
                    <a:lnTo>
                      <a:pt x="60" y="121"/>
                    </a:lnTo>
                    <a:lnTo>
                      <a:pt x="310" y="271"/>
                    </a:lnTo>
                    <a:lnTo>
                      <a:pt x="290" y="139"/>
                    </a:lnTo>
                    <a:lnTo>
                      <a:pt x="378" y="76"/>
                    </a:lnTo>
                    <a:lnTo>
                      <a:pt x="251" y="94"/>
                    </a:lnTo>
                    <a:lnTo>
                      <a:pt x="90" y="54"/>
                    </a:lnTo>
                    <a:lnTo>
                      <a:pt x="18" y="0"/>
                    </a:lnTo>
                    <a:lnTo>
                      <a:pt x="18" y="0"/>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52" name="Freeform 12"/>
              <p:cNvSpPr>
                <a:spLocks/>
              </p:cNvSpPr>
              <p:nvPr userDrawn="1"/>
            </p:nvSpPr>
            <p:spPr bwMode="ltGray">
              <a:xfrm>
                <a:off x="3628" y="3866"/>
                <a:ext cx="155" cy="74"/>
              </a:xfrm>
              <a:custGeom>
                <a:avLst/>
                <a:gdLst/>
                <a:ahLst/>
                <a:cxnLst>
                  <a:cxn ang="0">
                    <a:pos x="114" y="0"/>
                  </a:cxn>
                  <a:cxn ang="0">
                    <a:pos x="0" y="0"/>
                  </a:cxn>
                  <a:cxn ang="0">
                    <a:pos x="0" y="0"/>
                  </a:cxn>
                  <a:cxn ang="0">
                    <a:pos x="6" y="6"/>
                  </a:cxn>
                  <a:cxn ang="0">
                    <a:pos x="6" y="18"/>
                  </a:cxn>
                  <a:cxn ang="0">
                    <a:pos x="0" y="24"/>
                  </a:cxn>
                  <a:cxn ang="0">
                    <a:pos x="78" y="60"/>
                  </a:cxn>
                  <a:cxn ang="0">
                    <a:pos x="96" y="42"/>
                  </a:cxn>
                  <a:cxn ang="0">
                    <a:pos x="155" y="66"/>
                  </a:cxn>
                  <a:cxn ang="0">
                    <a:pos x="126" y="24"/>
                  </a:cxn>
                  <a:cxn ang="0">
                    <a:pos x="149" y="0"/>
                  </a:cxn>
                  <a:cxn ang="0">
                    <a:pos x="114" y="0"/>
                  </a:cxn>
                  <a:cxn ang="0">
                    <a:pos x="114" y="0"/>
                  </a:cxn>
                </a:cxnLst>
                <a:rect l="0" t="0" r="r" b="b"/>
                <a:pathLst>
                  <a:path w="155" h="66">
                    <a:moveTo>
                      <a:pt x="114" y="0"/>
                    </a:moveTo>
                    <a:lnTo>
                      <a:pt x="0" y="0"/>
                    </a:lnTo>
                    <a:lnTo>
                      <a:pt x="0" y="0"/>
                    </a:lnTo>
                    <a:lnTo>
                      <a:pt x="6" y="6"/>
                    </a:lnTo>
                    <a:lnTo>
                      <a:pt x="6" y="18"/>
                    </a:lnTo>
                    <a:lnTo>
                      <a:pt x="0" y="24"/>
                    </a:lnTo>
                    <a:lnTo>
                      <a:pt x="78" y="60"/>
                    </a:lnTo>
                    <a:lnTo>
                      <a:pt x="96" y="42"/>
                    </a:lnTo>
                    <a:lnTo>
                      <a:pt x="155" y="66"/>
                    </a:lnTo>
                    <a:lnTo>
                      <a:pt x="126" y="24"/>
                    </a:lnTo>
                    <a:lnTo>
                      <a:pt x="149" y="0"/>
                    </a:lnTo>
                    <a:lnTo>
                      <a:pt x="114" y="0"/>
                    </a:lnTo>
                    <a:lnTo>
                      <a:pt x="114" y="0"/>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53" name="Freeform 13"/>
              <p:cNvSpPr>
                <a:spLocks/>
              </p:cNvSpPr>
              <p:nvPr userDrawn="1"/>
            </p:nvSpPr>
            <p:spPr bwMode="ltGray">
              <a:xfrm>
                <a:off x="2486" y="3859"/>
                <a:ext cx="42" cy="81"/>
              </a:xfrm>
              <a:custGeom>
                <a:avLst/>
                <a:gdLst/>
                <a:ahLst/>
                <a:cxnLst>
                  <a:cxn ang="0">
                    <a:pos x="6" y="36"/>
                  </a:cxn>
                  <a:cxn ang="0">
                    <a:pos x="0" y="18"/>
                  </a:cxn>
                  <a:cxn ang="0">
                    <a:pos x="12" y="6"/>
                  </a:cxn>
                  <a:cxn ang="0">
                    <a:pos x="0" y="6"/>
                  </a:cxn>
                  <a:cxn ang="0">
                    <a:pos x="12" y="6"/>
                  </a:cxn>
                  <a:cxn ang="0">
                    <a:pos x="24" y="6"/>
                  </a:cxn>
                  <a:cxn ang="0">
                    <a:pos x="36" y="6"/>
                  </a:cxn>
                  <a:cxn ang="0">
                    <a:pos x="42" y="0"/>
                  </a:cxn>
                  <a:cxn ang="0">
                    <a:pos x="30" y="18"/>
                  </a:cxn>
                  <a:cxn ang="0">
                    <a:pos x="42" y="48"/>
                  </a:cxn>
                  <a:cxn ang="0">
                    <a:pos x="12" y="72"/>
                  </a:cxn>
                  <a:cxn ang="0">
                    <a:pos x="6" y="36"/>
                  </a:cxn>
                  <a:cxn ang="0">
                    <a:pos x="6" y="36"/>
                  </a:cxn>
                </a:cxnLst>
                <a:rect l="0" t="0" r="r" b="b"/>
                <a:pathLst>
                  <a:path w="42" h="72">
                    <a:moveTo>
                      <a:pt x="6" y="36"/>
                    </a:moveTo>
                    <a:lnTo>
                      <a:pt x="0" y="18"/>
                    </a:lnTo>
                    <a:lnTo>
                      <a:pt x="12" y="6"/>
                    </a:lnTo>
                    <a:lnTo>
                      <a:pt x="0" y="6"/>
                    </a:lnTo>
                    <a:lnTo>
                      <a:pt x="12" y="6"/>
                    </a:lnTo>
                    <a:lnTo>
                      <a:pt x="24" y="6"/>
                    </a:lnTo>
                    <a:lnTo>
                      <a:pt x="36" y="6"/>
                    </a:lnTo>
                    <a:lnTo>
                      <a:pt x="42" y="0"/>
                    </a:lnTo>
                    <a:lnTo>
                      <a:pt x="30" y="18"/>
                    </a:lnTo>
                    <a:lnTo>
                      <a:pt x="42" y="48"/>
                    </a:lnTo>
                    <a:lnTo>
                      <a:pt x="12" y="72"/>
                    </a:lnTo>
                    <a:lnTo>
                      <a:pt x="6" y="36"/>
                    </a:lnTo>
                    <a:lnTo>
                      <a:pt x="6" y="36"/>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sp>
          <p:nvSpPr>
            <p:cNvPr id="10254" name="Freeform 14"/>
            <p:cNvSpPr>
              <a:spLocks/>
            </p:cNvSpPr>
            <p:nvPr userDrawn="1"/>
          </p:nvSpPr>
          <p:spPr bwMode="ltGray">
            <a:xfrm>
              <a:off x="0" y="3792"/>
              <a:ext cx="3976" cy="535"/>
            </a:xfrm>
            <a:custGeom>
              <a:avLst/>
              <a:gdLst/>
              <a:ahLst/>
              <a:cxnLst>
                <a:cxn ang="0">
                  <a:pos x="3976" y="527"/>
                </a:cxn>
                <a:cxn ang="0">
                  <a:pos x="3970" y="527"/>
                </a:cxn>
                <a:cxn ang="0">
                  <a:pos x="3844" y="509"/>
                </a:cxn>
                <a:cxn ang="0">
                  <a:pos x="2487" y="305"/>
                </a:cxn>
                <a:cxn ang="0">
                  <a:pos x="2039" y="36"/>
                </a:cxn>
                <a:cxn ang="0">
                  <a:pos x="1907" y="24"/>
                </a:cxn>
                <a:cxn ang="0">
                  <a:pos x="1883" y="54"/>
                </a:cxn>
                <a:cxn ang="0">
                  <a:pos x="1859" y="54"/>
                </a:cxn>
                <a:cxn ang="0">
                  <a:pos x="1830" y="30"/>
                </a:cxn>
                <a:cxn ang="0">
                  <a:pos x="1704" y="102"/>
                </a:cxn>
                <a:cxn ang="0">
                  <a:pos x="1608" y="126"/>
                </a:cxn>
                <a:cxn ang="0">
                  <a:pos x="1561" y="132"/>
                </a:cxn>
                <a:cxn ang="0">
                  <a:pos x="1495" y="102"/>
                </a:cxn>
                <a:cxn ang="0">
                  <a:pos x="1357" y="126"/>
                </a:cxn>
                <a:cxn ang="0">
                  <a:pos x="1285" y="24"/>
                </a:cxn>
                <a:cxn ang="0">
                  <a:pos x="1280" y="18"/>
                </a:cxn>
                <a:cxn ang="0">
                  <a:pos x="1262" y="12"/>
                </a:cxn>
                <a:cxn ang="0">
                  <a:pos x="1238" y="6"/>
                </a:cxn>
                <a:cxn ang="0">
                  <a:pos x="1220" y="0"/>
                </a:cxn>
                <a:cxn ang="0">
                  <a:pos x="1196" y="0"/>
                </a:cxn>
                <a:cxn ang="0">
                  <a:pos x="1166" y="0"/>
                </a:cxn>
                <a:cxn ang="0">
                  <a:pos x="1142" y="0"/>
                </a:cxn>
                <a:cxn ang="0">
                  <a:pos x="1136" y="0"/>
                </a:cxn>
                <a:cxn ang="0">
                  <a:pos x="1130" y="0"/>
                </a:cxn>
                <a:cxn ang="0">
                  <a:pos x="1124" y="6"/>
                </a:cxn>
                <a:cxn ang="0">
                  <a:pos x="1118" y="12"/>
                </a:cxn>
                <a:cxn ang="0">
                  <a:pos x="1100" y="18"/>
                </a:cxn>
                <a:cxn ang="0">
                  <a:pos x="1088" y="18"/>
                </a:cxn>
                <a:cxn ang="0">
                  <a:pos x="1070" y="24"/>
                </a:cxn>
                <a:cxn ang="0">
                  <a:pos x="1052" y="30"/>
                </a:cxn>
                <a:cxn ang="0">
                  <a:pos x="1034" y="36"/>
                </a:cxn>
                <a:cxn ang="0">
                  <a:pos x="1028" y="42"/>
                </a:cxn>
                <a:cxn ang="0">
                  <a:pos x="969" y="60"/>
                </a:cxn>
                <a:cxn ang="0">
                  <a:pos x="921" y="72"/>
                </a:cxn>
                <a:cxn ang="0">
                  <a:pos x="855" y="48"/>
                </a:cxn>
                <a:cxn ang="0">
                  <a:pos x="825" y="48"/>
                </a:cxn>
                <a:cxn ang="0">
                  <a:pos x="759" y="72"/>
                </a:cxn>
                <a:cxn ang="0">
                  <a:pos x="735" y="72"/>
                </a:cxn>
                <a:cxn ang="0">
                  <a:pos x="706" y="60"/>
                </a:cxn>
                <a:cxn ang="0">
                  <a:pos x="640" y="60"/>
                </a:cxn>
                <a:cxn ang="0">
                  <a:pos x="544" y="72"/>
                </a:cxn>
                <a:cxn ang="0">
                  <a:pos x="389" y="18"/>
                </a:cxn>
                <a:cxn ang="0">
                  <a:pos x="323" y="60"/>
                </a:cxn>
                <a:cxn ang="0">
                  <a:pos x="317" y="60"/>
                </a:cxn>
                <a:cxn ang="0">
                  <a:pos x="305" y="72"/>
                </a:cxn>
                <a:cxn ang="0">
                  <a:pos x="287" y="78"/>
                </a:cxn>
                <a:cxn ang="0">
                  <a:pos x="263" y="90"/>
                </a:cxn>
                <a:cxn ang="0">
                  <a:pos x="203" y="120"/>
                </a:cxn>
                <a:cxn ang="0">
                  <a:pos x="149" y="150"/>
                </a:cxn>
                <a:cxn ang="0">
                  <a:pos x="78" y="168"/>
                </a:cxn>
                <a:cxn ang="0">
                  <a:pos x="0" y="180"/>
                </a:cxn>
                <a:cxn ang="0">
                  <a:pos x="0" y="527"/>
                </a:cxn>
                <a:cxn ang="0">
                  <a:pos x="1010" y="527"/>
                </a:cxn>
                <a:cxn ang="0">
                  <a:pos x="3725" y="527"/>
                </a:cxn>
                <a:cxn ang="0">
                  <a:pos x="3976" y="527"/>
                </a:cxn>
                <a:cxn ang="0">
                  <a:pos x="3976" y="527"/>
                </a:cxn>
              </a:cxnLst>
              <a:rect l="0" t="0" r="r" b="b"/>
              <a:pathLst>
                <a:path w="3976" h="527">
                  <a:moveTo>
                    <a:pt x="3976" y="527"/>
                  </a:moveTo>
                  <a:lnTo>
                    <a:pt x="3970" y="527"/>
                  </a:lnTo>
                  <a:lnTo>
                    <a:pt x="3844" y="509"/>
                  </a:lnTo>
                  <a:lnTo>
                    <a:pt x="2487" y="305"/>
                  </a:lnTo>
                  <a:lnTo>
                    <a:pt x="2039" y="36"/>
                  </a:lnTo>
                  <a:lnTo>
                    <a:pt x="1907" y="24"/>
                  </a:lnTo>
                  <a:lnTo>
                    <a:pt x="1883" y="54"/>
                  </a:lnTo>
                  <a:lnTo>
                    <a:pt x="1859" y="54"/>
                  </a:lnTo>
                  <a:lnTo>
                    <a:pt x="1830" y="30"/>
                  </a:lnTo>
                  <a:lnTo>
                    <a:pt x="1704" y="102"/>
                  </a:lnTo>
                  <a:lnTo>
                    <a:pt x="1608" y="126"/>
                  </a:lnTo>
                  <a:lnTo>
                    <a:pt x="1561" y="132"/>
                  </a:lnTo>
                  <a:lnTo>
                    <a:pt x="1495" y="102"/>
                  </a:lnTo>
                  <a:lnTo>
                    <a:pt x="1357" y="126"/>
                  </a:lnTo>
                  <a:lnTo>
                    <a:pt x="1285" y="24"/>
                  </a:lnTo>
                  <a:lnTo>
                    <a:pt x="1280" y="18"/>
                  </a:lnTo>
                  <a:lnTo>
                    <a:pt x="1262" y="12"/>
                  </a:lnTo>
                  <a:lnTo>
                    <a:pt x="1238" y="6"/>
                  </a:lnTo>
                  <a:lnTo>
                    <a:pt x="1220" y="0"/>
                  </a:lnTo>
                  <a:lnTo>
                    <a:pt x="1196" y="0"/>
                  </a:lnTo>
                  <a:lnTo>
                    <a:pt x="1166" y="0"/>
                  </a:lnTo>
                  <a:lnTo>
                    <a:pt x="1142" y="0"/>
                  </a:lnTo>
                  <a:lnTo>
                    <a:pt x="1136" y="0"/>
                  </a:lnTo>
                  <a:lnTo>
                    <a:pt x="1130" y="0"/>
                  </a:lnTo>
                  <a:lnTo>
                    <a:pt x="1124" y="6"/>
                  </a:lnTo>
                  <a:lnTo>
                    <a:pt x="1118" y="12"/>
                  </a:lnTo>
                  <a:lnTo>
                    <a:pt x="1100" y="18"/>
                  </a:lnTo>
                  <a:lnTo>
                    <a:pt x="1088" y="18"/>
                  </a:lnTo>
                  <a:lnTo>
                    <a:pt x="1070" y="24"/>
                  </a:lnTo>
                  <a:lnTo>
                    <a:pt x="1052" y="30"/>
                  </a:lnTo>
                  <a:lnTo>
                    <a:pt x="1034" y="36"/>
                  </a:lnTo>
                  <a:lnTo>
                    <a:pt x="1028" y="42"/>
                  </a:lnTo>
                  <a:lnTo>
                    <a:pt x="969" y="60"/>
                  </a:lnTo>
                  <a:lnTo>
                    <a:pt x="921" y="72"/>
                  </a:lnTo>
                  <a:lnTo>
                    <a:pt x="855" y="48"/>
                  </a:lnTo>
                  <a:lnTo>
                    <a:pt x="825" y="48"/>
                  </a:lnTo>
                  <a:lnTo>
                    <a:pt x="759" y="72"/>
                  </a:lnTo>
                  <a:lnTo>
                    <a:pt x="735" y="72"/>
                  </a:lnTo>
                  <a:lnTo>
                    <a:pt x="706" y="60"/>
                  </a:lnTo>
                  <a:lnTo>
                    <a:pt x="640" y="60"/>
                  </a:lnTo>
                  <a:lnTo>
                    <a:pt x="544" y="72"/>
                  </a:lnTo>
                  <a:lnTo>
                    <a:pt x="389" y="18"/>
                  </a:lnTo>
                  <a:lnTo>
                    <a:pt x="323" y="60"/>
                  </a:lnTo>
                  <a:lnTo>
                    <a:pt x="317" y="60"/>
                  </a:lnTo>
                  <a:lnTo>
                    <a:pt x="305" y="72"/>
                  </a:lnTo>
                  <a:lnTo>
                    <a:pt x="287" y="78"/>
                  </a:lnTo>
                  <a:lnTo>
                    <a:pt x="263" y="90"/>
                  </a:lnTo>
                  <a:lnTo>
                    <a:pt x="203" y="120"/>
                  </a:lnTo>
                  <a:lnTo>
                    <a:pt x="149" y="150"/>
                  </a:lnTo>
                  <a:lnTo>
                    <a:pt x="78" y="168"/>
                  </a:lnTo>
                  <a:lnTo>
                    <a:pt x="0" y="180"/>
                  </a:lnTo>
                  <a:lnTo>
                    <a:pt x="0" y="527"/>
                  </a:lnTo>
                  <a:lnTo>
                    <a:pt x="1010" y="527"/>
                  </a:lnTo>
                  <a:lnTo>
                    <a:pt x="3725" y="527"/>
                  </a:lnTo>
                  <a:lnTo>
                    <a:pt x="3976" y="527"/>
                  </a:lnTo>
                  <a:lnTo>
                    <a:pt x="3976" y="527"/>
                  </a:lnTo>
                  <a:close/>
                </a:path>
              </a:pathLst>
            </a:custGeom>
            <a:gradFill rotWithShape="0">
              <a:gsLst>
                <a:gs pos="0">
                  <a:schemeClr val="bg2">
                    <a:gamma/>
                    <a:tint val="75686"/>
                    <a:invGamma/>
                  </a:schemeClr>
                </a:gs>
                <a:gs pos="100000">
                  <a:schemeClr val="bg2"/>
                </a:gs>
              </a:gsLst>
              <a:lin ang="54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grpSp>
        <p:nvGrpSpPr>
          <p:cNvPr id="5" name="Group 15"/>
          <p:cNvGrpSpPr>
            <a:grpSpLocks/>
          </p:cNvGrpSpPr>
          <p:nvPr/>
        </p:nvGrpSpPr>
        <p:grpSpPr bwMode="auto">
          <a:xfrm>
            <a:off x="627063" y="6021388"/>
            <a:ext cx="5684837" cy="849312"/>
            <a:chOff x="395" y="3793"/>
            <a:chExt cx="3581" cy="535"/>
          </a:xfrm>
        </p:grpSpPr>
        <p:sp>
          <p:nvSpPr>
            <p:cNvPr id="10256" name="Freeform 16"/>
            <p:cNvSpPr>
              <a:spLocks/>
            </p:cNvSpPr>
            <p:nvPr userDrawn="1"/>
          </p:nvSpPr>
          <p:spPr bwMode="auto">
            <a:xfrm>
              <a:off x="1196" y="3793"/>
              <a:ext cx="365" cy="291"/>
            </a:xfrm>
            <a:custGeom>
              <a:avLst/>
              <a:gdLst/>
              <a:ahLst/>
              <a:cxnLst>
                <a:cxn ang="0">
                  <a:pos x="24" y="24"/>
                </a:cxn>
                <a:cxn ang="0">
                  <a:pos x="0" y="60"/>
                </a:cxn>
                <a:cxn ang="0">
                  <a:pos x="66" y="108"/>
                </a:cxn>
                <a:cxn ang="0">
                  <a:pos x="143" y="180"/>
                </a:cxn>
                <a:cxn ang="0">
                  <a:pos x="191" y="168"/>
                </a:cxn>
                <a:cxn ang="0">
                  <a:pos x="341" y="287"/>
                </a:cxn>
                <a:cxn ang="0">
                  <a:pos x="305" y="174"/>
                </a:cxn>
                <a:cxn ang="0">
                  <a:pos x="365" y="132"/>
                </a:cxn>
                <a:cxn ang="0">
                  <a:pos x="359" y="126"/>
                </a:cxn>
                <a:cxn ang="0">
                  <a:pos x="335" y="114"/>
                </a:cxn>
                <a:cxn ang="0">
                  <a:pos x="299" y="90"/>
                </a:cxn>
                <a:cxn ang="0">
                  <a:pos x="257" y="72"/>
                </a:cxn>
                <a:cxn ang="0">
                  <a:pos x="215" y="54"/>
                </a:cxn>
                <a:cxn ang="0">
                  <a:pos x="173" y="36"/>
                </a:cxn>
                <a:cxn ang="0">
                  <a:pos x="143" y="24"/>
                </a:cxn>
                <a:cxn ang="0">
                  <a:pos x="131" y="18"/>
                </a:cxn>
                <a:cxn ang="0">
                  <a:pos x="107" y="18"/>
                </a:cxn>
                <a:cxn ang="0">
                  <a:pos x="95" y="18"/>
                </a:cxn>
                <a:cxn ang="0">
                  <a:pos x="72" y="12"/>
                </a:cxn>
                <a:cxn ang="0">
                  <a:pos x="66" y="12"/>
                </a:cxn>
                <a:cxn ang="0">
                  <a:pos x="54" y="6"/>
                </a:cxn>
                <a:cxn ang="0">
                  <a:pos x="42" y="0"/>
                </a:cxn>
                <a:cxn ang="0">
                  <a:pos x="30" y="0"/>
                </a:cxn>
                <a:cxn ang="0">
                  <a:pos x="24" y="24"/>
                </a:cxn>
                <a:cxn ang="0">
                  <a:pos x="24" y="24"/>
                </a:cxn>
              </a:cxnLst>
              <a:rect l="0" t="0" r="r" b="b"/>
              <a:pathLst>
                <a:path w="365" h="287">
                  <a:moveTo>
                    <a:pt x="24" y="24"/>
                  </a:moveTo>
                  <a:lnTo>
                    <a:pt x="0" y="60"/>
                  </a:lnTo>
                  <a:lnTo>
                    <a:pt x="66" y="108"/>
                  </a:lnTo>
                  <a:lnTo>
                    <a:pt x="143" y="180"/>
                  </a:lnTo>
                  <a:lnTo>
                    <a:pt x="191" y="168"/>
                  </a:lnTo>
                  <a:lnTo>
                    <a:pt x="341" y="287"/>
                  </a:lnTo>
                  <a:lnTo>
                    <a:pt x="305" y="174"/>
                  </a:lnTo>
                  <a:lnTo>
                    <a:pt x="365" y="132"/>
                  </a:lnTo>
                  <a:lnTo>
                    <a:pt x="359" y="126"/>
                  </a:lnTo>
                  <a:lnTo>
                    <a:pt x="335" y="114"/>
                  </a:lnTo>
                  <a:lnTo>
                    <a:pt x="299" y="90"/>
                  </a:lnTo>
                  <a:lnTo>
                    <a:pt x="257" y="72"/>
                  </a:lnTo>
                  <a:lnTo>
                    <a:pt x="215" y="54"/>
                  </a:lnTo>
                  <a:lnTo>
                    <a:pt x="173" y="36"/>
                  </a:lnTo>
                  <a:lnTo>
                    <a:pt x="143" y="24"/>
                  </a:lnTo>
                  <a:lnTo>
                    <a:pt x="131" y="18"/>
                  </a:lnTo>
                  <a:lnTo>
                    <a:pt x="107" y="18"/>
                  </a:lnTo>
                  <a:lnTo>
                    <a:pt x="95" y="18"/>
                  </a:lnTo>
                  <a:lnTo>
                    <a:pt x="72" y="12"/>
                  </a:lnTo>
                  <a:lnTo>
                    <a:pt x="66" y="12"/>
                  </a:lnTo>
                  <a:lnTo>
                    <a:pt x="54" y="6"/>
                  </a:lnTo>
                  <a:lnTo>
                    <a:pt x="42" y="0"/>
                  </a:lnTo>
                  <a:lnTo>
                    <a:pt x="30" y="0"/>
                  </a:lnTo>
                  <a:lnTo>
                    <a:pt x="24" y="24"/>
                  </a:lnTo>
                  <a:lnTo>
                    <a:pt x="24" y="24"/>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57" name="Freeform 17"/>
            <p:cNvSpPr>
              <a:spLocks/>
            </p:cNvSpPr>
            <p:nvPr userDrawn="1"/>
          </p:nvSpPr>
          <p:spPr bwMode="auto">
            <a:xfrm>
              <a:off x="1943" y="3829"/>
              <a:ext cx="2033" cy="499"/>
            </a:xfrm>
            <a:custGeom>
              <a:avLst/>
              <a:gdLst/>
              <a:ahLst/>
              <a:cxnLst>
                <a:cxn ang="0">
                  <a:pos x="186" y="18"/>
                </a:cxn>
                <a:cxn ang="0">
                  <a:pos x="138" y="6"/>
                </a:cxn>
                <a:cxn ang="0">
                  <a:pos x="96" y="0"/>
                </a:cxn>
                <a:cxn ang="0">
                  <a:pos x="36" y="0"/>
                </a:cxn>
                <a:cxn ang="0">
                  <a:pos x="12" y="25"/>
                </a:cxn>
                <a:cxn ang="0">
                  <a:pos x="0" y="128"/>
                </a:cxn>
                <a:cxn ang="0">
                  <a:pos x="60" y="104"/>
                </a:cxn>
                <a:cxn ang="0">
                  <a:pos x="90" y="134"/>
                </a:cxn>
                <a:cxn ang="0">
                  <a:pos x="150" y="153"/>
                </a:cxn>
                <a:cxn ang="0">
                  <a:pos x="209" y="273"/>
                </a:cxn>
                <a:cxn ang="0">
                  <a:pos x="401" y="359"/>
                </a:cxn>
                <a:cxn ang="0">
                  <a:pos x="777" y="359"/>
                </a:cxn>
                <a:cxn ang="0">
                  <a:pos x="2033" y="499"/>
                </a:cxn>
                <a:cxn ang="0">
                  <a:pos x="2033" y="499"/>
                </a:cxn>
                <a:cxn ang="0">
                  <a:pos x="1991" y="493"/>
                </a:cxn>
                <a:cxn ang="0">
                  <a:pos x="676" y="243"/>
                </a:cxn>
                <a:cxn ang="0">
                  <a:pos x="514" y="159"/>
                </a:cxn>
                <a:cxn ang="0">
                  <a:pos x="425" y="110"/>
                </a:cxn>
                <a:cxn ang="0">
                  <a:pos x="365" y="92"/>
                </a:cxn>
                <a:cxn ang="0">
                  <a:pos x="281" y="61"/>
                </a:cxn>
                <a:cxn ang="0">
                  <a:pos x="186" y="18"/>
                </a:cxn>
                <a:cxn ang="0">
                  <a:pos x="186" y="18"/>
                </a:cxn>
              </a:cxnLst>
              <a:rect l="0" t="0" r="r" b="b"/>
              <a:pathLst>
                <a:path w="2033" h="499">
                  <a:moveTo>
                    <a:pt x="186" y="18"/>
                  </a:moveTo>
                  <a:lnTo>
                    <a:pt x="138" y="6"/>
                  </a:lnTo>
                  <a:lnTo>
                    <a:pt x="96" y="0"/>
                  </a:lnTo>
                  <a:lnTo>
                    <a:pt x="36" y="0"/>
                  </a:lnTo>
                  <a:lnTo>
                    <a:pt x="12" y="25"/>
                  </a:lnTo>
                  <a:lnTo>
                    <a:pt x="0" y="128"/>
                  </a:lnTo>
                  <a:lnTo>
                    <a:pt x="60" y="104"/>
                  </a:lnTo>
                  <a:lnTo>
                    <a:pt x="90" y="134"/>
                  </a:lnTo>
                  <a:lnTo>
                    <a:pt x="150" y="153"/>
                  </a:lnTo>
                  <a:lnTo>
                    <a:pt x="209" y="273"/>
                  </a:lnTo>
                  <a:lnTo>
                    <a:pt x="401" y="359"/>
                  </a:lnTo>
                  <a:lnTo>
                    <a:pt x="777" y="359"/>
                  </a:lnTo>
                  <a:lnTo>
                    <a:pt x="2033" y="499"/>
                  </a:lnTo>
                  <a:lnTo>
                    <a:pt x="2033" y="499"/>
                  </a:lnTo>
                  <a:lnTo>
                    <a:pt x="1991" y="493"/>
                  </a:lnTo>
                  <a:lnTo>
                    <a:pt x="676" y="243"/>
                  </a:lnTo>
                  <a:lnTo>
                    <a:pt x="514" y="159"/>
                  </a:lnTo>
                  <a:lnTo>
                    <a:pt x="425" y="110"/>
                  </a:lnTo>
                  <a:lnTo>
                    <a:pt x="365" y="92"/>
                  </a:lnTo>
                  <a:lnTo>
                    <a:pt x="281" y="61"/>
                  </a:lnTo>
                  <a:lnTo>
                    <a:pt x="186" y="18"/>
                  </a:lnTo>
                  <a:lnTo>
                    <a:pt x="186" y="18"/>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58" name="Freeform 18"/>
            <p:cNvSpPr>
              <a:spLocks/>
            </p:cNvSpPr>
            <p:nvPr userDrawn="1"/>
          </p:nvSpPr>
          <p:spPr bwMode="auto">
            <a:xfrm>
              <a:off x="1830" y="3823"/>
              <a:ext cx="71" cy="61"/>
            </a:xfrm>
            <a:custGeom>
              <a:avLst/>
              <a:gdLst/>
              <a:ahLst/>
              <a:cxnLst>
                <a:cxn ang="0">
                  <a:pos x="0" y="18"/>
                </a:cxn>
                <a:cxn ang="0">
                  <a:pos x="6" y="18"/>
                </a:cxn>
                <a:cxn ang="0">
                  <a:pos x="12" y="12"/>
                </a:cxn>
                <a:cxn ang="0">
                  <a:pos x="6" y="6"/>
                </a:cxn>
                <a:cxn ang="0">
                  <a:pos x="0" y="0"/>
                </a:cxn>
                <a:cxn ang="0">
                  <a:pos x="29" y="18"/>
                </a:cxn>
                <a:cxn ang="0">
                  <a:pos x="53" y="18"/>
                </a:cxn>
                <a:cxn ang="0">
                  <a:pos x="59" y="30"/>
                </a:cxn>
                <a:cxn ang="0">
                  <a:pos x="65" y="42"/>
                </a:cxn>
                <a:cxn ang="0">
                  <a:pos x="71" y="54"/>
                </a:cxn>
                <a:cxn ang="0">
                  <a:pos x="71" y="60"/>
                </a:cxn>
                <a:cxn ang="0">
                  <a:pos x="59" y="54"/>
                </a:cxn>
                <a:cxn ang="0">
                  <a:pos x="47" y="42"/>
                </a:cxn>
                <a:cxn ang="0">
                  <a:pos x="23" y="30"/>
                </a:cxn>
                <a:cxn ang="0">
                  <a:pos x="23" y="36"/>
                </a:cxn>
                <a:cxn ang="0">
                  <a:pos x="18" y="42"/>
                </a:cxn>
                <a:cxn ang="0">
                  <a:pos x="12" y="48"/>
                </a:cxn>
                <a:cxn ang="0">
                  <a:pos x="6" y="48"/>
                </a:cxn>
                <a:cxn ang="0">
                  <a:pos x="6" y="48"/>
                </a:cxn>
                <a:cxn ang="0">
                  <a:pos x="6" y="36"/>
                </a:cxn>
                <a:cxn ang="0">
                  <a:pos x="0" y="18"/>
                </a:cxn>
                <a:cxn ang="0">
                  <a:pos x="0" y="18"/>
                </a:cxn>
              </a:cxnLst>
              <a:rect l="0" t="0" r="r" b="b"/>
              <a:pathLst>
                <a:path w="71" h="60">
                  <a:moveTo>
                    <a:pt x="0" y="18"/>
                  </a:moveTo>
                  <a:lnTo>
                    <a:pt x="6" y="18"/>
                  </a:lnTo>
                  <a:lnTo>
                    <a:pt x="12" y="12"/>
                  </a:lnTo>
                  <a:lnTo>
                    <a:pt x="6" y="6"/>
                  </a:lnTo>
                  <a:lnTo>
                    <a:pt x="0" y="0"/>
                  </a:lnTo>
                  <a:lnTo>
                    <a:pt x="29" y="18"/>
                  </a:lnTo>
                  <a:lnTo>
                    <a:pt x="53" y="18"/>
                  </a:lnTo>
                  <a:lnTo>
                    <a:pt x="59" y="30"/>
                  </a:lnTo>
                  <a:lnTo>
                    <a:pt x="65" y="42"/>
                  </a:lnTo>
                  <a:lnTo>
                    <a:pt x="71" y="54"/>
                  </a:lnTo>
                  <a:lnTo>
                    <a:pt x="71" y="60"/>
                  </a:lnTo>
                  <a:lnTo>
                    <a:pt x="59" y="54"/>
                  </a:lnTo>
                  <a:lnTo>
                    <a:pt x="47" y="42"/>
                  </a:lnTo>
                  <a:lnTo>
                    <a:pt x="23" y="30"/>
                  </a:lnTo>
                  <a:lnTo>
                    <a:pt x="23" y="36"/>
                  </a:lnTo>
                  <a:lnTo>
                    <a:pt x="18" y="42"/>
                  </a:lnTo>
                  <a:lnTo>
                    <a:pt x="12" y="48"/>
                  </a:lnTo>
                  <a:lnTo>
                    <a:pt x="6" y="48"/>
                  </a:lnTo>
                  <a:lnTo>
                    <a:pt x="6" y="48"/>
                  </a:lnTo>
                  <a:lnTo>
                    <a:pt x="6" y="36"/>
                  </a:lnTo>
                  <a:lnTo>
                    <a:pt x="0" y="18"/>
                  </a:lnTo>
                  <a:lnTo>
                    <a:pt x="0" y="18"/>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59" name="Freeform 19"/>
            <p:cNvSpPr>
              <a:spLocks/>
            </p:cNvSpPr>
            <p:nvPr userDrawn="1"/>
          </p:nvSpPr>
          <p:spPr bwMode="auto">
            <a:xfrm>
              <a:off x="855" y="3842"/>
              <a:ext cx="161" cy="164"/>
            </a:xfrm>
            <a:custGeom>
              <a:avLst/>
              <a:gdLst/>
              <a:ahLst/>
              <a:cxnLst>
                <a:cxn ang="0">
                  <a:pos x="30" y="0"/>
                </a:cxn>
                <a:cxn ang="0">
                  <a:pos x="48" y="6"/>
                </a:cxn>
                <a:cxn ang="0">
                  <a:pos x="72" y="6"/>
                </a:cxn>
                <a:cxn ang="0">
                  <a:pos x="114" y="12"/>
                </a:cxn>
                <a:cxn ang="0">
                  <a:pos x="96" y="54"/>
                </a:cxn>
                <a:cxn ang="0">
                  <a:pos x="96" y="60"/>
                </a:cxn>
                <a:cxn ang="0">
                  <a:pos x="102" y="72"/>
                </a:cxn>
                <a:cxn ang="0">
                  <a:pos x="108" y="84"/>
                </a:cxn>
                <a:cxn ang="0">
                  <a:pos x="120" y="96"/>
                </a:cxn>
                <a:cxn ang="0">
                  <a:pos x="143" y="114"/>
                </a:cxn>
                <a:cxn ang="0">
                  <a:pos x="155" y="138"/>
                </a:cxn>
                <a:cxn ang="0">
                  <a:pos x="161" y="156"/>
                </a:cxn>
                <a:cxn ang="0">
                  <a:pos x="161" y="162"/>
                </a:cxn>
                <a:cxn ang="0">
                  <a:pos x="96" y="102"/>
                </a:cxn>
                <a:cxn ang="0">
                  <a:pos x="30" y="54"/>
                </a:cxn>
                <a:cxn ang="0">
                  <a:pos x="0" y="0"/>
                </a:cxn>
                <a:cxn ang="0">
                  <a:pos x="30" y="0"/>
                </a:cxn>
                <a:cxn ang="0">
                  <a:pos x="30" y="0"/>
                </a:cxn>
              </a:cxnLst>
              <a:rect l="0" t="0" r="r" b="b"/>
              <a:pathLst>
                <a:path w="161" h="162">
                  <a:moveTo>
                    <a:pt x="30" y="0"/>
                  </a:moveTo>
                  <a:lnTo>
                    <a:pt x="48" y="6"/>
                  </a:lnTo>
                  <a:lnTo>
                    <a:pt x="72" y="6"/>
                  </a:lnTo>
                  <a:lnTo>
                    <a:pt x="114" y="12"/>
                  </a:lnTo>
                  <a:lnTo>
                    <a:pt x="96" y="54"/>
                  </a:lnTo>
                  <a:lnTo>
                    <a:pt x="96" y="60"/>
                  </a:lnTo>
                  <a:lnTo>
                    <a:pt x="102" y="72"/>
                  </a:lnTo>
                  <a:lnTo>
                    <a:pt x="108" y="84"/>
                  </a:lnTo>
                  <a:lnTo>
                    <a:pt x="120" y="96"/>
                  </a:lnTo>
                  <a:lnTo>
                    <a:pt x="143" y="114"/>
                  </a:lnTo>
                  <a:lnTo>
                    <a:pt x="155" y="138"/>
                  </a:lnTo>
                  <a:lnTo>
                    <a:pt x="161" y="156"/>
                  </a:lnTo>
                  <a:lnTo>
                    <a:pt x="161" y="162"/>
                  </a:lnTo>
                  <a:lnTo>
                    <a:pt x="96" y="102"/>
                  </a:lnTo>
                  <a:lnTo>
                    <a:pt x="30" y="54"/>
                  </a:lnTo>
                  <a:lnTo>
                    <a:pt x="0" y="0"/>
                  </a:lnTo>
                  <a:lnTo>
                    <a:pt x="30" y="0"/>
                  </a:lnTo>
                  <a:lnTo>
                    <a:pt x="30" y="0"/>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60" name="Freeform 20"/>
            <p:cNvSpPr>
              <a:spLocks/>
            </p:cNvSpPr>
            <p:nvPr userDrawn="1"/>
          </p:nvSpPr>
          <p:spPr bwMode="auto">
            <a:xfrm>
              <a:off x="706" y="3854"/>
              <a:ext cx="59" cy="61"/>
            </a:xfrm>
            <a:custGeom>
              <a:avLst/>
              <a:gdLst/>
              <a:ahLst/>
              <a:cxnLst>
                <a:cxn ang="0">
                  <a:pos x="59" y="6"/>
                </a:cxn>
                <a:cxn ang="0">
                  <a:pos x="41" y="30"/>
                </a:cxn>
                <a:cxn ang="0">
                  <a:pos x="41" y="36"/>
                </a:cxn>
                <a:cxn ang="0">
                  <a:pos x="47" y="42"/>
                </a:cxn>
                <a:cxn ang="0">
                  <a:pos x="53" y="54"/>
                </a:cxn>
                <a:cxn ang="0">
                  <a:pos x="53" y="60"/>
                </a:cxn>
                <a:cxn ang="0">
                  <a:pos x="47" y="54"/>
                </a:cxn>
                <a:cxn ang="0">
                  <a:pos x="35" y="48"/>
                </a:cxn>
                <a:cxn ang="0">
                  <a:pos x="23" y="36"/>
                </a:cxn>
                <a:cxn ang="0">
                  <a:pos x="17" y="30"/>
                </a:cxn>
                <a:cxn ang="0">
                  <a:pos x="0" y="0"/>
                </a:cxn>
                <a:cxn ang="0">
                  <a:pos x="59" y="6"/>
                </a:cxn>
                <a:cxn ang="0">
                  <a:pos x="59" y="6"/>
                </a:cxn>
              </a:cxnLst>
              <a:rect l="0" t="0" r="r" b="b"/>
              <a:pathLst>
                <a:path w="59" h="60">
                  <a:moveTo>
                    <a:pt x="59" y="6"/>
                  </a:moveTo>
                  <a:lnTo>
                    <a:pt x="41" y="30"/>
                  </a:lnTo>
                  <a:lnTo>
                    <a:pt x="41" y="36"/>
                  </a:lnTo>
                  <a:lnTo>
                    <a:pt x="47" y="42"/>
                  </a:lnTo>
                  <a:lnTo>
                    <a:pt x="53" y="54"/>
                  </a:lnTo>
                  <a:lnTo>
                    <a:pt x="53" y="60"/>
                  </a:lnTo>
                  <a:lnTo>
                    <a:pt x="47" y="54"/>
                  </a:lnTo>
                  <a:lnTo>
                    <a:pt x="35" y="48"/>
                  </a:lnTo>
                  <a:lnTo>
                    <a:pt x="23" y="36"/>
                  </a:lnTo>
                  <a:lnTo>
                    <a:pt x="17" y="30"/>
                  </a:lnTo>
                  <a:lnTo>
                    <a:pt x="0" y="0"/>
                  </a:lnTo>
                  <a:lnTo>
                    <a:pt x="59" y="6"/>
                  </a:lnTo>
                  <a:lnTo>
                    <a:pt x="59" y="6"/>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61" name="Freeform 21"/>
            <p:cNvSpPr>
              <a:spLocks/>
            </p:cNvSpPr>
            <p:nvPr userDrawn="1"/>
          </p:nvSpPr>
          <p:spPr bwMode="auto">
            <a:xfrm>
              <a:off x="395" y="3811"/>
              <a:ext cx="245" cy="207"/>
            </a:xfrm>
            <a:custGeom>
              <a:avLst/>
              <a:gdLst/>
              <a:ahLst/>
              <a:cxnLst>
                <a:cxn ang="0">
                  <a:pos x="233" y="36"/>
                </a:cxn>
                <a:cxn ang="0">
                  <a:pos x="245" y="42"/>
                </a:cxn>
                <a:cxn ang="0">
                  <a:pos x="209" y="84"/>
                </a:cxn>
                <a:cxn ang="0">
                  <a:pos x="143" y="132"/>
                </a:cxn>
                <a:cxn ang="0">
                  <a:pos x="167" y="156"/>
                </a:cxn>
                <a:cxn ang="0">
                  <a:pos x="179" y="204"/>
                </a:cxn>
                <a:cxn ang="0">
                  <a:pos x="77" y="132"/>
                </a:cxn>
                <a:cxn ang="0">
                  <a:pos x="47" y="84"/>
                </a:cxn>
                <a:cxn ang="0">
                  <a:pos x="89" y="66"/>
                </a:cxn>
                <a:cxn ang="0">
                  <a:pos x="59" y="36"/>
                </a:cxn>
                <a:cxn ang="0">
                  <a:pos x="0" y="12"/>
                </a:cxn>
                <a:cxn ang="0">
                  <a:pos x="0" y="0"/>
                </a:cxn>
                <a:cxn ang="0">
                  <a:pos x="6" y="0"/>
                </a:cxn>
                <a:cxn ang="0">
                  <a:pos x="12" y="0"/>
                </a:cxn>
                <a:cxn ang="0">
                  <a:pos x="47" y="6"/>
                </a:cxn>
                <a:cxn ang="0">
                  <a:pos x="77" y="6"/>
                </a:cxn>
                <a:cxn ang="0">
                  <a:pos x="83" y="6"/>
                </a:cxn>
                <a:cxn ang="0">
                  <a:pos x="89" y="6"/>
                </a:cxn>
                <a:cxn ang="0">
                  <a:pos x="101" y="12"/>
                </a:cxn>
                <a:cxn ang="0">
                  <a:pos x="125" y="12"/>
                </a:cxn>
                <a:cxn ang="0">
                  <a:pos x="143" y="18"/>
                </a:cxn>
                <a:cxn ang="0">
                  <a:pos x="149" y="18"/>
                </a:cxn>
                <a:cxn ang="0">
                  <a:pos x="149" y="18"/>
                </a:cxn>
                <a:cxn ang="0">
                  <a:pos x="203" y="24"/>
                </a:cxn>
                <a:cxn ang="0">
                  <a:pos x="233" y="36"/>
                </a:cxn>
                <a:cxn ang="0">
                  <a:pos x="233" y="36"/>
                </a:cxn>
              </a:cxnLst>
              <a:rect l="0" t="0" r="r" b="b"/>
              <a:pathLst>
                <a:path w="245" h="204">
                  <a:moveTo>
                    <a:pt x="233" y="36"/>
                  </a:moveTo>
                  <a:lnTo>
                    <a:pt x="245" y="42"/>
                  </a:lnTo>
                  <a:lnTo>
                    <a:pt x="209" y="84"/>
                  </a:lnTo>
                  <a:lnTo>
                    <a:pt x="143" y="132"/>
                  </a:lnTo>
                  <a:lnTo>
                    <a:pt x="167" y="156"/>
                  </a:lnTo>
                  <a:lnTo>
                    <a:pt x="179" y="204"/>
                  </a:lnTo>
                  <a:lnTo>
                    <a:pt x="77" y="132"/>
                  </a:lnTo>
                  <a:lnTo>
                    <a:pt x="47" y="84"/>
                  </a:lnTo>
                  <a:lnTo>
                    <a:pt x="89" y="66"/>
                  </a:lnTo>
                  <a:lnTo>
                    <a:pt x="59" y="36"/>
                  </a:lnTo>
                  <a:lnTo>
                    <a:pt x="0" y="12"/>
                  </a:lnTo>
                  <a:lnTo>
                    <a:pt x="0" y="0"/>
                  </a:lnTo>
                  <a:lnTo>
                    <a:pt x="6" y="0"/>
                  </a:lnTo>
                  <a:lnTo>
                    <a:pt x="12" y="0"/>
                  </a:lnTo>
                  <a:lnTo>
                    <a:pt x="47" y="6"/>
                  </a:lnTo>
                  <a:lnTo>
                    <a:pt x="77" y="6"/>
                  </a:lnTo>
                  <a:lnTo>
                    <a:pt x="83" y="6"/>
                  </a:lnTo>
                  <a:lnTo>
                    <a:pt x="89" y="6"/>
                  </a:lnTo>
                  <a:lnTo>
                    <a:pt x="101" y="12"/>
                  </a:lnTo>
                  <a:lnTo>
                    <a:pt x="125" y="12"/>
                  </a:lnTo>
                  <a:lnTo>
                    <a:pt x="143" y="18"/>
                  </a:lnTo>
                  <a:lnTo>
                    <a:pt x="149" y="18"/>
                  </a:lnTo>
                  <a:lnTo>
                    <a:pt x="149" y="18"/>
                  </a:lnTo>
                  <a:lnTo>
                    <a:pt x="203" y="24"/>
                  </a:lnTo>
                  <a:lnTo>
                    <a:pt x="233" y="36"/>
                  </a:lnTo>
                  <a:lnTo>
                    <a:pt x="233" y="36"/>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sp>
        <p:nvSpPr>
          <p:cNvPr id="10262" name="Rectangle 22"/>
          <p:cNvSpPr>
            <a:spLocks noGrp="1" noChangeArrowheads="1"/>
          </p:cNvSpPr>
          <p:nvPr>
            <p:ph type="ctrTitle" sz="quarter"/>
          </p:nvPr>
        </p:nvSpPr>
        <p:spPr>
          <a:xfrm>
            <a:off x="457200" y="1447800"/>
            <a:ext cx="8229600" cy="1736725"/>
          </a:xfrm>
        </p:spPr>
        <p:txBody>
          <a:bodyPr/>
          <a:lstStyle>
            <a:lvl1pPr>
              <a:defRPr sz="5400"/>
            </a:lvl1pPr>
          </a:lstStyle>
          <a:p>
            <a:r>
              <a:rPr lang="en-US"/>
              <a:t>Click to edit Master title style</a:t>
            </a:r>
          </a:p>
        </p:txBody>
      </p:sp>
      <p:sp>
        <p:nvSpPr>
          <p:cNvPr id="10263" name="Rectangle 23"/>
          <p:cNvSpPr>
            <a:spLocks noGrp="1" noChangeArrowheads="1"/>
          </p:cNvSpPr>
          <p:nvPr>
            <p:ph type="subTitle" sz="quarter" idx="1"/>
          </p:nvPr>
        </p:nvSpPr>
        <p:spPr>
          <a:xfrm>
            <a:off x="1371600" y="3429000"/>
            <a:ext cx="6400800" cy="1752600"/>
          </a:xfrm>
        </p:spPr>
        <p:txBody>
          <a:bodyPr/>
          <a:lstStyle>
            <a:lvl1pPr marL="0" indent="0" algn="ctr">
              <a:buFontTx/>
              <a:buNone/>
              <a:defRPr>
                <a:effectLst>
                  <a:outerShdw blurRad="38100" dist="38100" dir="2700000" algn="tl">
                    <a:srgbClr val="000000"/>
                  </a:outerShdw>
                </a:effectLst>
              </a:defRPr>
            </a:lvl1pPr>
          </a:lstStyle>
          <a:p>
            <a:r>
              <a:rPr lang="en-US"/>
              <a:t>Click to edit Master subtitle style</a:t>
            </a:r>
          </a:p>
        </p:txBody>
      </p:sp>
      <p:sp>
        <p:nvSpPr>
          <p:cNvPr id="10264" name="Rectangle 24"/>
          <p:cNvSpPr>
            <a:spLocks noGrp="1" noChangeArrowheads="1"/>
          </p:cNvSpPr>
          <p:nvPr>
            <p:ph type="dt" sz="quarter" idx="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10265" name="Rectangle 25"/>
          <p:cNvSpPr>
            <a:spLocks noGrp="1" noChangeArrowheads="1"/>
          </p:cNvSpPr>
          <p:nvPr>
            <p:ph type="sldNum" sz="quarter" idx="4"/>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B42B651-3B16-465C-9E52-FC81DC7A26C2}"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10266" name="Rectangle 26"/>
          <p:cNvSpPr>
            <a:spLocks noGrp="1" noChangeArrowheads="1"/>
          </p:cNvSpPr>
          <p:nvPr>
            <p:ph type="ftr" sz="quarter" idx="3"/>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173351038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0"/>
          <p:cNvSpPr/>
          <p:nvPr/>
        </p:nvSpPr>
        <p:spPr bwMode="white">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5" name="Rectangle 11"/>
          <p:cNvSpPr/>
          <p:nvPr/>
        </p:nvSpPr>
        <p:spPr>
          <a:xfrm>
            <a:off x="-9525" y="6053138"/>
            <a:ext cx="2249488" cy="712787"/>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6" name="Rectangle 14"/>
          <p:cNvSpPr/>
          <p:nvPr/>
        </p:nvSpPr>
        <p:spPr>
          <a:xfrm>
            <a:off x="2359025" y="6043613"/>
            <a:ext cx="6784975" cy="714375"/>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pic>
        <p:nvPicPr>
          <p:cNvPr id="7" name="Picture 10" descr="C:\Documents and Settings\Bucky Boaz\My Documents\My Pictures\2002-03-16\x-ray-01.jp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ctrTitle"/>
          </p:nvPr>
        </p:nvSpPr>
        <p:spPr>
          <a:xfrm>
            <a:off x="2362200" y="4038600"/>
            <a:ext cx="6477000" cy="1828800"/>
          </a:xfrm>
        </p:spPr>
        <p:txBody>
          <a:bodyPr anchor="b"/>
          <a:lstStyle>
            <a:lvl1pPr>
              <a:defRPr cap="all" baseline="0"/>
            </a:lvl1pPr>
          </a:lstStyle>
          <a:p>
            <a:r>
              <a:rPr lang="en-US" smtClean="0"/>
              <a:t>Click to edit Master title style</a:t>
            </a:r>
            <a:endParaRPr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10" name="Date Placeholder 27"/>
          <p:cNvSpPr>
            <a:spLocks noGrp="1"/>
          </p:cNvSpPr>
          <p:nvPr>
            <p:ph type="dt" sz="half" idx="10"/>
          </p:nvPr>
        </p:nvSpPr>
        <p:spPr>
          <a:xfrm>
            <a:off x="76200" y="6069013"/>
            <a:ext cx="2057400" cy="685800"/>
          </a:xfrm>
        </p:spPr>
        <p:txBody>
          <a:bodyPr>
            <a:noAutofit/>
          </a:bodyPr>
          <a:lstStyle>
            <a:lvl1pPr algn="ctr">
              <a:defRPr sz="2000">
                <a:solidFill>
                  <a:srgbClr val="FFFFFF"/>
                </a:solidFill>
              </a:defRPr>
            </a:lvl1pPr>
          </a:lstStyle>
          <a:p>
            <a:pPr>
              <a:defRPr/>
            </a:pPr>
            <a:endParaRPr lang="en-US"/>
          </a:p>
        </p:txBody>
      </p:sp>
      <p:sp>
        <p:nvSpPr>
          <p:cNvPr id="11" name="Footer Placeholder 16"/>
          <p:cNvSpPr>
            <a:spLocks noGrp="1"/>
          </p:cNvSpPr>
          <p:nvPr>
            <p:ph type="ftr" sz="quarter" idx="11"/>
          </p:nvPr>
        </p:nvSpPr>
        <p:spPr>
          <a:xfrm>
            <a:off x="2085975" y="236538"/>
            <a:ext cx="5867400" cy="365125"/>
          </a:xfrm>
        </p:spPr>
        <p:txBody>
          <a:bodyPr/>
          <a:lstStyle>
            <a:lvl1pPr algn="r">
              <a:defRPr>
                <a:solidFill>
                  <a:schemeClr val="tx2"/>
                </a:solidFill>
              </a:defRPr>
            </a:lvl1pPr>
          </a:lstStyle>
          <a:p>
            <a:pPr>
              <a:defRPr/>
            </a:pPr>
            <a:endParaRPr lang="en-US">
              <a:solidFill>
                <a:srgbClr val="EBDDC3"/>
              </a:solidFill>
            </a:endParaRPr>
          </a:p>
        </p:txBody>
      </p:sp>
      <p:sp>
        <p:nvSpPr>
          <p:cNvPr id="12" name="Slide Number Placeholder 28"/>
          <p:cNvSpPr>
            <a:spLocks noGrp="1"/>
          </p:cNvSpPr>
          <p:nvPr>
            <p:ph type="sldNum" sz="quarter" idx="12"/>
          </p:nvPr>
        </p:nvSpPr>
        <p:spPr>
          <a:xfrm>
            <a:off x="8001000" y="228600"/>
            <a:ext cx="838200" cy="381000"/>
          </a:xfrm>
        </p:spPr>
        <p:txBody>
          <a:bodyPr/>
          <a:lstStyle>
            <a:lvl1pPr>
              <a:defRPr smtClean="0">
                <a:solidFill>
                  <a:schemeClr val="tx2"/>
                </a:solidFill>
              </a:defRPr>
            </a:lvl1pPr>
          </a:lstStyle>
          <a:p>
            <a:pPr>
              <a:defRPr/>
            </a:pPr>
            <a:fld id="{4AD75F4E-6B14-4496-B5DD-09469740E8DE}" type="slidenum">
              <a:rPr lang="en-US">
                <a:solidFill>
                  <a:srgbClr val="EBDDC3"/>
                </a:solidFill>
              </a:rPr>
              <a:pPr>
                <a:defRPr/>
              </a:pPr>
              <a:t>‹#›</a:t>
            </a:fld>
            <a:endParaRPr lang="en-US">
              <a:solidFill>
                <a:srgbClr val="EBDDC3"/>
              </a:solidFill>
            </a:endParaRPr>
          </a:p>
        </p:txBody>
      </p:sp>
    </p:spTree>
    <p:extLst>
      <p:ext uri="{BB962C8B-B14F-4D97-AF65-F5344CB8AC3E}">
        <p14:creationId xmlns:p14="http://schemas.microsoft.com/office/powerpoint/2010/main" val="3623614991"/>
      </p:ext>
    </p:extLst>
  </p:cSld>
  <p:clrMapOvr>
    <a:overrideClrMapping bg1="dk1" tx1="lt1" bg2="dk2" tx2="lt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6" name="Slide Number Placeholder 5"/>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9F2726C-88DC-4955-B4D7-492E7A636B64}"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72442249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6" name="Slide Number Placeholder 5"/>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94B3B14-3824-43E3-BD73-C9D26B063557}"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164898266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6" name="Footer Placeholder 5"/>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7" name="Slide Number Placeholder 6"/>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EEAD88D-841F-4300-8178-0B344F7A3434}"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5345978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8" name="Footer Placeholder 7"/>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9" name="Slide Number Placeholder 8"/>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ECB6C82-0DEE-4FEA-B62F-57D879F59CD1}"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30583740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4" name="Footer Placeholder 3"/>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5" name="Slide Number Placeholder 4"/>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4CFDB6C-AA05-481D-AD33-F3C3155B2AAB}"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116221986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3" name="Footer Placeholder 2"/>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4" name="Slide Number Placeholder 3"/>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F6E5077-BAE0-40D5-A8FE-155F3872B552}"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325885279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6" name="Footer Placeholder 5"/>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7" name="Slide Number Placeholder 6"/>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4B9DC58-362E-4B03-B27E-57CA9F8CD7E6}"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130808887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6" name="Footer Placeholder 5"/>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7" name="Slide Number Placeholder 6"/>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14295CC-B4CB-495C-8F8F-45695A9907A6}"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337949814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6" name="Slide Number Placeholder 5"/>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2241E15-FD6C-4DE2-8BDF-3EADDD21AD94}"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182822426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28600"/>
            <a:ext cx="2057400" cy="5867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28600"/>
            <a:ext cx="6019800" cy="5867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6" name="Slide Number Placeholder 5"/>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8D0760C-9E1E-4092-B726-07977206B484}"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13471107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8153400" cy="990600"/>
          </a:xfrm>
        </p:spPr>
        <p:txBody>
          <a:bodyPr/>
          <a:lstStyle/>
          <a:p>
            <a:r>
              <a:rPr lang="en-US" smtClean="0"/>
              <a:t>Click to edit Master title style</a:t>
            </a:r>
            <a:endParaRPr lang="en-US"/>
          </a:p>
        </p:txBody>
      </p:sp>
      <p:sp>
        <p:nvSpPr>
          <p:cNvPr id="8" name="Content Placeholder 7"/>
          <p:cNvSpPr>
            <a:spLocks noGrp="1"/>
          </p:cNvSpPr>
          <p:nvPr>
            <p:ph sz="quarter" idx="1"/>
          </p:nvPr>
        </p:nvSpPr>
        <p:spPr>
          <a:xfrm>
            <a:off x="612648" y="1600200"/>
            <a:ext cx="81534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a:defRPr/>
            </a:pPr>
            <a:endParaRPr lang="en-US">
              <a:solidFill>
                <a:srgbClr val="775F55"/>
              </a:solidFill>
            </a:endParaRPr>
          </a:p>
        </p:txBody>
      </p:sp>
      <p:sp>
        <p:nvSpPr>
          <p:cNvPr id="5" name="Footer Placeholder 2"/>
          <p:cNvSpPr>
            <a:spLocks noGrp="1"/>
          </p:cNvSpPr>
          <p:nvPr>
            <p:ph type="ftr" sz="quarter" idx="11"/>
          </p:nvPr>
        </p:nvSpPr>
        <p:spPr/>
        <p:txBody>
          <a:bodyPr/>
          <a:lstStyle>
            <a:lvl1pPr>
              <a:defRPr/>
            </a:lvl1pPr>
          </a:lstStyle>
          <a:p>
            <a:pPr>
              <a:defRPr/>
            </a:pPr>
            <a:endParaRPr lang="en-US">
              <a:solidFill>
                <a:srgbClr val="775F55"/>
              </a:solidFill>
            </a:endParaRPr>
          </a:p>
        </p:txBody>
      </p:sp>
      <p:sp>
        <p:nvSpPr>
          <p:cNvPr id="6" name="Slide Number Placeholder 22"/>
          <p:cNvSpPr>
            <a:spLocks noGrp="1"/>
          </p:cNvSpPr>
          <p:nvPr>
            <p:ph type="sldNum" sz="quarter" idx="12"/>
          </p:nvPr>
        </p:nvSpPr>
        <p:spPr/>
        <p:txBody>
          <a:bodyPr/>
          <a:lstStyle>
            <a:lvl1pPr>
              <a:defRPr/>
            </a:lvl1pPr>
          </a:lstStyle>
          <a:p>
            <a:pPr>
              <a:defRPr/>
            </a:pPr>
            <a:fld id="{4F95FE52-AB0C-4A90-BA34-DF619B443935}" type="slidenum">
              <a:rPr lang="en-US"/>
              <a:pPr>
                <a:defRPr/>
              </a:pPr>
              <a:t>‹#›</a:t>
            </a:fld>
            <a:endParaRPr lang="en-US"/>
          </a:p>
        </p:txBody>
      </p:sp>
    </p:spTree>
    <p:extLst>
      <p:ext uri="{BB962C8B-B14F-4D97-AF65-F5344CB8AC3E}">
        <p14:creationId xmlns:p14="http://schemas.microsoft.com/office/powerpoint/2010/main" val="53514928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0"/>
            <a:ext cx="4038600" cy="21717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24300"/>
            <a:ext cx="4038600" cy="21717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5"/>
          <p:cNvSpPr>
            <a:spLocks noGrp="1"/>
          </p:cNvSpPr>
          <p:nvPr>
            <p:ph type="dt" sz="half" idx="10"/>
          </p:nvPr>
        </p:nvSpPr>
        <p:spPr>
          <a:xfrm>
            <a:off x="457200" y="6248400"/>
            <a:ext cx="2133600" cy="457200"/>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7" name="Footer Placeholder 6"/>
          <p:cNvSpPr>
            <a:spLocks noGrp="1"/>
          </p:cNvSpPr>
          <p:nvPr>
            <p:ph type="ftr" sz="quarter" idx="11"/>
          </p:nvPr>
        </p:nvSpPr>
        <p:spPr>
          <a:xfrm>
            <a:off x="3124200" y="6248400"/>
            <a:ext cx="2895600" cy="457200"/>
          </a:xfrm>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8" name="Slide Number Placeholder 7"/>
          <p:cNvSpPr>
            <a:spLocks noGrp="1"/>
          </p:cNvSpPr>
          <p:nvPr>
            <p:ph type="sldNum" sz="quarter" idx="12"/>
          </p:nvPr>
        </p:nvSpPr>
        <p:spPr>
          <a:xfrm>
            <a:off x="6553200" y="6248400"/>
            <a:ext cx="2133600" cy="457200"/>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6CE7B80-2D25-4100-9300-6FBD8E2B0767}"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62243079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248400"/>
            <a:ext cx="2133600" cy="457200"/>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6" name="Footer Placeholder 5"/>
          <p:cNvSpPr>
            <a:spLocks noGrp="1"/>
          </p:cNvSpPr>
          <p:nvPr>
            <p:ph type="ftr" sz="quarter" idx="11"/>
          </p:nvPr>
        </p:nvSpPr>
        <p:spPr>
          <a:xfrm>
            <a:off x="3124200" y="6248400"/>
            <a:ext cx="2895600" cy="457200"/>
          </a:xfrm>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7" name="Slide Number Placeholder 6"/>
          <p:cNvSpPr>
            <a:spLocks noGrp="1"/>
          </p:cNvSpPr>
          <p:nvPr>
            <p:ph type="sldNum" sz="quarter" idx="12"/>
          </p:nvPr>
        </p:nvSpPr>
        <p:spPr>
          <a:xfrm>
            <a:off x="6553200" y="6248400"/>
            <a:ext cx="2133600" cy="457200"/>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4637139-4836-4E25-8D0C-A108A71EAC6F}"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24246062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28600"/>
            <a:ext cx="8229600" cy="5867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2"/>
          <p:cNvSpPr>
            <a:spLocks noGrp="1"/>
          </p:cNvSpPr>
          <p:nvPr>
            <p:ph type="dt" sz="half" idx="10"/>
          </p:nvPr>
        </p:nvSpPr>
        <p:spPr>
          <a:xfrm>
            <a:off x="457200" y="6248400"/>
            <a:ext cx="2133600" cy="457200"/>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4" name="Footer Placeholder 3"/>
          <p:cNvSpPr>
            <a:spLocks noGrp="1"/>
          </p:cNvSpPr>
          <p:nvPr>
            <p:ph type="ftr" sz="quarter" idx="11"/>
          </p:nvPr>
        </p:nvSpPr>
        <p:spPr>
          <a:xfrm>
            <a:off x="3124200" y="6248400"/>
            <a:ext cx="2895600" cy="457200"/>
          </a:xfrm>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5" name="Slide Number Placeholder 4"/>
          <p:cNvSpPr>
            <a:spLocks noGrp="1"/>
          </p:cNvSpPr>
          <p:nvPr>
            <p:ph type="sldNum" sz="quarter" idx="12"/>
          </p:nvPr>
        </p:nvSpPr>
        <p:spPr>
          <a:xfrm>
            <a:off x="6553200" y="6248400"/>
            <a:ext cx="2133600" cy="457200"/>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9AA9CBD-D179-4F75-892D-201C4AD92F0B}"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344188459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79197055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413668800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309475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页脚占位符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7" name="灯片编号占位符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05399319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8" name="页脚占位符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9" name="灯片编号占位符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3773100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4" name="页脚占位符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灯片编号占位符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466190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3" name="页脚占位符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5206908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10"/>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5" name="Rectangle 11"/>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6" name="Rectangle 14"/>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3" name="Text Placeholder 2"/>
          <p:cNvSpPr>
            <a:spLocks noGrp="1"/>
          </p:cNvSpPr>
          <p:nvPr>
            <p:ph type="body" idx="1"/>
          </p:nvPr>
        </p:nvSpPr>
        <p:spPr>
          <a:xfrm>
            <a:off x="1371600" y="2743200"/>
            <a:ext cx="7123113" cy="1673225"/>
          </a:xfrm>
        </p:spPr>
        <p:txBody>
          <a:bodyPr/>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lang="en-US" smtClean="0"/>
              <a:t>Click to edit Master title style</a:t>
            </a:r>
            <a:endParaRPr lang="en-US"/>
          </a:p>
        </p:txBody>
      </p:sp>
      <p:sp>
        <p:nvSpPr>
          <p:cNvPr id="7" name="Date Placeholder 11"/>
          <p:cNvSpPr>
            <a:spLocks noGrp="1"/>
          </p:cNvSpPr>
          <p:nvPr>
            <p:ph type="dt" sz="half" idx="10"/>
          </p:nvPr>
        </p:nvSpPr>
        <p:spPr/>
        <p:txBody>
          <a:bodyPr/>
          <a:lstStyle>
            <a:lvl1pPr>
              <a:defRPr/>
            </a:lvl1pPr>
          </a:lstStyle>
          <a:p>
            <a:pPr>
              <a:defRPr/>
            </a:pPr>
            <a:endParaRPr lang="en-US">
              <a:solidFill>
                <a:srgbClr val="775F55"/>
              </a:solidFill>
            </a:endParaRPr>
          </a:p>
        </p:txBody>
      </p:sp>
      <p:sp>
        <p:nvSpPr>
          <p:cNvPr id="8" name="Slide Number Placeholder 12"/>
          <p:cNvSpPr>
            <a:spLocks noGrp="1"/>
          </p:cNvSpPr>
          <p:nvPr>
            <p:ph type="sldNum" sz="quarter" idx="11"/>
          </p:nvPr>
        </p:nvSpPr>
        <p:spPr>
          <a:xfrm>
            <a:off x="0" y="1752600"/>
            <a:ext cx="1295400" cy="701675"/>
          </a:xfrm>
        </p:spPr>
        <p:txBody>
          <a:bodyPr>
            <a:noAutofit/>
          </a:bodyPr>
          <a:lstStyle>
            <a:lvl1pPr>
              <a:defRPr sz="2400" smtClean="0">
                <a:solidFill>
                  <a:srgbClr val="FFFFFF"/>
                </a:solidFill>
              </a:defRPr>
            </a:lvl1pPr>
          </a:lstStyle>
          <a:p>
            <a:pPr>
              <a:defRPr/>
            </a:pPr>
            <a:fld id="{190AF9B6-44FD-4720-B8C6-8E2A6877A4A9}" type="slidenum">
              <a:rPr lang="en-US"/>
              <a:pPr>
                <a:defRPr/>
              </a:pPr>
              <a:t>‹#›</a:t>
            </a:fld>
            <a:endParaRPr lang="en-US"/>
          </a:p>
        </p:txBody>
      </p:sp>
      <p:sp>
        <p:nvSpPr>
          <p:cNvPr id="9" name="Footer Placeholder 13"/>
          <p:cNvSpPr>
            <a:spLocks noGrp="1"/>
          </p:cNvSpPr>
          <p:nvPr>
            <p:ph type="ftr" sz="quarter" idx="12"/>
          </p:nvPr>
        </p:nvSpPr>
        <p:spPr/>
        <p:txBody>
          <a:bodyPr/>
          <a:lstStyle>
            <a:lvl1pPr>
              <a:defRPr/>
            </a:lvl1pPr>
          </a:lstStyle>
          <a:p>
            <a:pPr>
              <a:defRPr/>
            </a:pPr>
            <a:endParaRPr lang="en-US">
              <a:solidFill>
                <a:srgbClr val="775F55"/>
              </a:solidFill>
            </a:endParaRPr>
          </a:p>
        </p:txBody>
      </p:sp>
    </p:spTree>
    <p:extLst>
      <p:ext uri="{BB962C8B-B14F-4D97-AF65-F5344CB8AC3E}">
        <p14:creationId xmlns:p14="http://schemas.microsoft.com/office/powerpoint/2010/main" val="761464832"/>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页脚占位符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7" name="灯片编号占位符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91816944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页脚占位符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7" name="灯片编号占位符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52757549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49198697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9498893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2" name="Group 2"/>
          <p:cNvGrpSpPr>
            <a:grpSpLocks/>
          </p:cNvGrpSpPr>
          <p:nvPr/>
        </p:nvGrpSpPr>
        <p:grpSpPr bwMode="auto">
          <a:xfrm>
            <a:off x="-6350" y="20638"/>
            <a:ext cx="9144000" cy="6858000"/>
            <a:chOff x="0" y="0"/>
            <a:chExt cx="5760" cy="4320"/>
          </a:xfrm>
        </p:grpSpPr>
        <p:sp>
          <p:nvSpPr>
            <p:cNvPr id="10243" name="Freeform 3"/>
            <p:cNvSpPr>
              <a:spLocks/>
            </p:cNvSpPr>
            <p:nvPr/>
          </p:nvSpPr>
          <p:spPr bwMode="hidden">
            <a:xfrm>
              <a:off x="0" y="3072"/>
              <a:ext cx="5760" cy="1248"/>
            </a:xfrm>
            <a:custGeom>
              <a:avLst/>
              <a:gdLst/>
              <a:ahLst/>
              <a:cxnLst>
                <a:cxn ang="0">
                  <a:pos x="6027" y="2296"/>
                </a:cxn>
                <a:cxn ang="0">
                  <a:pos x="0" y="2296"/>
                </a:cxn>
                <a:cxn ang="0">
                  <a:pos x="0" y="0"/>
                </a:cxn>
                <a:cxn ang="0">
                  <a:pos x="6027" y="0"/>
                </a:cxn>
                <a:cxn ang="0">
                  <a:pos x="6027" y="2296"/>
                </a:cxn>
                <a:cxn ang="0">
                  <a:pos x="6027" y="2296"/>
                </a:cxn>
              </a:cxnLst>
              <a:rect l="0" t="0" r="r" b="b"/>
              <a:pathLst>
                <a:path w="6027" h="2296">
                  <a:moveTo>
                    <a:pt x="6027" y="2296"/>
                  </a:moveTo>
                  <a:lnTo>
                    <a:pt x="0" y="2296"/>
                  </a:lnTo>
                  <a:lnTo>
                    <a:pt x="0" y="0"/>
                  </a:lnTo>
                  <a:lnTo>
                    <a:pt x="6027" y="0"/>
                  </a:lnTo>
                  <a:lnTo>
                    <a:pt x="6027" y="2296"/>
                  </a:lnTo>
                  <a:lnTo>
                    <a:pt x="6027" y="2296"/>
                  </a:lnTo>
                  <a:close/>
                </a:path>
              </a:pathLst>
            </a:custGeom>
            <a:gradFill rotWithShape="0">
              <a:gsLst>
                <a:gs pos="0">
                  <a:schemeClr val="bg1"/>
                </a:gs>
                <a:gs pos="100000">
                  <a:schemeClr val="accent2"/>
                </a:gs>
              </a:gsLst>
              <a:lin ang="54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44" name="Freeform 4"/>
            <p:cNvSpPr>
              <a:spLocks/>
            </p:cNvSpPr>
            <p:nvPr/>
          </p:nvSpPr>
          <p:spPr bwMode="hidden">
            <a:xfrm>
              <a:off x="0" y="0"/>
              <a:ext cx="5760" cy="3072"/>
            </a:xfrm>
            <a:custGeom>
              <a:avLst/>
              <a:gdLst/>
              <a:ahLst/>
              <a:cxnLst>
                <a:cxn ang="0">
                  <a:pos x="6027" y="2296"/>
                </a:cxn>
                <a:cxn ang="0">
                  <a:pos x="0" y="2296"/>
                </a:cxn>
                <a:cxn ang="0">
                  <a:pos x="0" y="0"/>
                </a:cxn>
                <a:cxn ang="0">
                  <a:pos x="6027" y="0"/>
                </a:cxn>
                <a:cxn ang="0">
                  <a:pos x="6027" y="2296"/>
                </a:cxn>
                <a:cxn ang="0">
                  <a:pos x="6027" y="2296"/>
                </a:cxn>
              </a:cxnLst>
              <a:rect l="0" t="0" r="r" b="b"/>
              <a:pathLst>
                <a:path w="6027" h="2296">
                  <a:moveTo>
                    <a:pt x="6027" y="2296"/>
                  </a:moveTo>
                  <a:lnTo>
                    <a:pt x="0" y="2296"/>
                  </a:lnTo>
                  <a:lnTo>
                    <a:pt x="0" y="0"/>
                  </a:lnTo>
                  <a:lnTo>
                    <a:pt x="6027" y="0"/>
                  </a:lnTo>
                  <a:lnTo>
                    <a:pt x="6027" y="2296"/>
                  </a:lnTo>
                  <a:lnTo>
                    <a:pt x="6027" y="2296"/>
                  </a:lnTo>
                  <a:close/>
                </a:path>
              </a:pathLst>
            </a:custGeom>
            <a:gradFill rotWithShape="0">
              <a:gsLst>
                <a:gs pos="0">
                  <a:schemeClr val="bg1">
                    <a:gamma/>
                    <a:shade val="46275"/>
                    <a:invGamma/>
                  </a:schemeClr>
                </a:gs>
                <a:gs pos="100000">
                  <a:schemeClr val="bg1"/>
                </a:gs>
              </a:gsLst>
              <a:lin ang="54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sp>
        <p:nvSpPr>
          <p:cNvPr id="10245" name="Freeform 5"/>
          <p:cNvSpPr>
            <a:spLocks/>
          </p:cNvSpPr>
          <p:nvPr/>
        </p:nvSpPr>
        <p:spPr bwMode="hidden">
          <a:xfrm>
            <a:off x="6242050" y="6269038"/>
            <a:ext cx="2895600" cy="609600"/>
          </a:xfrm>
          <a:custGeom>
            <a:avLst/>
            <a:gdLst/>
            <a:ahLst/>
            <a:cxnLst>
              <a:cxn ang="0">
                <a:pos x="5748" y="246"/>
              </a:cxn>
              <a:cxn ang="0">
                <a:pos x="0" y="246"/>
              </a:cxn>
              <a:cxn ang="0">
                <a:pos x="0" y="0"/>
              </a:cxn>
              <a:cxn ang="0">
                <a:pos x="5748" y="0"/>
              </a:cxn>
              <a:cxn ang="0">
                <a:pos x="5748" y="246"/>
              </a:cxn>
              <a:cxn ang="0">
                <a:pos x="5748" y="246"/>
              </a:cxn>
            </a:cxnLst>
            <a:rect l="0" t="0" r="r" b="b"/>
            <a:pathLst>
              <a:path w="5748" h="246">
                <a:moveTo>
                  <a:pt x="5748" y="246"/>
                </a:moveTo>
                <a:lnTo>
                  <a:pt x="0" y="246"/>
                </a:lnTo>
                <a:lnTo>
                  <a:pt x="0" y="0"/>
                </a:lnTo>
                <a:lnTo>
                  <a:pt x="5748" y="0"/>
                </a:lnTo>
                <a:lnTo>
                  <a:pt x="5748" y="246"/>
                </a:lnTo>
                <a:lnTo>
                  <a:pt x="5748" y="246"/>
                </a:lnTo>
                <a:close/>
              </a:path>
            </a:pathLst>
          </a:custGeom>
          <a:gradFill rotWithShape="0">
            <a:gsLst>
              <a:gs pos="0">
                <a:schemeClr val="bg1"/>
              </a:gs>
              <a:gs pos="100000">
                <a:schemeClr val="hlink"/>
              </a:gs>
            </a:gsLst>
            <a:lin ang="189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nvGrpSpPr>
          <p:cNvPr id="3" name="Group 6"/>
          <p:cNvGrpSpPr>
            <a:grpSpLocks/>
          </p:cNvGrpSpPr>
          <p:nvPr/>
        </p:nvGrpSpPr>
        <p:grpSpPr bwMode="auto">
          <a:xfrm>
            <a:off x="-1588" y="6034088"/>
            <a:ext cx="7845426" cy="850900"/>
            <a:chOff x="0" y="3792"/>
            <a:chExt cx="4942" cy="536"/>
          </a:xfrm>
        </p:grpSpPr>
        <p:sp>
          <p:nvSpPr>
            <p:cNvPr id="10247" name="Freeform 7"/>
            <p:cNvSpPr>
              <a:spLocks/>
            </p:cNvSpPr>
            <p:nvPr userDrawn="1"/>
          </p:nvSpPr>
          <p:spPr bwMode="ltGray">
            <a:xfrm>
              <a:off x="1488" y="3792"/>
              <a:ext cx="3240" cy="536"/>
            </a:xfrm>
            <a:custGeom>
              <a:avLst/>
              <a:gdLst/>
              <a:ahLst/>
              <a:cxnLst>
                <a:cxn ang="0">
                  <a:pos x="3132" y="469"/>
                </a:cxn>
                <a:cxn ang="0">
                  <a:pos x="2995" y="395"/>
                </a:cxn>
                <a:cxn ang="0">
                  <a:pos x="2911" y="375"/>
                </a:cxn>
                <a:cxn ang="0">
                  <a:pos x="2678" y="228"/>
                </a:cxn>
                <a:cxn ang="0">
                  <a:pos x="2553" y="74"/>
                </a:cxn>
                <a:cxn ang="0">
                  <a:pos x="2457" y="7"/>
                </a:cxn>
                <a:cxn ang="0">
                  <a:pos x="2403" y="47"/>
                </a:cxn>
                <a:cxn ang="0">
                  <a:pos x="2289" y="74"/>
                </a:cxn>
                <a:cxn ang="0">
                  <a:pos x="2134" y="74"/>
                </a:cxn>
                <a:cxn ang="0">
                  <a:pos x="2044" y="128"/>
                </a:cxn>
                <a:cxn ang="0">
                  <a:pos x="1775" y="222"/>
                </a:cxn>
                <a:cxn ang="0">
                  <a:pos x="1602" y="181"/>
                </a:cxn>
                <a:cxn ang="0">
                  <a:pos x="1560" y="101"/>
                </a:cxn>
                <a:cxn ang="0">
                  <a:pos x="1542" y="87"/>
                </a:cxn>
                <a:cxn ang="0">
                  <a:pos x="1446" y="60"/>
                </a:cxn>
                <a:cxn ang="0">
                  <a:pos x="1375" y="74"/>
                </a:cxn>
                <a:cxn ang="0">
                  <a:pos x="1309" y="87"/>
                </a:cxn>
                <a:cxn ang="0">
                  <a:pos x="1243" y="13"/>
                </a:cxn>
                <a:cxn ang="0">
                  <a:pos x="1225" y="0"/>
                </a:cxn>
                <a:cxn ang="0">
                  <a:pos x="1189" y="0"/>
                </a:cxn>
                <a:cxn ang="0">
                  <a:pos x="1106" y="34"/>
                </a:cxn>
                <a:cxn ang="0">
                  <a:pos x="1106" y="34"/>
                </a:cxn>
                <a:cxn ang="0">
                  <a:pos x="1094" y="40"/>
                </a:cxn>
                <a:cxn ang="0">
                  <a:pos x="1070" y="54"/>
                </a:cxn>
                <a:cxn ang="0">
                  <a:pos x="1034" y="74"/>
                </a:cxn>
                <a:cxn ang="0">
                  <a:pos x="1004" y="74"/>
                </a:cxn>
                <a:cxn ang="0">
                  <a:pos x="986" y="74"/>
                </a:cxn>
                <a:cxn ang="0">
                  <a:pos x="956" y="81"/>
                </a:cxn>
                <a:cxn ang="0">
                  <a:pos x="920" y="94"/>
                </a:cxn>
                <a:cxn ang="0">
                  <a:pos x="884" y="107"/>
                </a:cxn>
                <a:cxn ang="0">
                  <a:pos x="843" y="128"/>
                </a:cxn>
                <a:cxn ang="0">
                  <a:pos x="813" y="141"/>
                </a:cxn>
                <a:cxn ang="0">
                  <a:pos x="789" y="148"/>
                </a:cxn>
                <a:cxn ang="0">
                  <a:pos x="783" y="154"/>
                </a:cxn>
                <a:cxn ang="0">
                  <a:pos x="556" y="228"/>
                </a:cxn>
                <a:cxn ang="0">
                  <a:pos x="394" y="294"/>
                </a:cxn>
                <a:cxn ang="0">
                  <a:pos x="107" y="462"/>
                </a:cxn>
                <a:cxn ang="0">
                  <a:pos x="0" y="536"/>
                </a:cxn>
                <a:cxn ang="0">
                  <a:pos x="3240" y="536"/>
                </a:cxn>
                <a:cxn ang="0">
                  <a:pos x="3132" y="469"/>
                </a:cxn>
                <a:cxn ang="0">
                  <a:pos x="3132" y="469"/>
                </a:cxn>
              </a:cxnLst>
              <a:rect l="0" t="0" r="r" b="b"/>
              <a:pathLst>
                <a:path w="3240" h="536">
                  <a:moveTo>
                    <a:pt x="3132" y="469"/>
                  </a:moveTo>
                  <a:lnTo>
                    <a:pt x="2995" y="395"/>
                  </a:lnTo>
                  <a:lnTo>
                    <a:pt x="2911" y="375"/>
                  </a:lnTo>
                  <a:lnTo>
                    <a:pt x="2678" y="228"/>
                  </a:lnTo>
                  <a:lnTo>
                    <a:pt x="2553" y="74"/>
                  </a:lnTo>
                  <a:lnTo>
                    <a:pt x="2457" y="7"/>
                  </a:lnTo>
                  <a:lnTo>
                    <a:pt x="2403" y="47"/>
                  </a:lnTo>
                  <a:lnTo>
                    <a:pt x="2289" y="74"/>
                  </a:lnTo>
                  <a:lnTo>
                    <a:pt x="2134" y="74"/>
                  </a:lnTo>
                  <a:lnTo>
                    <a:pt x="2044" y="128"/>
                  </a:lnTo>
                  <a:lnTo>
                    <a:pt x="1775" y="222"/>
                  </a:lnTo>
                  <a:lnTo>
                    <a:pt x="1602" y="181"/>
                  </a:lnTo>
                  <a:lnTo>
                    <a:pt x="1560" y="101"/>
                  </a:lnTo>
                  <a:lnTo>
                    <a:pt x="1542" y="87"/>
                  </a:lnTo>
                  <a:lnTo>
                    <a:pt x="1446" y="60"/>
                  </a:lnTo>
                  <a:lnTo>
                    <a:pt x="1375" y="74"/>
                  </a:lnTo>
                  <a:lnTo>
                    <a:pt x="1309" y="87"/>
                  </a:lnTo>
                  <a:lnTo>
                    <a:pt x="1243" y="13"/>
                  </a:lnTo>
                  <a:lnTo>
                    <a:pt x="1225" y="0"/>
                  </a:lnTo>
                  <a:lnTo>
                    <a:pt x="1189" y="0"/>
                  </a:lnTo>
                  <a:lnTo>
                    <a:pt x="1106" y="34"/>
                  </a:lnTo>
                  <a:lnTo>
                    <a:pt x="1106" y="34"/>
                  </a:lnTo>
                  <a:lnTo>
                    <a:pt x="1094" y="40"/>
                  </a:lnTo>
                  <a:lnTo>
                    <a:pt x="1070" y="54"/>
                  </a:lnTo>
                  <a:lnTo>
                    <a:pt x="1034" y="74"/>
                  </a:lnTo>
                  <a:lnTo>
                    <a:pt x="1004" y="74"/>
                  </a:lnTo>
                  <a:lnTo>
                    <a:pt x="986" y="74"/>
                  </a:lnTo>
                  <a:lnTo>
                    <a:pt x="956" y="81"/>
                  </a:lnTo>
                  <a:lnTo>
                    <a:pt x="920" y="94"/>
                  </a:lnTo>
                  <a:lnTo>
                    <a:pt x="884" y="107"/>
                  </a:lnTo>
                  <a:lnTo>
                    <a:pt x="843" y="128"/>
                  </a:lnTo>
                  <a:lnTo>
                    <a:pt x="813" y="141"/>
                  </a:lnTo>
                  <a:lnTo>
                    <a:pt x="789" y="148"/>
                  </a:lnTo>
                  <a:lnTo>
                    <a:pt x="783" y="154"/>
                  </a:lnTo>
                  <a:lnTo>
                    <a:pt x="556" y="228"/>
                  </a:lnTo>
                  <a:lnTo>
                    <a:pt x="394" y="294"/>
                  </a:lnTo>
                  <a:lnTo>
                    <a:pt x="107" y="462"/>
                  </a:lnTo>
                  <a:lnTo>
                    <a:pt x="0" y="536"/>
                  </a:lnTo>
                  <a:lnTo>
                    <a:pt x="3240" y="536"/>
                  </a:lnTo>
                  <a:lnTo>
                    <a:pt x="3132" y="469"/>
                  </a:lnTo>
                  <a:lnTo>
                    <a:pt x="3132" y="469"/>
                  </a:lnTo>
                  <a:close/>
                </a:path>
              </a:pathLst>
            </a:custGeom>
            <a:gradFill rotWithShape="0">
              <a:gsLst>
                <a:gs pos="0">
                  <a:schemeClr val="bg2">
                    <a:gamma/>
                    <a:tint val="66667"/>
                    <a:invGamma/>
                  </a:schemeClr>
                </a:gs>
                <a:gs pos="100000">
                  <a:schemeClr val="bg2"/>
                </a:gs>
              </a:gsLst>
              <a:lin ang="54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nvGrpSpPr>
            <p:cNvPr id="4" name="Group 8"/>
            <p:cNvGrpSpPr>
              <a:grpSpLocks/>
            </p:cNvGrpSpPr>
            <p:nvPr userDrawn="1"/>
          </p:nvGrpSpPr>
          <p:grpSpPr bwMode="auto">
            <a:xfrm>
              <a:off x="2486" y="3792"/>
              <a:ext cx="2456" cy="536"/>
              <a:chOff x="2486" y="3792"/>
              <a:chExt cx="2456" cy="536"/>
            </a:xfrm>
          </p:grpSpPr>
          <p:sp>
            <p:nvSpPr>
              <p:cNvPr id="10249" name="Freeform 9"/>
              <p:cNvSpPr>
                <a:spLocks/>
              </p:cNvSpPr>
              <p:nvPr userDrawn="1"/>
            </p:nvSpPr>
            <p:spPr bwMode="ltGray">
              <a:xfrm>
                <a:off x="3948" y="3799"/>
                <a:ext cx="994" cy="529"/>
              </a:xfrm>
              <a:custGeom>
                <a:avLst/>
                <a:gdLst/>
                <a:ahLst/>
                <a:cxnLst>
                  <a:cxn ang="0">
                    <a:pos x="636" y="373"/>
                  </a:cxn>
                  <a:cxn ang="0">
                    <a:pos x="495" y="370"/>
                  </a:cxn>
                  <a:cxn ang="0">
                    <a:pos x="280" y="249"/>
                  </a:cxn>
                  <a:cxn ang="0">
                    <a:pos x="127" y="66"/>
                  </a:cxn>
                  <a:cxn ang="0">
                    <a:pos x="0" y="0"/>
                  </a:cxn>
                  <a:cxn ang="0">
                    <a:pos x="22" y="26"/>
                  </a:cxn>
                  <a:cxn ang="0">
                    <a:pos x="0" y="65"/>
                  </a:cxn>
                  <a:cxn ang="0">
                    <a:pos x="30" y="119"/>
                  </a:cxn>
                  <a:cxn ang="0">
                    <a:pos x="75" y="243"/>
                  </a:cxn>
                  <a:cxn ang="0">
                    <a:pos x="45" y="422"/>
                  </a:cxn>
                  <a:cxn ang="0">
                    <a:pos x="200" y="329"/>
                  </a:cxn>
                  <a:cxn ang="0">
                    <a:pos x="592" y="527"/>
                  </a:cxn>
                  <a:cxn ang="0">
                    <a:pos x="994" y="529"/>
                  </a:cxn>
                  <a:cxn ang="0">
                    <a:pos x="828" y="473"/>
                  </a:cxn>
                  <a:cxn ang="0">
                    <a:pos x="636" y="373"/>
                  </a:cxn>
                </a:cxnLst>
                <a:rect l="0" t="0" r="r" b="b"/>
                <a:pathLst>
                  <a:path w="994" h="529">
                    <a:moveTo>
                      <a:pt x="636" y="373"/>
                    </a:moveTo>
                    <a:lnTo>
                      <a:pt x="495" y="370"/>
                    </a:lnTo>
                    <a:lnTo>
                      <a:pt x="280" y="249"/>
                    </a:lnTo>
                    <a:lnTo>
                      <a:pt x="127" y="66"/>
                    </a:lnTo>
                    <a:lnTo>
                      <a:pt x="0" y="0"/>
                    </a:lnTo>
                    <a:lnTo>
                      <a:pt x="22" y="26"/>
                    </a:lnTo>
                    <a:lnTo>
                      <a:pt x="0" y="65"/>
                    </a:lnTo>
                    <a:lnTo>
                      <a:pt x="30" y="119"/>
                    </a:lnTo>
                    <a:lnTo>
                      <a:pt x="75" y="243"/>
                    </a:lnTo>
                    <a:lnTo>
                      <a:pt x="45" y="422"/>
                    </a:lnTo>
                    <a:lnTo>
                      <a:pt x="200" y="329"/>
                    </a:lnTo>
                    <a:lnTo>
                      <a:pt x="592" y="527"/>
                    </a:lnTo>
                    <a:lnTo>
                      <a:pt x="994" y="529"/>
                    </a:lnTo>
                    <a:lnTo>
                      <a:pt x="828" y="473"/>
                    </a:lnTo>
                    <a:lnTo>
                      <a:pt x="636" y="373"/>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50" name="Freeform 10"/>
              <p:cNvSpPr>
                <a:spLocks/>
              </p:cNvSpPr>
              <p:nvPr userDrawn="1"/>
            </p:nvSpPr>
            <p:spPr bwMode="ltGray">
              <a:xfrm>
                <a:off x="2677" y="3792"/>
                <a:ext cx="186" cy="395"/>
              </a:xfrm>
              <a:custGeom>
                <a:avLst/>
                <a:gdLst/>
                <a:ahLst/>
                <a:cxnLst>
                  <a:cxn ang="0">
                    <a:pos x="36" y="0"/>
                  </a:cxn>
                  <a:cxn ang="0">
                    <a:pos x="54" y="18"/>
                  </a:cxn>
                  <a:cxn ang="0">
                    <a:pos x="24" y="30"/>
                  </a:cxn>
                  <a:cxn ang="0">
                    <a:pos x="18" y="66"/>
                  </a:cxn>
                  <a:cxn ang="0">
                    <a:pos x="42" y="114"/>
                  </a:cxn>
                  <a:cxn ang="0">
                    <a:pos x="48" y="162"/>
                  </a:cxn>
                  <a:cxn ang="0">
                    <a:pos x="0" y="353"/>
                  </a:cxn>
                  <a:cxn ang="0">
                    <a:pos x="54" y="233"/>
                  </a:cxn>
                  <a:cxn ang="0">
                    <a:pos x="84" y="216"/>
                  </a:cxn>
                  <a:cxn ang="0">
                    <a:pos x="126" y="126"/>
                  </a:cxn>
                  <a:cxn ang="0">
                    <a:pos x="144" y="120"/>
                  </a:cxn>
                  <a:cxn ang="0">
                    <a:pos x="144" y="90"/>
                  </a:cxn>
                  <a:cxn ang="0">
                    <a:pos x="186" y="66"/>
                  </a:cxn>
                  <a:cxn ang="0">
                    <a:pos x="162" y="60"/>
                  </a:cxn>
                  <a:cxn ang="0">
                    <a:pos x="36" y="0"/>
                  </a:cxn>
                  <a:cxn ang="0">
                    <a:pos x="36" y="0"/>
                  </a:cxn>
                </a:cxnLst>
                <a:rect l="0" t="0" r="r" b="b"/>
                <a:pathLst>
                  <a:path w="186" h="353">
                    <a:moveTo>
                      <a:pt x="36" y="0"/>
                    </a:moveTo>
                    <a:lnTo>
                      <a:pt x="54" y="18"/>
                    </a:lnTo>
                    <a:lnTo>
                      <a:pt x="24" y="30"/>
                    </a:lnTo>
                    <a:lnTo>
                      <a:pt x="18" y="66"/>
                    </a:lnTo>
                    <a:lnTo>
                      <a:pt x="42" y="114"/>
                    </a:lnTo>
                    <a:lnTo>
                      <a:pt x="48" y="162"/>
                    </a:lnTo>
                    <a:lnTo>
                      <a:pt x="0" y="353"/>
                    </a:lnTo>
                    <a:lnTo>
                      <a:pt x="54" y="233"/>
                    </a:lnTo>
                    <a:lnTo>
                      <a:pt x="84" y="216"/>
                    </a:lnTo>
                    <a:lnTo>
                      <a:pt x="126" y="126"/>
                    </a:lnTo>
                    <a:lnTo>
                      <a:pt x="144" y="120"/>
                    </a:lnTo>
                    <a:lnTo>
                      <a:pt x="144" y="90"/>
                    </a:lnTo>
                    <a:lnTo>
                      <a:pt x="186" y="66"/>
                    </a:lnTo>
                    <a:lnTo>
                      <a:pt x="162" y="60"/>
                    </a:lnTo>
                    <a:lnTo>
                      <a:pt x="36" y="0"/>
                    </a:lnTo>
                    <a:lnTo>
                      <a:pt x="36" y="0"/>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51" name="Freeform 11"/>
              <p:cNvSpPr>
                <a:spLocks/>
              </p:cNvSpPr>
              <p:nvPr userDrawn="1"/>
            </p:nvSpPr>
            <p:spPr bwMode="ltGray">
              <a:xfrm>
                <a:off x="3030" y="3893"/>
                <a:ext cx="378" cy="271"/>
              </a:xfrm>
              <a:custGeom>
                <a:avLst/>
                <a:gdLst/>
                <a:ahLst/>
                <a:cxnLst>
                  <a:cxn ang="0">
                    <a:pos x="18" y="0"/>
                  </a:cxn>
                  <a:cxn ang="0">
                    <a:pos x="12" y="13"/>
                  </a:cxn>
                  <a:cxn ang="0">
                    <a:pos x="0" y="40"/>
                  </a:cxn>
                  <a:cxn ang="0">
                    <a:pos x="60" y="121"/>
                  </a:cxn>
                  <a:cxn ang="0">
                    <a:pos x="310" y="271"/>
                  </a:cxn>
                  <a:cxn ang="0">
                    <a:pos x="290" y="139"/>
                  </a:cxn>
                  <a:cxn ang="0">
                    <a:pos x="378" y="76"/>
                  </a:cxn>
                  <a:cxn ang="0">
                    <a:pos x="251" y="94"/>
                  </a:cxn>
                  <a:cxn ang="0">
                    <a:pos x="90" y="54"/>
                  </a:cxn>
                  <a:cxn ang="0">
                    <a:pos x="18" y="0"/>
                  </a:cxn>
                  <a:cxn ang="0">
                    <a:pos x="18" y="0"/>
                  </a:cxn>
                </a:cxnLst>
                <a:rect l="0" t="0" r="r" b="b"/>
                <a:pathLst>
                  <a:path w="378" h="271">
                    <a:moveTo>
                      <a:pt x="18" y="0"/>
                    </a:moveTo>
                    <a:lnTo>
                      <a:pt x="12" y="13"/>
                    </a:lnTo>
                    <a:lnTo>
                      <a:pt x="0" y="40"/>
                    </a:lnTo>
                    <a:lnTo>
                      <a:pt x="60" y="121"/>
                    </a:lnTo>
                    <a:lnTo>
                      <a:pt x="310" y="271"/>
                    </a:lnTo>
                    <a:lnTo>
                      <a:pt x="290" y="139"/>
                    </a:lnTo>
                    <a:lnTo>
                      <a:pt x="378" y="76"/>
                    </a:lnTo>
                    <a:lnTo>
                      <a:pt x="251" y="94"/>
                    </a:lnTo>
                    <a:lnTo>
                      <a:pt x="90" y="54"/>
                    </a:lnTo>
                    <a:lnTo>
                      <a:pt x="18" y="0"/>
                    </a:lnTo>
                    <a:lnTo>
                      <a:pt x="18" y="0"/>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52" name="Freeform 12"/>
              <p:cNvSpPr>
                <a:spLocks/>
              </p:cNvSpPr>
              <p:nvPr userDrawn="1"/>
            </p:nvSpPr>
            <p:spPr bwMode="ltGray">
              <a:xfrm>
                <a:off x="3628" y="3866"/>
                <a:ext cx="155" cy="74"/>
              </a:xfrm>
              <a:custGeom>
                <a:avLst/>
                <a:gdLst/>
                <a:ahLst/>
                <a:cxnLst>
                  <a:cxn ang="0">
                    <a:pos x="114" y="0"/>
                  </a:cxn>
                  <a:cxn ang="0">
                    <a:pos x="0" y="0"/>
                  </a:cxn>
                  <a:cxn ang="0">
                    <a:pos x="0" y="0"/>
                  </a:cxn>
                  <a:cxn ang="0">
                    <a:pos x="6" y="6"/>
                  </a:cxn>
                  <a:cxn ang="0">
                    <a:pos x="6" y="18"/>
                  </a:cxn>
                  <a:cxn ang="0">
                    <a:pos x="0" y="24"/>
                  </a:cxn>
                  <a:cxn ang="0">
                    <a:pos x="78" y="60"/>
                  </a:cxn>
                  <a:cxn ang="0">
                    <a:pos x="96" y="42"/>
                  </a:cxn>
                  <a:cxn ang="0">
                    <a:pos x="155" y="66"/>
                  </a:cxn>
                  <a:cxn ang="0">
                    <a:pos x="126" y="24"/>
                  </a:cxn>
                  <a:cxn ang="0">
                    <a:pos x="149" y="0"/>
                  </a:cxn>
                  <a:cxn ang="0">
                    <a:pos x="114" y="0"/>
                  </a:cxn>
                  <a:cxn ang="0">
                    <a:pos x="114" y="0"/>
                  </a:cxn>
                </a:cxnLst>
                <a:rect l="0" t="0" r="r" b="b"/>
                <a:pathLst>
                  <a:path w="155" h="66">
                    <a:moveTo>
                      <a:pt x="114" y="0"/>
                    </a:moveTo>
                    <a:lnTo>
                      <a:pt x="0" y="0"/>
                    </a:lnTo>
                    <a:lnTo>
                      <a:pt x="0" y="0"/>
                    </a:lnTo>
                    <a:lnTo>
                      <a:pt x="6" y="6"/>
                    </a:lnTo>
                    <a:lnTo>
                      <a:pt x="6" y="18"/>
                    </a:lnTo>
                    <a:lnTo>
                      <a:pt x="0" y="24"/>
                    </a:lnTo>
                    <a:lnTo>
                      <a:pt x="78" y="60"/>
                    </a:lnTo>
                    <a:lnTo>
                      <a:pt x="96" y="42"/>
                    </a:lnTo>
                    <a:lnTo>
                      <a:pt x="155" y="66"/>
                    </a:lnTo>
                    <a:lnTo>
                      <a:pt x="126" y="24"/>
                    </a:lnTo>
                    <a:lnTo>
                      <a:pt x="149" y="0"/>
                    </a:lnTo>
                    <a:lnTo>
                      <a:pt x="114" y="0"/>
                    </a:lnTo>
                    <a:lnTo>
                      <a:pt x="114" y="0"/>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53" name="Freeform 13"/>
              <p:cNvSpPr>
                <a:spLocks/>
              </p:cNvSpPr>
              <p:nvPr userDrawn="1"/>
            </p:nvSpPr>
            <p:spPr bwMode="ltGray">
              <a:xfrm>
                <a:off x="2486" y="3859"/>
                <a:ext cx="42" cy="81"/>
              </a:xfrm>
              <a:custGeom>
                <a:avLst/>
                <a:gdLst/>
                <a:ahLst/>
                <a:cxnLst>
                  <a:cxn ang="0">
                    <a:pos x="6" y="36"/>
                  </a:cxn>
                  <a:cxn ang="0">
                    <a:pos x="0" y="18"/>
                  </a:cxn>
                  <a:cxn ang="0">
                    <a:pos x="12" y="6"/>
                  </a:cxn>
                  <a:cxn ang="0">
                    <a:pos x="0" y="6"/>
                  </a:cxn>
                  <a:cxn ang="0">
                    <a:pos x="12" y="6"/>
                  </a:cxn>
                  <a:cxn ang="0">
                    <a:pos x="24" y="6"/>
                  </a:cxn>
                  <a:cxn ang="0">
                    <a:pos x="36" y="6"/>
                  </a:cxn>
                  <a:cxn ang="0">
                    <a:pos x="42" y="0"/>
                  </a:cxn>
                  <a:cxn ang="0">
                    <a:pos x="30" y="18"/>
                  </a:cxn>
                  <a:cxn ang="0">
                    <a:pos x="42" y="48"/>
                  </a:cxn>
                  <a:cxn ang="0">
                    <a:pos x="12" y="72"/>
                  </a:cxn>
                  <a:cxn ang="0">
                    <a:pos x="6" y="36"/>
                  </a:cxn>
                  <a:cxn ang="0">
                    <a:pos x="6" y="36"/>
                  </a:cxn>
                </a:cxnLst>
                <a:rect l="0" t="0" r="r" b="b"/>
                <a:pathLst>
                  <a:path w="42" h="72">
                    <a:moveTo>
                      <a:pt x="6" y="36"/>
                    </a:moveTo>
                    <a:lnTo>
                      <a:pt x="0" y="18"/>
                    </a:lnTo>
                    <a:lnTo>
                      <a:pt x="12" y="6"/>
                    </a:lnTo>
                    <a:lnTo>
                      <a:pt x="0" y="6"/>
                    </a:lnTo>
                    <a:lnTo>
                      <a:pt x="12" y="6"/>
                    </a:lnTo>
                    <a:lnTo>
                      <a:pt x="24" y="6"/>
                    </a:lnTo>
                    <a:lnTo>
                      <a:pt x="36" y="6"/>
                    </a:lnTo>
                    <a:lnTo>
                      <a:pt x="42" y="0"/>
                    </a:lnTo>
                    <a:lnTo>
                      <a:pt x="30" y="18"/>
                    </a:lnTo>
                    <a:lnTo>
                      <a:pt x="42" y="48"/>
                    </a:lnTo>
                    <a:lnTo>
                      <a:pt x="12" y="72"/>
                    </a:lnTo>
                    <a:lnTo>
                      <a:pt x="6" y="36"/>
                    </a:lnTo>
                    <a:lnTo>
                      <a:pt x="6" y="36"/>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sp>
          <p:nvSpPr>
            <p:cNvPr id="10254" name="Freeform 14"/>
            <p:cNvSpPr>
              <a:spLocks/>
            </p:cNvSpPr>
            <p:nvPr userDrawn="1"/>
          </p:nvSpPr>
          <p:spPr bwMode="ltGray">
            <a:xfrm>
              <a:off x="0" y="3792"/>
              <a:ext cx="3976" cy="535"/>
            </a:xfrm>
            <a:custGeom>
              <a:avLst/>
              <a:gdLst/>
              <a:ahLst/>
              <a:cxnLst>
                <a:cxn ang="0">
                  <a:pos x="3976" y="527"/>
                </a:cxn>
                <a:cxn ang="0">
                  <a:pos x="3970" y="527"/>
                </a:cxn>
                <a:cxn ang="0">
                  <a:pos x="3844" y="509"/>
                </a:cxn>
                <a:cxn ang="0">
                  <a:pos x="2487" y="305"/>
                </a:cxn>
                <a:cxn ang="0">
                  <a:pos x="2039" y="36"/>
                </a:cxn>
                <a:cxn ang="0">
                  <a:pos x="1907" y="24"/>
                </a:cxn>
                <a:cxn ang="0">
                  <a:pos x="1883" y="54"/>
                </a:cxn>
                <a:cxn ang="0">
                  <a:pos x="1859" y="54"/>
                </a:cxn>
                <a:cxn ang="0">
                  <a:pos x="1830" y="30"/>
                </a:cxn>
                <a:cxn ang="0">
                  <a:pos x="1704" y="102"/>
                </a:cxn>
                <a:cxn ang="0">
                  <a:pos x="1608" y="126"/>
                </a:cxn>
                <a:cxn ang="0">
                  <a:pos x="1561" y="132"/>
                </a:cxn>
                <a:cxn ang="0">
                  <a:pos x="1495" y="102"/>
                </a:cxn>
                <a:cxn ang="0">
                  <a:pos x="1357" y="126"/>
                </a:cxn>
                <a:cxn ang="0">
                  <a:pos x="1285" y="24"/>
                </a:cxn>
                <a:cxn ang="0">
                  <a:pos x="1280" y="18"/>
                </a:cxn>
                <a:cxn ang="0">
                  <a:pos x="1262" y="12"/>
                </a:cxn>
                <a:cxn ang="0">
                  <a:pos x="1238" y="6"/>
                </a:cxn>
                <a:cxn ang="0">
                  <a:pos x="1220" y="0"/>
                </a:cxn>
                <a:cxn ang="0">
                  <a:pos x="1196" y="0"/>
                </a:cxn>
                <a:cxn ang="0">
                  <a:pos x="1166" y="0"/>
                </a:cxn>
                <a:cxn ang="0">
                  <a:pos x="1142" y="0"/>
                </a:cxn>
                <a:cxn ang="0">
                  <a:pos x="1136" y="0"/>
                </a:cxn>
                <a:cxn ang="0">
                  <a:pos x="1130" y="0"/>
                </a:cxn>
                <a:cxn ang="0">
                  <a:pos x="1124" y="6"/>
                </a:cxn>
                <a:cxn ang="0">
                  <a:pos x="1118" y="12"/>
                </a:cxn>
                <a:cxn ang="0">
                  <a:pos x="1100" y="18"/>
                </a:cxn>
                <a:cxn ang="0">
                  <a:pos x="1088" y="18"/>
                </a:cxn>
                <a:cxn ang="0">
                  <a:pos x="1070" y="24"/>
                </a:cxn>
                <a:cxn ang="0">
                  <a:pos x="1052" y="30"/>
                </a:cxn>
                <a:cxn ang="0">
                  <a:pos x="1034" y="36"/>
                </a:cxn>
                <a:cxn ang="0">
                  <a:pos x="1028" y="42"/>
                </a:cxn>
                <a:cxn ang="0">
                  <a:pos x="969" y="60"/>
                </a:cxn>
                <a:cxn ang="0">
                  <a:pos x="921" y="72"/>
                </a:cxn>
                <a:cxn ang="0">
                  <a:pos x="855" y="48"/>
                </a:cxn>
                <a:cxn ang="0">
                  <a:pos x="825" y="48"/>
                </a:cxn>
                <a:cxn ang="0">
                  <a:pos x="759" y="72"/>
                </a:cxn>
                <a:cxn ang="0">
                  <a:pos x="735" y="72"/>
                </a:cxn>
                <a:cxn ang="0">
                  <a:pos x="706" y="60"/>
                </a:cxn>
                <a:cxn ang="0">
                  <a:pos x="640" y="60"/>
                </a:cxn>
                <a:cxn ang="0">
                  <a:pos x="544" y="72"/>
                </a:cxn>
                <a:cxn ang="0">
                  <a:pos x="389" y="18"/>
                </a:cxn>
                <a:cxn ang="0">
                  <a:pos x="323" y="60"/>
                </a:cxn>
                <a:cxn ang="0">
                  <a:pos x="317" y="60"/>
                </a:cxn>
                <a:cxn ang="0">
                  <a:pos x="305" y="72"/>
                </a:cxn>
                <a:cxn ang="0">
                  <a:pos x="287" y="78"/>
                </a:cxn>
                <a:cxn ang="0">
                  <a:pos x="263" y="90"/>
                </a:cxn>
                <a:cxn ang="0">
                  <a:pos x="203" y="120"/>
                </a:cxn>
                <a:cxn ang="0">
                  <a:pos x="149" y="150"/>
                </a:cxn>
                <a:cxn ang="0">
                  <a:pos x="78" y="168"/>
                </a:cxn>
                <a:cxn ang="0">
                  <a:pos x="0" y="180"/>
                </a:cxn>
                <a:cxn ang="0">
                  <a:pos x="0" y="527"/>
                </a:cxn>
                <a:cxn ang="0">
                  <a:pos x="1010" y="527"/>
                </a:cxn>
                <a:cxn ang="0">
                  <a:pos x="3725" y="527"/>
                </a:cxn>
                <a:cxn ang="0">
                  <a:pos x="3976" y="527"/>
                </a:cxn>
                <a:cxn ang="0">
                  <a:pos x="3976" y="527"/>
                </a:cxn>
              </a:cxnLst>
              <a:rect l="0" t="0" r="r" b="b"/>
              <a:pathLst>
                <a:path w="3976" h="527">
                  <a:moveTo>
                    <a:pt x="3976" y="527"/>
                  </a:moveTo>
                  <a:lnTo>
                    <a:pt x="3970" y="527"/>
                  </a:lnTo>
                  <a:lnTo>
                    <a:pt x="3844" y="509"/>
                  </a:lnTo>
                  <a:lnTo>
                    <a:pt x="2487" y="305"/>
                  </a:lnTo>
                  <a:lnTo>
                    <a:pt x="2039" y="36"/>
                  </a:lnTo>
                  <a:lnTo>
                    <a:pt x="1907" y="24"/>
                  </a:lnTo>
                  <a:lnTo>
                    <a:pt x="1883" y="54"/>
                  </a:lnTo>
                  <a:lnTo>
                    <a:pt x="1859" y="54"/>
                  </a:lnTo>
                  <a:lnTo>
                    <a:pt x="1830" y="30"/>
                  </a:lnTo>
                  <a:lnTo>
                    <a:pt x="1704" y="102"/>
                  </a:lnTo>
                  <a:lnTo>
                    <a:pt x="1608" y="126"/>
                  </a:lnTo>
                  <a:lnTo>
                    <a:pt x="1561" y="132"/>
                  </a:lnTo>
                  <a:lnTo>
                    <a:pt x="1495" y="102"/>
                  </a:lnTo>
                  <a:lnTo>
                    <a:pt x="1357" y="126"/>
                  </a:lnTo>
                  <a:lnTo>
                    <a:pt x="1285" y="24"/>
                  </a:lnTo>
                  <a:lnTo>
                    <a:pt x="1280" y="18"/>
                  </a:lnTo>
                  <a:lnTo>
                    <a:pt x="1262" y="12"/>
                  </a:lnTo>
                  <a:lnTo>
                    <a:pt x="1238" y="6"/>
                  </a:lnTo>
                  <a:lnTo>
                    <a:pt x="1220" y="0"/>
                  </a:lnTo>
                  <a:lnTo>
                    <a:pt x="1196" y="0"/>
                  </a:lnTo>
                  <a:lnTo>
                    <a:pt x="1166" y="0"/>
                  </a:lnTo>
                  <a:lnTo>
                    <a:pt x="1142" y="0"/>
                  </a:lnTo>
                  <a:lnTo>
                    <a:pt x="1136" y="0"/>
                  </a:lnTo>
                  <a:lnTo>
                    <a:pt x="1130" y="0"/>
                  </a:lnTo>
                  <a:lnTo>
                    <a:pt x="1124" y="6"/>
                  </a:lnTo>
                  <a:lnTo>
                    <a:pt x="1118" y="12"/>
                  </a:lnTo>
                  <a:lnTo>
                    <a:pt x="1100" y="18"/>
                  </a:lnTo>
                  <a:lnTo>
                    <a:pt x="1088" y="18"/>
                  </a:lnTo>
                  <a:lnTo>
                    <a:pt x="1070" y="24"/>
                  </a:lnTo>
                  <a:lnTo>
                    <a:pt x="1052" y="30"/>
                  </a:lnTo>
                  <a:lnTo>
                    <a:pt x="1034" y="36"/>
                  </a:lnTo>
                  <a:lnTo>
                    <a:pt x="1028" y="42"/>
                  </a:lnTo>
                  <a:lnTo>
                    <a:pt x="969" y="60"/>
                  </a:lnTo>
                  <a:lnTo>
                    <a:pt x="921" y="72"/>
                  </a:lnTo>
                  <a:lnTo>
                    <a:pt x="855" y="48"/>
                  </a:lnTo>
                  <a:lnTo>
                    <a:pt x="825" y="48"/>
                  </a:lnTo>
                  <a:lnTo>
                    <a:pt x="759" y="72"/>
                  </a:lnTo>
                  <a:lnTo>
                    <a:pt x="735" y="72"/>
                  </a:lnTo>
                  <a:lnTo>
                    <a:pt x="706" y="60"/>
                  </a:lnTo>
                  <a:lnTo>
                    <a:pt x="640" y="60"/>
                  </a:lnTo>
                  <a:lnTo>
                    <a:pt x="544" y="72"/>
                  </a:lnTo>
                  <a:lnTo>
                    <a:pt x="389" y="18"/>
                  </a:lnTo>
                  <a:lnTo>
                    <a:pt x="323" y="60"/>
                  </a:lnTo>
                  <a:lnTo>
                    <a:pt x="317" y="60"/>
                  </a:lnTo>
                  <a:lnTo>
                    <a:pt x="305" y="72"/>
                  </a:lnTo>
                  <a:lnTo>
                    <a:pt x="287" y="78"/>
                  </a:lnTo>
                  <a:lnTo>
                    <a:pt x="263" y="90"/>
                  </a:lnTo>
                  <a:lnTo>
                    <a:pt x="203" y="120"/>
                  </a:lnTo>
                  <a:lnTo>
                    <a:pt x="149" y="150"/>
                  </a:lnTo>
                  <a:lnTo>
                    <a:pt x="78" y="168"/>
                  </a:lnTo>
                  <a:lnTo>
                    <a:pt x="0" y="180"/>
                  </a:lnTo>
                  <a:lnTo>
                    <a:pt x="0" y="527"/>
                  </a:lnTo>
                  <a:lnTo>
                    <a:pt x="1010" y="527"/>
                  </a:lnTo>
                  <a:lnTo>
                    <a:pt x="3725" y="527"/>
                  </a:lnTo>
                  <a:lnTo>
                    <a:pt x="3976" y="527"/>
                  </a:lnTo>
                  <a:lnTo>
                    <a:pt x="3976" y="527"/>
                  </a:lnTo>
                  <a:close/>
                </a:path>
              </a:pathLst>
            </a:custGeom>
            <a:gradFill rotWithShape="0">
              <a:gsLst>
                <a:gs pos="0">
                  <a:schemeClr val="bg2">
                    <a:gamma/>
                    <a:tint val="75686"/>
                    <a:invGamma/>
                  </a:schemeClr>
                </a:gs>
                <a:gs pos="100000">
                  <a:schemeClr val="bg2"/>
                </a:gs>
              </a:gsLst>
              <a:lin ang="54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grpSp>
        <p:nvGrpSpPr>
          <p:cNvPr id="5" name="Group 15"/>
          <p:cNvGrpSpPr>
            <a:grpSpLocks/>
          </p:cNvGrpSpPr>
          <p:nvPr/>
        </p:nvGrpSpPr>
        <p:grpSpPr bwMode="auto">
          <a:xfrm>
            <a:off x="627063" y="6021388"/>
            <a:ext cx="5684837" cy="849312"/>
            <a:chOff x="395" y="3793"/>
            <a:chExt cx="3581" cy="535"/>
          </a:xfrm>
        </p:grpSpPr>
        <p:sp>
          <p:nvSpPr>
            <p:cNvPr id="10256" name="Freeform 16"/>
            <p:cNvSpPr>
              <a:spLocks/>
            </p:cNvSpPr>
            <p:nvPr userDrawn="1"/>
          </p:nvSpPr>
          <p:spPr bwMode="auto">
            <a:xfrm>
              <a:off x="1196" y="3793"/>
              <a:ext cx="365" cy="291"/>
            </a:xfrm>
            <a:custGeom>
              <a:avLst/>
              <a:gdLst/>
              <a:ahLst/>
              <a:cxnLst>
                <a:cxn ang="0">
                  <a:pos x="24" y="24"/>
                </a:cxn>
                <a:cxn ang="0">
                  <a:pos x="0" y="60"/>
                </a:cxn>
                <a:cxn ang="0">
                  <a:pos x="66" y="108"/>
                </a:cxn>
                <a:cxn ang="0">
                  <a:pos x="143" y="180"/>
                </a:cxn>
                <a:cxn ang="0">
                  <a:pos x="191" y="168"/>
                </a:cxn>
                <a:cxn ang="0">
                  <a:pos x="341" y="287"/>
                </a:cxn>
                <a:cxn ang="0">
                  <a:pos x="305" y="174"/>
                </a:cxn>
                <a:cxn ang="0">
                  <a:pos x="365" y="132"/>
                </a:cxn>
                <a:cxn ang="0">
                  <a:pos x="359" y="126"/>
                </a:cxn>
                <a:cxn ang="0">
                  <a:pos x="335" y="114"/>
                </a:cxn>
                <a:cxn ang="0">
                  <a:pos x="299" y="90"/>
                </a:cxn>
                <a:cxn ang="0">
                  <a:pos x="257" y="72"/>
                </a:cxn>
                <a:cxn ang="0">
                  <a:pos x="215" y="54"/>
                </a:cxn>
                <a:cxn ang="0">
                  <a:pos x="173" y="36"/>
                </a:cxn>
                <a:cxn ang="0">
                  <a:pos x="143" y="24"/>
                </a:cxn>
                <a:cxn ang="0">
                  <a:pos x="131" y="18"/>
                </a:cxn>
                <a:cxn ang="0">
                  <a:pos x="107" y="18"/>
                </a:cxn>
                <a:cxn ang="0">
                  <a:pos x="95" y="18"/>
                </a:cxn>
                <a:cxn ang="0">
                  <a:pos x="72" y="12"/>
                </a:cxn>
                <a:cxn ang="0">
                  <a:pos x="66" y="12"/>
                </a:cxn>
                <a:cxn ang="0">
                  <a:pos x="54" y="6"/>
                </a:cxn>
                <a:cxn ang="0">
                  <a:pos x="42" y="0"/>
                </a:cxn>
                <a:cxn ang="0">
                  <a:pos x="30" y="0"/>
                </a:cxn>
                <a:cxn ang="0">
                  <a:pos x="24" y="24"/>
                </a:cxn>
                <a:cxn ang="0">
                  <a:pos x="24" y="24"/>
                </a:cxn>
              </a:cxnLst>
              <a:rect l="0" t="0" r="r" b="b"/>
              <a:pathLst>
                <a:path w="365" h="287">
                  <a:moveTo>
                    <a:pt x="24" y="24"/>
                  </a:moveTo>
                  <a:lnTo>
                    <a:pt x="0" y="60"/>
                  </a:lnTo>
                  <a:lnTo>
                    <a:pt x="66" y="108"/>
                  </a:lnTo>
                  <a:lnTo>
                    <a:pt x="143" y="180"/>
                  </a:lnTo>
                  <a:lnTo>
                    <a:pt x="191" y="168"/>
                  </a:lnTo>
                  <a:lnTo>
                    <a:pt x="341" y="287"/>
                  </a:lnTo>
                  <a:lnTo>
                    <a:pt x="305" y="174"/>
                  </a:lnTo>
                  <a:lnTo>
                    <a:pt x="365" y="132"/>
                  </a:lnTo>
                  <a:lnTo>
                    <a:pt x="359" y="126"/>
                  </a:lnTo>
                  <a:lnTo>
                    <a:pt x="335" y="114"/>
                  </a:lnTo>
                  <a:lnTo>
                    <a:pt x="299" y="90"/>
                  </a:lnTo>
                  <a:lnTo>
                    <a:pt x="257" y="72"/>
                  </a:lnTo>
                  <a:lnTo>
                    <a:pt x="215" y="54"/>
                  </a:lnTo>
                  <a:lnTo>
                    <a:pt x="173" y="36"/>
                  </a:lnTo>
                  <a:lnTo>
                    <a:pt x="143" y="24"/>
                  </a:lnTo>
                  <a:lnTo>
                    <a:pt x="131" y="18"/>
                  </a:lnTo>
                  <a:lnTo>
                    <a:pt x="107" y="18"/>
                  </a:lnTo>
                  <a:lnTo>
                    <a:pt x="95" y="18"/>
                  </a:lnTo>
                  <a:lnTo>
                    <a:pt x="72" y="12"/>
                  </a:lnTo>
                  <a:lnTo>
                    <a:pt x="66" y="12"/>
                  </a:lnTo>
                  <a:lnTo>
                    <a:pt x="54" y="6"/>
                  </a:lnTo>
                  <a:lnTo>
                    <a:pt x="42" y="0"/>
                  </a:lnTo>
                  <a:lnTo>
                    <a:pt x="30" y="0"/>
                  </a:lnTo>
                  <a:lnTo>
                    <a:pt x="24" y="24"/>
                  </a:lnTo>
                  <a:lnTo>
                    <a:pt x="24" y="24"/>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57" name="Freeform 17"/>
            <p:cNvSpPr>
              <a:spLocks/>
            </p:cNvSpPr>
            <p:nvPr userDrawn="1"/>
          </p:nvSpPr>
          <p:spPr bwMode="auto">
            <a:xfrm>
              <a:off x="1943" y="3829"/>
              <a:ext cx="2033" cy="499"/>
            </a:xfrm>
            <a:custGeom>
              <a:avLst/>
              <a:gdLst/>
              <a:ahLst/>
              <a:cxnLst>
                <a:cxn ang="0">
                  <a:pos x="186" y="18"/>
                </a:cxn>
                <a:cxn ang="0">
                  <a:pos x="138" y="6"/>
                </a:cxn>
                <a:cxn ang="0">
                  <a:pos x="96" y="0"/>
                </a:cxn>
                <a:cxn ang="0">
                  <a:pos x="36" y="0"/>
                </a:cxn>
                <a:cxn ang="0">
                  <a:pos x="12" y="25"/>
                </a:cxn>
                <a:cxn ang="0">
                  <a:pos x="0" y="128"/>
                </a:cxn>
                <a:cxn ang="0">
                  <a:pos x="60" y="104"/>
                </a:cxn>
                <a:cxn ang="0">
                  <a:pos x="90" y="134"/>
                </a:cxn>
                <a:cxn ang="0">
                  <a:pos x="150" y="153"/>
                </a:cxn>
                <a:cxn ang="0">
                  <a:pos x="209" y="273"/>
                </a:cxn>
                <a:cxn ang="0">
                  <a:pos x="401" y="359"/>
                </a:cxn>
                <a:cxn ang="0">
                  <a:pos x="777" y="359"/>
                </a:cxn>
                <a:cxn ang="0">
                  <a:pos x="2033" y="499"/>
                </a:cxn>
                <a:cxn ang="0">
                  <a:pos x="2033" y="499"/>
                </a:cxn>
                <a:cxn ang="0">
                  <a:pos x="1991" y="493"/>
                </a:cxn>
                <a:cxn ang="0">
                  <a:pos x="676" y="243"/>
                </a:cxn>
                <a:cxn ang="0">
                  <a:pos x="514" y="159"/>
                </a:cxn>
                <a:cxn ang="0">
                  <a:pos x="425" y="110"/>
                </a:cxn>
                <a:cxn ang="0">
                  <a:pos x="365" y="92"/>
                </a:cxn>
                <a:cxn ang="0">
                  <a:pos x="281" y="61"/>
                </a:cxn>
                <a:cxn ang="0">
                  <a:pos x="186" y="18"/>
                </a:cxn>
                <a:cxn ang="0">
                  <a:pos x="186" y="18"/>
                </a:cxn>
              </a:cxnLst>
              <a:rect l="0" t="0" r="r" b="b"/>
              <a:pathLst>
                <a:path w="2033" h="499">
                  <a:moveTo>
                    <a:pt x="186" y="18"/>
                  </a:moveTo>
                  <a:lnTo>
                    <a:pt x="138" y="6"/>
                  </a:lnTo>
                  <a:lnTo>
                    <a:pt x="96" y="0"/>
                  </a:lnTo>
                  <a:lnTo>
                    <a:pt x="36" y="0"/>
                  </a:lnTo>
                  <a:lnTo>
                    <a:pt x="12" y="25"/>
                  </a:lnTo>
                  <a:lnTo>
                    <a:pt x="0" y="128"/>
                  </a:lnTo>
                  <a:lnTo>
                    <a:pt x="60" y="104"/>
                  </a:lnTo>
                  <a:lnTo>
                    <a:pt x="90" y="134"/>
                  </a:lnTo>
                  <a:lnTo>
                    <a:pt x="150" y="153"/>
                  </a:lnTo>
                  <a:lnTo>
                    <a:pt x="209" y="273"/>
                  </a:lnTo>
                  <a:lnTo>
                    <a:pt x="401" y="359"/>
                  </a:lnTo>
                  <a:lnTo>
                    <a:pt x="777" y="359"/>
                  </a:lnTo>
                  <a:lnTo>
                    <a:pt x="2033" y="499"/>
                  </a:lnTo>
                  <a:lnTo>
                    <a:pt x="2033" y="499"/>
                  </a:lnTo>
                  <a:lnTo>
                    <a:pt x="1991" y="493"/>
                  </a:lnTo>
                  <a:lnTo>
                    <a:pt x="676" y="243"/>
                  </a:lnTo>
                  <a:lnTo>
                    <a:pt x="514" y="159"/>
                  </a:lnTo>
                  <a:lnTo>
                    <a:pt x="425" y="110"/>
                  </a:lnTo>
                  <a:lnTo>
                    <a:pt x="365" y="92"/>
                  </a:lnTo>
                  <a:lnTo>
                    <a:pt x="281" y="61"/>
                  </a:lnTo>
                  <a:lnTo>
                    <a:pt x="186" y="18"/>
                  </a:lnTo>
                  <a:lnTo>
                    <a:pt x="186" y="18"/>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58" name="Freeform 18"/>
            <p:cNvSpPr>
              <a:spLocks/>
            </p:cNvSpPr>
            <p:nvPr userDrawn="1"/>
          </p:nvSpPr>
          <p:spPr bwMode="auto">
            <a:xfrm>
              <a:off x="1830" y="3823"/>
              <a:ext cx="71" cy="61"/>
            </a:xfrm>
            <a:custGeom>
              <a:avLst/>
              <a:gdLst/>
              <a:ahLst/>
              <a:cxnLst>
                <a:cxn ang="0">
                  <a:pos x="0" y="18"/>
                </a:cxn>
                <a:cxn ang="0">
                  <a:pos x="6" y="18"/>
                </a:cxn>
                <a:cxn ang="0">
                  <a:pos x="12" y="12"/>
                </a:cxn>
                <a:cxn ang="0">
                  <a:pos x="6" y="6"/>
                </a:cxn>
                <a:cxn ang="0">
                  <a:pos x="0" y="0"/>
                </a:cxn>
                <a:cxn ang="0">
                  <a:pos x="29" y="18"/>
                </a:cxn>
                <a:cxn ang="0">
                  <a:pos x="53" y="18"/>
                </a:cxn>
                <a:cxn ang="0">
                  <a:pos x="59" y="30"/>
                </a:cxn>
                <a:cxn ang="0">
                  <a:pos x="65" y="42"/>
                </a:cxn>
                <a:cxn ang="0">
                  <a:pos x="71" y="54"/>
                </a:cxn>
                <a:cxn ang="0">
                  <a:pos x="71" y="60"/>
                </a:cxn>
                <a:cxn ang="0">
                  <a:pos x="59" y="54"/>
                </a:cxn>
                <a:cxn ang="0">
                  <a:pos x="47" y="42"/>
                </a:cxn>
                <a:cxn ang="0">
                  <a:pos x="23" y="30"/>
                </a:cxn>
                <a:cxn ang="0">
                  <a:pos x="23" y="36"/>
                </a:cxn>
                <a:cxn ang="0">
                  <a:pos x="18" y="42"/>
                </a:cxn>
                <a:cxn ang="0">
                  <a:pos x="12" y="48"/>
                </a:cxn>
                <a:cxn ang="0">
                  <a:pos x="6" y="48"/>
                </a:cxn>
                <a:cxn ang="0">
                  <a:pos x="6" y="48"/>
                </a:cxn>
                <a:cxn ang="0">
                  <a:pos x="6" y="36"/>
                </a:cxn>
                <a:cxn ang="0">
                  <a:pos x="0" y="18"/>
                </a:cxn>
                <a:cxn ang="0">
                  <a:pos x="0" y="18"/>
                </a:cxn>
              </a:cxnLst>
              <a:rect l="0" t="0" r="r" b="b"/>
              <a:pathLst>
                <a:path w="71" h="60">
                  <a:moveTo>
                    <a:pt x="0" y="18"/>
                  </a:moveTo>
                  <a:lnTo>
                    <a:pt x="6" y="18"/>
                  </a:lnTo>
                  <a:lnTo>
                    <a:pt x="12" y="12"/>
                  </a:lnTo>
                  <a:lnTo>
                    <a:pt x="6" y="6"/>
                  </a:lnTo>
                  <a:lnTo>
                    <a:pt x="0" y="0"/>
                  </a:lnTo>
                  <a:lnTo>
                    <a:pt x="29" y="18"/>
                  </a:lnTo>
                  <a:lnTo>
                    <a:pt x="53" y="18"/>
                  </a:lnTo>
                  <a:lnTo>
                    <a:pt x="59" y="30"/>
                  </a:lnTo>
                  <a:lnTo>
                    <a:pt x="65" y="42"/>
                  </a:lnTo>
                  <a:lnTo>
                    <a:pt x="71" y="54"/>
                  </a:lnTo>
                  <a:lnTo>
                    <a:pt x="71" y="60"/>
                  </a:lnTo>
                  <a:lnTo>
                    <a:pt x="59" y="54"/>
                  </a:lnTo>
                  <a:lnTo>
                    <a:pt x="47" y="42"/>
                  </a:lnTo>
                  <a:lnTo>
                    <a:pt x="23" y="30"/>
                  </a:lnTo>
                  <a:lnTo>
                    <a:pt x="23" y="36"/>
                  </a:lnTo>
                  <a:lnTo>
                    <a:pt x="18" y="42"/>
                  </a:lnTo>
                  <a:lnTo>
                    <a:pt x="12" y="48"/>
                  </a:lnTo>
                  <a:lnTo>
                    <a:pt x="6" y="48"/>
                  </a:lnTo>
                  <a:lnTo>
                    <a:pt x="6" y="48"/>
                  </a:lnTo>
                  <a:lnTo>
                    <a:pt x="6" y="36"/>
                  </a:lnTo>
                  <a:lnTo>
                    <a:pt x="0" y="18"/>
                  </a:lnTo>
                  <a:lnTo>
                    <a:pt x="0" y="18"/>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59" name="Freeform 19"/>
            <p:cNvSpPr>
              <a:spLocks/>
            </p:cNvSpPr>
            <p:nvPr userDrawn="1"/>
          </p:nvSpPr>
          <p:spPr bwMode="auto">
            <a:xfrm>
              <a:off x="855" y="3842"/>
              <a:ext cx="161" cy="164"/>
            </a:xfrm>
            <a:custGeom>
              <a:avLst/>
              <a:gdLst/>
              <a:ahLst/>
              <a:cxnLst>
                <a:cxn ang="0">
                  <a:pos x="30" y="0"/>
                </a:cxn>
                <a:cxn ang="0">
                  <a:pos x="48" y="6"/>
                </a:cxn>
                <a:cxn ang="0">
                  <a:pos x="72" y="6"/>
                </a:cxn>
                <a:cxn ang="0">
                  <a:pos x="114" y="12"/>
                </a:cxn>
                <a:cxn ang="0">
                  <a:pos x="96" y="54"/>
                </a:cxn>
                <a:cxn ang="0">
                  <a:pos x="96" y="60"/>
                </a:cxn>
                <a:cxn ang="0">
                  <a:pos x="102" y="72"/>
                </a:cxn>
                <a:cxn ang="0">
                  <a:pos x="108" y="84"/>
                </a:cxn>
                <a:cxn ang="0">
                  <a:pos x="120" y="96"/>
                </a:cxn>
                <a:cxn ang="0">
                  <a:pos x="143" y="114"/>
                </a:cxn>
                <a:cxn ang="0">
                  <a:pos x="155" y="138"/>
                </a:cxn>
                <a:cxn ang="0">
                  <a:pos x="161" y="156"/>
                </a:cxn>
                <a:cxn ang="0">
                  <a:pos x="161" y="162"/>
                </a:cxn>
                <a:cxn ang="0">
                  <a:pos x="96" y="102"/>
                </a:cxn>
                <a:cxn ang="0">
                  <a:pos x="30" y="54"/>
                </a:cxn>
                <a:cxn ang="0">
                  <a:pos x="0" y="0"/>
                </a:cxn>
                <a:cxn ang="0">
                  <a:pos x="30" y="0"/>
                </a:cxn>
                <a:cxn ang="0">
                  <a:pos x="30" y="0"/>
                </a:cxn>
              </a:cxnLst>
              <a:rect l="0" t="0" r="r" b="b"/>
              <a:pathLst>
                <a:path w="161" h="162">
                  <a:moveTo>
                    <a:pt x="30" y="0"/>
                  </a:moveTo>
                  <a:lnTo>
                    <a:pt x="48" y="6"/>
                  </a:lnTo>
                  <a:lnTo>
                    <a:pt x="72" y="6"/>
                  </a:lnTo>
                  <a:lnTo>
                    <a:pt x="114" y="12"/>
                  </a:lnTo>
                  <a:lnTo>
                    <a:pt x="96" y="54"/>
                  </a:lnTo>
                  <a:lnTo>
                    <a:pt x="96" y="60"/>
                  </a:lnTo>
                  <a:lnTo>
                    <a:pt x="102" y="72"/>
                  </a:lnTo>
                  <a:lnTo>
                    <a:pt x="108" y="84"/>
                  </a:lnTo>
                  <a:lnTo>
                    <a:pt x="120" y="96"/>
                  </a:lnTo>
                  <a:lnTo>
                    <a:pt x="143" y="114"/>
                  </a:lnTo>
                  <a:lnTo>
                    <a:pt x="155" y="138"/>
                  </a:lnTo>
                  <a:lnTo>
                    <a:pt x="161" y="156"/>
                  </a:lnTo>
                  <a:lnTo>
                    <a:pt x="161" y="162"/>
                  </a:lnTo>
                  <a:lnTo>
                    <a:pt x="96" y="102"/>
                  </a:lnTo>
                  <a:lnTo>
                    <a:pt x="30" y="54"/>
                  </a:lnTo>
                  <a:lnTo>
                    <a:pt x="0" y="0"/>
                  </a:lnTo>
                  <a:lnTo>
                    <a:pt x="30" y="0"/>
                  </a:lnTo>
                  <a:lnTo>
                    <a:pt x="30" y="0"/>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60" name="Freeform 20"/>
            <p:cNvSpPr>
              <a:spLocks/>
            </p:cNvSpPr>
            <p:nvPr userDrawn="1"/>
          </p:nvSpPr>
          <p:spPr bwMode="auto">
            <a:xfrm>
              <a:off x="706" y="3854"/>
              <a:ext cx="59" cy="61"/>
            </a:xfrm>
            <a:custGeom>
              <a:avLst/>
              <a:gdLst/>
              <a:ahLst/>
              <a:cxnLst>
                <a:cxn ang="0">
                  <a:pos x="59" y="6"/>
                </a:cxn>
                <a:cxn ang="0">
                  <a:pos x="41" y="30"/>
                </a:cxn>
                <a:cxn ang="0">
                  <a:pos x="41" y="36"/>
                </a:cxn>
                <a:cxn ang="0">
                  <a:pos x="47" y="42"/>
                </a:cxn>
                <a:cxn ang="0">
                  <a:pos x="53" y="54"/>
                </a:cxn>
                <a:cxn ang="0">
                  <a:pos x="53" y="60"/>
                </a:cxn>
                <a:cxn ang="0">
                  <a:pos x="47" y="54"/>
                </a:cxn>
                <a:cxn ang="0">
                  <a:pos x="35" y="48"/>
                </a:cxn>
                <a:cxn ang="0">
                  <a:pos x="23" y="36"/>
                </a:cxn>
                <a:cxn ang="0">
                  <a:pos x="17" y="30"/>
                </a:cxn>
                <a:cxn ang="0">
                  <a:pos x="0" y="0"/>
                </a:cxn>
                <a:cxn ang="0">
                  <a:pos x="59" y="6"/>
                </a:cxn>
                <a:cxn ang="0">
                  <a:pos x="59" y="6"/>
                </a:cxn>
              </a:cxnLst>
              <a:rect l="0" t="0" r="r" b="b"/>
              <a:pathLst>
                <a:path w="59" h="60">
                  <a:moveTo>
                    <a:pt x="59" y="6"/>
                  </a:moveTo>
                  <a:lnTo>
                    <a:pt x="41" y="30"/>
                  </a:lnTo>
                  <a:lnTo>
                    <a:pt x="41" y="36"/>
                  </a:lnTo>
                  <a:lnTo>
                    <a:pt x="47" y="42"/>
                  </a:lnTo>
                  <a:lnTo>
                    <a:pt x="53" y="54"/>
                  </a:lnTo>
                  <a:lnTo>
                    <a:pt x="53" y="60"/>
                  </a:lnTo>
                  <a:lnTo>
                    <a:pt x="47" y="54"/>
                  </a:lnTo>
                  <a:lnTo>
                    <a:pt x="35" y="48"/>
                  </a:lnTo>
                  <a:lnTo>
                    <a:pt x="23" y="36"/>
                  </a:lnTo>
                  <a:lnTo>
                    <a:pt x="17" y="30"/>
                  </a:lnTo>
                  <a:lnTo>
                    <a:pt x="0" y="0"/>
                  </a:lnTo>
                  <a:lnTo>
                    <a:pt x="59" y="6"/>
                  </a:lnTo>
                  <a:lnTo>
                    <a:pt x="59" y="6"/>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0261" name="Freeform 21"/>
            <p:cNvSpPr>
              <a:spLocks/>
            </p:cNvSpPr>
            <p:nvPr userDrawn="1"/>
          </p:nvSpPr>
          <p:spPr bwMode="auto">
            <a:xfrm>
              <a:off x="395" y="3811"/>
              <a:ext cx="245" cy="207"/>
            </a:xfrm>
            <a:custGeom>
              <a:avLst/>
              <a:gdLst/>
              <a:ahLst/>
              <a:cxnLst>
                <a:cxn ang="0">
                  <a:pos x="233" y="36"/>
                </a:cxn>
                <a:cxn ang="0">
                  <a:pos x="245" y="42"/>
                </a:cxn>
                <a:cxn ang="0">
                  <a:pos x="209" y="84"/>
                </a:cxn>
                <a:cxn ang="0">
                  <a:pos x="143" y="132"/>
                </a:cxn>
                <a:cxn ang="0">
                  <a:pos x="167" y="156"/>
                </a:cxn>
                <a:cxn ang="0">
                  <a:pos x="179" y="204"/>
                </a:cxn>
                <a:cxn ang="0">
                  <a:pos x="77" y="132"/>
                </a:cxn>
                <a:cxn ang="0">
                  <a:pos x="47" y="84"/>
                </a:cxn>
                <a:cxn ang="0">
                  <a:pos x="89" y="66"/>
                </a:cxn>
                <a:cxn ang="0">
                  <a:pos x="59" y="36"/>
                </a:cxn>
                <a:cxn ang="0">
                  <a:pos x="0" y="12"/>
                </a:cxn>
                <a:cxn ang="0">
                  <a:pos x="0" y="0"/>
                </a:cxn>
                <a:cxn ang="0">
                  <a:pos x="6" y="0"/>
                </a:cxn>
                <a:cxn ang="0">
                  <a:pos x="12" y="0"/>
                </a:cxn>
                <a:cxn ang="0">
                  <a:pos x="47" y="6"/>
                </a:cxn>
                <a:cxn ang="0">
                  <a:pos x="77" y="6"/>
                </a:cxn>
                <a:cxn ang="0">
                  <a:pos x="83" y="6"/>
                </a:cxn>
                <a:cxn ang="0">
                  <a:pos x="89" y="6"/>
                </a:cxn>
                <a:cxn ang="0">
                  <a:pos x="101" y="12"/>
                </a:cxn>
                <a:cxn ang="0">
                  <a:pos x="125" y="12"/>
                </a:cxn>
                <a:cxn ang="0">
                  <a:pos x="143" y="18"/>
                </a:cxn>
                <a:cxn ang="0">
                  <a:pos x="149" y="18"/>
                </a:cxn>
                <a:cxn ang="0">
                  <a:pos x="149" y="18"/>
                </a:cxn>
                <a:cxn ang="0">
                  <a:pos x="203" y="24"/>
                </a:cxn>
                <a:cxn ang="0">
                  <a:pos x="233" y="36"/>
                </a:cxn>
                <a:cxn ang="0">
                  <a:pos x="233" y="36"/>
                </a:cxn>
              </a:cxnLst>
              <a:rect l="0" t="0" r="r" b="b"/>
              <a:pathLst>
                <a:path w="245" h="204">
                  <a:moveTo>
                    <a:pt x="233" y="36"/>
                  </a:moveTo>
                  <a:lnTo>
                    <a:pt x="245" y="42"/>
                  </a:lnTo>
                  <a:lnTo>
                    <a:pt x="209" y="84"/>
                  </a:lnTo>
                  <a:lnTo>
                    <a:pt x="143" y="132"/>
                  </a:lnTo>
                  <a:lnTo>
                    <a:pt x="167" y="156"/>
                  </a:lnTo>
                  <a:lnTo>
                    <a:pt x="179" y="204"/>
                  </a:lnTo>
                  <a:lnTo>
                    <a:pt x="77" y="132"/>
                  </a:lnTo>
                  <a:lnTo>
                    <a:pt x="47" y="84"/>
                  </a:lnTo>
                  <a:lnTo>
                    <a:pt x="89" y="66"/>
                  </a:lnTo>
                  <a:lnTo>
                    <a:pt x="59" y="36"/>
                  </a:lnTo>
                  <a:lnTo>
                    <a:pt x="0" y="12"/>
                  </a:lnTo>
                  <a:lnTo>
                    <a:pt x="0" y="0"/>
                  </a:lnTo>
                  <a:lnTo>
                    <a:pt x="6" y="0"/>
                  </a:lnTo>
                  <a:lnTo>
                    <a:pt x="12" y="0"/>
                  </a:lnTo>
                  <a:lnTo>
                    <a:pt x="47" y="6"/>
                  </a:lnTo>
                  <a:lnTo>
                    <a:pt x="77" y="6"/>
                  </a:lnTo>
                  <a:lnTo>
                    <a:pt x="83" y="6"/>
                  </a:lnTo>
                  <a:lnTo>
                    <a:pt x="89" y="6"/>
                  </a:lnTo>
                  <a:lnTo>
                    <a:pt x="101" y="12"/>
                  </a:lnTo>
                  <a:lnTo>
                    <a:pt x="125" y="12"/>
                  </a:lnTo>
                  <a:lnTo>
                    <a:pt x="143" y="18"/>
                  </a:lnTo>
                  <a:lnTo>
                    <a:pt x="149" y="18"/>
                  </a:lnTo>
                  <a:lnTo>
                    <a:pt x="149" y="18"/>
                  </a:lnTo>
                  <a:lnTo>
                    <a:pt x="203" y="24"/>
                  </a:lnTo>
                  <a:lnTo>
                    <a:pt x="233" y="36"/>
                  </a:lnTo>
                  <a:lnTo>
                    <a:pt x="233" y="36"/>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sp>
        <p:nvSpPr>
          <p:cNvPr id="10262" name="Rectangle 22"/>
          <p:cNvSpPr>
            <a:spLocks noGrp="1" noChangeArrowheads="1"/>
          </p:cNvSpPr>
          <p:nvPr>
            <p:ph type="ctrTitle" sz="quarter"/>
          </p:nvPr>
        </p:nvSpPr>
        <p:spPr>
          <a:xfrm>
            <a:off x="457200" y="1447800"/>
            <a:ext cx="8229600" cy="1736725"/>
          </a:xfrm>
        </p:spPr>
        <p:txBody>
          <a:bodyPr/>
          <a:lstStyle>
            <a:lvl1pPr>
              <a:defRPr sz="5400"/>
            </a:lvl1pPr>
          </a:lstStyle>
          <a:p>
            <a:r>
              <a:rPr lang="en-US"/>
              <a:t>Click to edit Master title style</a:t>
            </a:r>
          </a:p>
        </p:txBody>
      </p:sp>
      <p:sp>
        <p:nvSpPr>
          <p:cNvPr id="10263" name="Rectangle 23"/>
          <p:cNvSpPr>
            <a:spLocks noGrp="1" noChangeArrowheads="1"/>
          </p:cNvSpPr>
          <p:nvPr>
            <p:ph type="subTitle" sz="quarter" idx="1"/>
          </p:nvPr>
        </p:nvSpPr>
        <p:spPr>
          <a:xfrm>
            <a:off x="1371600" y="3429000"/>
            <a:ext cx="6400800" cy="1752600"/>
          </a:xfrm>
        </p:spPr>
        <p:txBody>
          <a:bodyPr/>
          <a:lstStyle>
            <a:lvl1pPr marL="0" indent="0" algn="ctr">
              <a:buFontTx/>
              <a:buNone/>
              <a:defRPr>
                <a:effectLst>
                  <a:outerShdw blurRad="38100" dist="38100" dir="2700000" algn="tl">
                    <a:srgbClr val="000000"/>
                  </a:outerShdw>
                </a:effectLst>
              </a:defRPr>
            </a:lvl1pPr>
          </a:lstStyle>
          <a:p>
            <a:r>
              <a:rPr lang="en-US"/>
              <a:t>Click to edit Master subtitle style</a:t>
            </a:r>
          </a:p>
        </p:txBody>
      </p:sp>
      <p:sp>
        <p:nvSpPr>
          <p:cNvPr id="10264" name="Rectangle 24"/>
          <p:cNvSpPr>
            <a:spLocks noGrp="1" noChangeArrowheads="1"/>
          </p:cNvSpPr>
          <p:nvPr>
            <p:ph type="dt" sz="quarter" idx="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10265" name="Rectangle 25"/>
          <p:cNvSpPr>
            <a:spLocks noGrp="1" noChangeArrowheads="1"/>
          </p:cNvSpPr>
          <p:nvPr>
            <p:ph type="sldNum" sz="quarter" idx="4"/>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B42B651-3B16-465C-9E52-FC81DC7A26C2}"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10266" name="Rectangle 26"/>
          <p:cNvSpPr>
            <a:spLocks noGrp="1" noChangeArrowheads="1"/>
          </p:cNvSpPr>
          <p:nvPr>
            <p:ph type="ftr" sz="quarter" idx="3"/>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1522717345"/>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6" name="Slide Number Placeholder 5"/>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9F2726C-88DC-4955-B4D7-492E7A636B64}"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310099031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6" name="Slide Number Placeholder 5"/>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94B3B14-3824-43E3-BD73-C9D26B063557}"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192396394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6" name="Footer Placeholder 5"/>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7" name="Slide Number Placeholder 6"/>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EEAD88D-841F-4300-8178-0B344F7A3434}"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281565669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8" name="Footer Placeholder 7"/>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9" name="Slide Number Placeholder 8"/>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ECB6C82-0DEE-4FEA-B62F-57D879F59CD1}"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15427091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4" name="Footer Placeholder 3"/>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5" name="Slide Number Placeholder 4"/>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4CFDB6C-AA05-481D-AD33-F3C3155B2AAB}"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4736463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
          </p:nvPr>
        </p:nvSpPr>
        <p:spPr>
          <a:xfrm>
            <a:off x="609600"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2"/>
          </p:nvPr>
        </p:nvSpPr>
        <p:spPr>
          <a:xfrm>
            <a:off x="4844901"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7"/>
          <p:cNvSpPr>
            <a:spLocks noGrp="1"/>
          </p:cNvSpPr>
          <p:nvPr>
            <p:ph type="dt" sz="half" idx="10"/>
          </p:nvPr>
        </p:nvSpPr>
        <p:spPr/>
        <p:txBody>
          <a:bodyPr rtlCol="0"/>
          <a:lstStyle>
            <a:lvl1pPr>
              <a:defRPr/>
            </a:lvl1pPr>
          </a:lstStyle>
          <a:p>
            <a:pPr>
              <a:defRPr/>
            </a:pPr>
            <a:endParaRPr lang="en-US">
              <a:solidFill>
                <a:srgbClr val="775F55"/>
              </a:solidFill>
            </a:endParaRPr>
          </a:p>
        </p:txBody>
      </p:sp>
      <p:sp>
        <p:nvSpPr>
          <p:cNvPr id="6" name="Slide Number Placeholder 9"/>
          <p:cNvSpPr>
            <a:spLocks noGrp="1"/>
          </p:cNvSpPr>
          <p:nvPr>
            <p:ph type="sldNum" sz="quarter" idx="11"/>
          </p:nvPr>
        </p:nvSpPr>
        <p:spPr/>
        <p:txBody>
          <a:bodyPr rtlCol="0"/>
          <a:lstStyle>
            <a:lvl1pPr>
              <a:defRPr/>
            </a:lvl1pPr>
          </a:lstStyle>
          <a:p>
            <a:pPr>
              <a:defRPr/>
            </a:pPr>
            <a:fld id="{7E7CA001-53A7-49BA-8ABC-EE49306A4866}" type="slidenum">
              <a:rPr lang="en-US"/>
              <a:pPr>
                <a:defRPr/>
              </a:pPr>
              <a:t>‹#›</a:t>
            </a:fld>
            <a:endParaRPr lang="en-US"/>
          </a:p>
        </p:txBody>
      </p:sp>
      <p:sp>
        <p:nvSpPr>
          <p:cNvPr id="7" name="Footer Placeholder 11"/>
          <p:cNvSpPr>
            <a:spLocks noGrp="1"/>
          </p:cNvSpPr>
          <p:nvPr>
            <p:ph type="ftr" sz="quarter" idx="12"/>
          </p:nvPr>
        </p:nvSpPr>
        <p:spPr/>
        <p:txBody>
          <a:bodyPr rtlCol="0"/>
          <a:lstStyle>
            <a:lvl1pPr>
              <a:defRPr/>
            </a:lvl1pPr>
          </a:lstStyle>
          <a:p>
            <a:pPr>
              <a:defRPr/>
            </a:pPr>
            <a:endParaRPr lang="en-US">
              <a:solidFill>
                <a:srgbClr val="775F55"/>
              </a:solidFill>
            </a:endParaRPr>
          </a:p>
        </p:txBody>
      </p:sp>
    </p:spTree>
    <p:extLst>
      <p:ext uri="{BB962C8B-B14F-4D97-AF65-F5344CB8AC3E}">
        <p14:creationId xmlns:p14="http://schemas.microsoft.com/office/powerpoint/2010/main" val="94802186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3" name="Footer Placeholder 2"/>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4" name="Slide Number Placeholder 3"/>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F6E5077-BAE0-40D5-A8FE-155F3872B552}"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6723499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6" name="Footer Placeholder 5"/>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7" name="Slide Number Placeholder 6"/>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4B9DC58-362E-4B03-B27E-57CA9F8CD7E6}"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211827929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6" name="Footer Placeholder 5"/>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7" name="Slide Number Placeholder 6"/>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14295CC-B4CB-495C-8F8F-45695A9907A6}"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70512569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6" name="Slide Number Placeholder 5"/>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2241E15-FD6C-4DE2-8BDF-3EADDD21AD94}"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321836093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28600"/>
            <a:ext cx="2057400" cy="5867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28600"/>
            <a:ext cx="6019800" cy="5867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6" name="Slide Number Placeholder 5"/>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8D0760C-9E1E-4092-B726-07977206B484}"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293018537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0"/>
            <a:ext cx="4038600" cy="21717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24300"/>
            <a:ext cx="4038600" cy="21717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5"/>
          <p:cNvSpPr>
            <a:spLocks noGrp="1"/>
          </p:cNvSpPr>
          <p:nvPr>
            <p:ph type="dt" sz="half" idx="10"/>
          </p:nvPr>
        </p:nvSpPr>
        <p:spPr>
          <a:xfrm>
            <a:off x="457200" y="6248400"/>
            <a:ext cx="2133600" cy="457200"/>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7" name="Footer Placeholder 6"/>
          <p:cNvSpPr>
            <a:spLocks noGrp="1"/>
          </p:cNvSpPr>
          <p:nvPr>
            <p:ph type="ftr" sz="quarter" idx="11"/>
          </p:nvPr>
        </p:nvSpPr>
        <p:spPr>
          <a:xfrm>
            <a:off x="3124200" y="6248400"/>
            <a:ext cx="2895600" cy="457200"/>
          </a:xfrm>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8" name="Slide Number Placeholder 7"/>
          <p:cNvSpPr>
            <a:spLocks noGrp="1"/>
          </p:cNvSpPr>
          <p:nvPr>
            <p:ph type="sldNum" sz="quarter" idx="12"/>
          </p:nvPr>
        </p:nvSpPr>
        <p:spPr>
          <a:xfrm>
            <a:off x="6553200" y="6248400"/>
            <a:ext cx="2133600" cy="457200"/>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6CE7B80-2D25-4100-9300-6FBD8E2B0767}"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38676893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248400"/>
            <a:ext cx="2133600" cy="457200"/>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6" name="Footer Placeholder 5"/>
          <p:cNvSpPr>
            <a:spLocks noGrp="1"/>
          </p:cNvSpPr>
          <p:nvPr>
            <p:ph type="ftr" sz="quarter" idx="11"/>
          </p:nvPr>
        </p:nvSpPr>
        <p:spPr>
          <a:xfrm>
            <a:off x="3124200" y="6248400"/>
            <a:ext cx="2895600" cy="457200"/>
          </a:xfrm>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7" name="Slide Number Placeholder 6"/>
          <p:cNvSpPr>
            <a:spLocks noGrp="1"/>
          </p:cNvSpPr>
          <p:nvPr>
            <p:ph type="sldNum" sz="quarter" idx="12"/>
          </p:nvPr>
        </p:nvSpPr>
        <p:spPr>
          <a:xfrm>
            <a:off x="6553200" y="6248400"/>
            <a:ext cx="2133600" cy="457200"/>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4637139-4836-4E25-8D0C-A108A71EAC6F}"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380099750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28600"/>
            <a:ext cx="8229600" cy="5867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2"/>
          <p:cNvSpPr>
            <a:spLocks noGrp="1"/>
          </p:cNvSpPr>
          <p:nvPr>
            <p:ph type="dt" sz="half" idx="10"/>
          </p:nvPr>
        </p:nvSpPr>
        <p:spPr>
          <a:xfrm>
            <a:off x="457200" y="6248400"/>
            <a:ext cx="2133600" cy="457200"/>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4" name="Footer Placeholder 3"/>
          <p:cNvSpPr>
            <a:spLocks noGrp="1"/>
          </p:cNvSpPr>
          <p:nvPr>
            <p:ph type="ftr" sz="quarter" idx="11"/>
          </p:nvPr>
        </p:nvSpPr>
        <p:spPr>
          <a:xfrm>
            <a:off x="3124200" y="6248400"/>
            <a:ext cx="2895600" cy="457200"/>
          </a:xfrm>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5" name="Slide Number Placeholder 4"/>
          <p:cNvSpPr>
            <a:spLocks noGrp="1"/>
          </p:cNvSpPr>
          <p:nvPr>
            <p:ph type="sldNum" sz="quarter" idx="12"/>
          </p:nvPr>
        </p:nvSpPr>
        <p:spPr>
          <a:xfrm>
            <a:off x="6553200" y="6248400"/>
            <a:ext cx="2133600" cy="457200"/>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9AA9CBD-D179-4F75-892D-201C4AD92F0B}"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414696865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6097" y="86404"/>
            <a:ext cx="8369865" cy="899985"/>
          </a:xfrm>
          <a:prstGeom prst="rect">
            <a:avLst/>
          </a:prstGeom>
        </p:spPr>
        <p:txBody>
          <a:bodyPr>
            <a:noAutofit/>
          </a:bodyPr>
          <a:lstStyle>
            <a:lvl1pPr algn="l">
              <a:defRPr sz="1575" b="1" i="0">
                <a:solidFill>
                  <a:srgbClr val="5C5C5C"/>
                </a:solidFill>
                <a:latin typeface="Arial (Headings)"/>
              </a:defRPr>
            </a:lvl1pPr>
          </a:lstStyle>
          <a:p>
            <a:r>
              <a:rPr lang="en-GB" dirty="0"/>
              <a:t>Click to edit Master title style</a:t>
            </a:r>
            <a:endParaRPr lang="en-US" dirty="0"/>
          </a:p>
        </p:txBody>
      </p:sp>
      <p:sp>
        <p:nvSpPr>
          <p:cNvPr id="3" name="Content Placeholder 2"/>
          <p:cNvSpPr>
            <a:spLocks noGrp="1"/>
          </p:cNvSpPr>
          <p:nvPr>
            <p:ph idx="1"/>
          </p:nvPr>
        </p:nvSpPr>
        <p:spPr>
          <a:xfrm>
            <a:off x="386097" y="1079999"/>
            <a:ext cx="8369865" cy="5101200"/>
          </a:xfrm>
          <a:prstGeom prst="rect">
            <a:avLst/>
          </a:prstGeom>
        </p:spPr>
        <p:txBody>
          <a:bodyPr/>
          <a:lstStyle>
            <a:lvl1pPr>
              <a:defRPr b="0">
                <a:latin typeface="+mn-lt"/>
              </a:defRPr>
            </a:lvl1pPr>
            <a:lvl2pPr>
              <a:buClr>
                <a:schemeClr val="tx2"/>
              </a:buClr>
              <a:defRPr b="0">
                <a:latin typeface="+mn-lt"/>
              </a:defRPr>
            </a:lvl2pPr>
            <a:lvl3pPr>
              <a:buClr>
                <a:schemeClr val="tx2"/>
              </a:buClr>
              <a:defRPr b="0">
                <a:latin typeface="+mn-lt"/>
              </a:defRPr>
            </a:lvl3pPr>
            <a:lvl4pPr>
              <a:buClr>
                <a:schemeClr val="tx2"/>
              </a:buClr>
              <a:defRPr b="0">
                <a:latin typeface="+mn-lt"/>
              </a:defRPr>
            </a:lvl4pPr>
            <a:lvl5pPr>
              <a:buClr>
                <a:schemeClr val="tx2"/>
              </a:buCl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ext Placeholder 20">
            <a:extLst/>
          </p:cNvPr>
          <p:cNvSpPr>
            <a:spLocks noGrp="1"/>
          </p:cNvSpPr>
          <p:nvPr>
            <p:ph type="body" sz="quarter" idx="11"/>
          </p:nvPr>
        </p:nvSpPr>
        <p:spPr>
          <a:xfrm>
            <a:off x="3" y="6317903"/>
            <a:ext cx="8639861" cy="539991"/>
          </a:xfrm>
          <a:prstGeom prst="rect">
            <a:avLst/>
          </a:prstGeom>
        </p:spPr>
        <p:txBody>
          <a:bodyPr lIns="89999" tIns="46799" rIns="89999" bIns="46799" anchor="b">
            <a:noAutofit/>
          </a:bodyPr>
          <a:lstStyle>
            <a:lvl1pPr marL="0" indent="0" algn="l">
              <a:lnSpc>
                <a:spcPct val="100000"/>
              </a:lnSpc>
              <a:spcBef>
                <a:spcPts val="169"/>
              </a:spcBef>
              <a:spcAft>
                <a:spcPts val="0"/>
              </a:spcAft>
              <a:buNone/>
              <a:defRPr sz="563" b="0">
                <a:solidFill>
                  <a:schemeClr val="tx1"/>
                </a:solidFill>
                <a:latin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494028993"/>
      </p:ext>
    </p:extLst>
  </p:cSld>
  <p:clrMapOvr>
    <a:masterClrMapping/>
  </p:clrMapOv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Top text">
    <p:spTree>
      <p:nvGrpSpPr>
        <p:cNvPr id="1" name=""/>
        <p:cNvGrpSpPr/>
        <p:nvPr/>
      </p:nvGrpSpPr>
      <p:grpSpPr>
        <a:xfrm>
          <a:off x="0" y="0"/>
          <a:ext cx="0" cy="0"/>
          <a:chOff x="0" y="0"/>
          <a:chExt cx="0" cy="0"/>
        </a:xfrm>
      </p:grpSpPr>
      <p:sp>
        <p:nvSpPr>
          <p:cNvPr id="2" name="Title 1"/>
          <p:cNvSpPr>
            <a:spLocks noGrp="1"/>
          </p:cNvSpPr>
          <p:nvPr>
            <p:ph type="title"/>
          </p:nvPr>
        </p:nvSpPr>
        <p:spPr>
          <a:xfrm>
            <a:off x="386097" y="86404"/>
            <a:ext cx="8369865" cy="899985"/>
          </a:xfrm>
          <a:prstGeom prst="rect">
            <a:avLst/>
          </a:prstGeom>
        </p:spPr>
        <p:txBody>
          <a:bodyPr>
            <a:noAutofit/>
          </a:bodyPr>
          <a:lstStyle>
            <a:lvl1pPr algn="l">
              <a:defRPr sz="1575" b="1" i="0">
                <a:solidFill>
                  <a:srgbClr val="5C5C5C"/>
                </a:solidFill>
                <a:latin typeface="Arial (Headings)"/>
              </a:defRPr>
            </a:lvl1pPr>
          </a:lstStyle>
          <a:p>
            <a:r>
              <a:rPr lang="en-GB" dirty="0"/>
              <a:t>Click to edit Master title style</a:t>
            </a:r>
            <a:endParaRPr lang="en-US" dirty="0"/>
          </a:p>
        </p:txBody>
      </p:sp>
      <p:sp>
        <p:nvSpPr>
          <p:cNvPr id="3" name="Content Placeholder 2"/>
          <p:cNvSpPr>
            <a:spLocks noGrp="1"/>
          </p:cNvSpPr>
          <p:nvPr>
            <p:ph idx="1"/>
          </p:nvPr>
        </p:nvSpPr>
        <p:spPr>
          <a:xfrm>
            <a:off x="386097" y="1080002"/>
            <a:ext cx="8369865" cy="1753353"/>
          </a:xfrm>
          <a:prstGeom prst="rect">
            <a:avLst/>
          </a:prstGeom>
        </p:spPr>
        <p:txBody>
          <a:bodyPr/>
          <a:lstStyle>
            <a:lvl1pPr>
              <a:defRPr b="0">
                <a:latin typeface="+mn-lt"/>
              </a:defRPr>
            </a:lvl1pPr>
            <a:lvl2pPr>
              <a:buClr>
                <a:schemeClr val="tx2"/>
              </a:buClr>
              <a:defRPr b="0">
                <a:latin typeface="+mn-lt"/>
              </a:defRPr>
            </a:lvl2pPr>
            <a:lvl3pPr>
              <a:buClr>
                <a:schemeClr val="tx2"/>
              </a:buClr>
              <a:defRPr b="0">
                <a:latin typeface="+mn-lt"/>
              </a:defRPr>
            </a:lvl3pPr>
            <a:lvl4pPr>
              <a:buClr>
                <a:schemeClr val="tx2"/>
              </a:buClr>
              <a:defRPr b="0">
                <a:latin typeface="+mn-lt"/>
              </a:defRPr>
            </a:lvl4pPr>
            <a:lvl5pPr>
              <a:buClr>
                <a:schemeClr val="tx2"/>
              </a:buCl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ext Placeholder 20">
            <a:extLst/>
          </p:cNvPr>
          <p:cNvSpPr>
            <a:spLocks noGrp="1"/>
          </p:cNvSpPr>
          <p:nvPr>
            <p:ph type="body" sz="quarter" idx="11"/>
          </p:nvPr>
        </p:nvSpPr>
        <p:spPr>
          <a:xfrm>
            <a:off x="3" y="6317903"/>
            <a:ext cx="8639861" cy="539991"/>
          </a:xfrm>
          <a:prstGeom prst="rect">
            <a:avLst/>
          </a:prstGeom>
        </p:spPr>
        <p:txBody>
          <a:bodyPr lIns="89999" tIns="46799" rIns="89999" bIns="46799" anchor="b">
            <a:noAutofit/>
          </a:bodyPr>
          <a:lstStyle>
            <a:lvl1pPr marL="0" indent="0" algn="l">
              <a:lnSpc>
                <a:spcPct val="100000"/>
              </a:lnSpc>
              <a:spcBef>
                <a:spcPts val="169"/>
              </a:spcBef>
              <a:spcAft>
                <a:spcPts val="0"/>
              </a:spcAft>
              <a:buNone/>
              <a:defRPr sz="563" b="0">
                <a:solidFill>
                  <a:schemeClr val="tx1"/>
                </a:solidFill>
                <a:latin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4047422095"/>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lstStyle>
            <a:lvl1pPr>
              <a:defRPr/>
            </a:lvl1pPr>
          </a:lstStyle>
          <a:p>
            <a:r>
              <a:rPr lang="en-US" smtClean="0"/>
              <a:t>Click to edit Master title style</a:t>
            </a:r>
            <a:endParaRPr lang="en-US"/>
          </a:p>
        </p:txBody>
      </p:sp>
      <p:sp>
        <p:nvSpPr>
          <p:cNvPr id="11" name="Content Placeholder 10"/>
          <p:cNvSpPr>
            <a:spLocks noGrp="1"/>
          </p:cNvSpPr>
          <p:nvPr>
            <p:ph sz="quarter" idx="2"/>
          </p:nvPr>
        </p:nvSpPr>
        <p:spPr>
          <a:xfrm>
            <a:off x="609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12"/>
          <p:cNvSpPr>
            <a:spLocks noGrp="1"/>
          </p:cNvSpPr>
          <p:nvPr>
            <p:ph sz="quarter" idx="4"/>
          </p:nvPr>
        </p:nvSpPr>
        <p:spPr>
          <a:xfrm>
            <a:off x="4800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7" name="Date Placeholder 9"/>
          <p:cNvSpPr>
            <a:spLocks noGrp="1"/>
          </p:cNvSpPr>
          <p:nvPr>
            <p:ph type="dt" sz="half" idx="10"/>
          </p:nvPr>
        </p:nvSpPr>
        <p:spPr/>
        <p:txBody>
          <a:bodyPr rtlCol="0"/>
          <a:lstStyle>
            <a:lvl1pPr>
              <a:defRPr/>
            </a:lvl1pPr>
          </a:lstStyle>
          <a:p>
            <a:pPr>
              <a:defRPr/>
            </a:pPr>
            <a:endParaRPr lang="en-US">
              <a:solidFill>
                <a:srgbClr val="775F55"/>
              </a:solidFill>
            </a:endParaRPr>
          </a:p>
        </p:txBody>
      </p:sp>
      <p:sp>
        <p:nvSpPr>
          <p:cNvPr id="8" name="Slide Number Placeholder 11"/>
          <p:cNvSpPr>
            <a:spLocks noGrp="1"/>
          </p:cNvSpPr>
          <p:nvPr>
            <p:ph type="sldNum" sz="quarter" idx="11"/>
          </p:nvPr>
        </p:nvSpPr>
        <p:spPr/>
        <p:txBody>
          <a:bodyPr rtlCol="0"/>
          <a:lstStyle>
            <a:lvl1pPr>
              <a:defRPr/>
            </a:lvl1pPr>
          </a:lstStyle>
          <a:p>
            <a:pPr>
              <a:defRPr/>
            </a:pPr>
            <a:fld id="{6A5D0C8C-DFEB-45A8-9EE0-05EADDB58FFC}" type="slidenum">
              <a:rPr lang="en-US"/>
              <a:pPr>
                <a:defRPr/>
              </a:pPr>
              <a:t>‹#›</a:t>
            </a:fld>
            <a:endParaRPr lang="en-US"/>
          </a:p>
        </p:txBody>
      </p:sp>
      <p:sp>
        <p:nvSpPr>
          <p:cNvPr id="9" name="Footer Placeholder 13"/>
          <p:cNvSpPr>
            <a:spLocks noGrp="1"/>
          </p:cNvSpPr>
          <p:nvPr>
            <p:ph type="ftr" sz="quarter" idx="12"/>
          </p:nvPr>
        </p:nvSpPr>
        <p:spPr/>
        <p:txBody>
          <a:bodyPr rtlCol="0"/>
          <a:lstStyle>
            <a:lvl1pPr>
              <a:defRPr/>
            </a:lvl1pPr>
          </a:lstStyle>
          <a:p>
            <a:pPr>
              <a:defRPr/>
            </a:pPr>
            <a:endParaRPr lang="en-US">
              <a:solidFill>
                <a:srgbClr val="775F55"/>
              </a:solidFill>
            </a:endParaRPr>
          </a:p>
        </p:txBody>
      </p:sp>
    </p:spTree>
    <p:extLst>
      <p:ext uri="{BB962C8B-B14F-4D97-AF65-F5344CB8AC3E}">
        <p14:creationId xmlns:p14="http://schemas.microsoft.com/office/powerpoint/2010/main" val="382475577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cSld name="RIA">
    <p:spTree>
      <p:nvGrpSpPr>
        <p:cNvPr id="1" name=""/>
        <p:cNvGrpSpPr/>
        <p:nvPr/>
      </p:nvGrpSpPr>
      <p:grpSpPr>
        <a:xfrm>
          <a:off x="0" y="0"/>
          <a:ext cx="0" cy="0"/>
          <a:chOff x="0" y="0"/>
          <a:chExt cx="0" cy="0"/>
        </a:xfrm>
      </p:grpSpPr>
      <p:sp>
        <p:nvSpPr>
          <p:cNvPr id="9" name="Title 8"/>
          <p:cNvSpPr>
            <a:spLocks noGrp="1"/>
          </p:cNvSpPr>
          <p:nvPr>
            <p:ph type="title"/>
          </p:nvPr>
        </p:nvSpPr>
        <p:spPr>
          <a:xfrm>
            <a:off x="216003" y="1442243"/>
            <a:ext cx="6822759" cy="672000"/>
          </a:xfrm>
          <a:prstGeom prst="rect">
            <a:avLst/>
          </a:prstGeom>
        </p:spPr>
        <p:txBody>
          <a:bodyPr lIns="121917" tIns="60958" rIns="121917" bIns="60958"/>
          <a:lstStyle>
            <a:lvl1pPr algn="l">
              <a:lnSpc>
                <a:spcPct val="90000"/>
              </a:lnSpc>
              <a:defRPr sz="2081" b="1" baseline="0">
                <a:solidFill>
                  <a:schemeClr val="tx2"/>
                </a:solidFill>
                <a:latin typeface="Arial" pitchFamily="34" charset="0"/>
                <a:cs typeface="Arial" pitchFamily="34" charset="0"/>
              </a:defRPr>
            </a:lvl1pPr>
          </a:lstStyle>
          <a:p>
            <a:r>
              <a:rPr lang="en-US" noProof="0"/>
              <a:t>Click to edit Master title style</a:t>
            </a:r>
            <a:endParaRPr lang="en-GB" noProof="0" dirty="0"/>
          </a:p>
        </p:txBody>
      </p:sp>
      <p:sp>
        <p:nvSpPr>
          <p:cNvPr id="10" name="Text Placeholder 29"/>
          <p:cNvSpPr>
            <a:spLocks noGrp="1"/>
          </p:cNvSpPr>
          <p:nvPr>
            <p:ph type="body" sz="quarter" idx="11"/>
          </p:nvPr>
        </p:nvSpPr>
        <p:spPr>
          <a:xfrm>
            <a:off x="215999" y="3202200"/>
            <a:ext cx="6480000" cy="254400"/>
          </a:xfrm>
          <a:prstGeom prst="rect">
            <a:avLst/>
          </a:prstGeom>
        </p:spPr>
        <p:txBody>
          <a:bodyPr lIns="121917" tIns="60958" rIns="121917" bIns="60958"/>
          <a:lstStyle>
            <a:lvl1pPr marL="0" indent="0">
              <a:lnSpc>
                <a:spcPts val="825"/>
              </a:lnSpc>
              <a:spcBef>
                <a:spcPts val="0"/>
              </a:spcBef>
              <a:buNone/>
              <a:defRPr sz="1069" b="1">
                <a:solidFill>
                  <a:schemeClr val="tx1"/>
                </a:solidFill>
                <a:latin typeface="Arial" pitchFamily="34" charset="0"/>
                <a:cs typeface="Arial" pitchFamily="34" charset="0"/>
              </a:defRPr>
            </a:lvl1pPr>
          </a:lstStyle>
          <a:p>
            <a:pPr lvl="0"/>
            <a:r>
              <a:rPr lang="en-US" noProof="0"/>
              <a:t>Click to edit Master text styles</a:t>
            </a:r>
          </a:p>
        </p:txBody>
      </p:sp>
      <p:sp>
        <p:nvSpPr>
          <p:cNvPr id="11" name="Text Placeholder 29"/>
          <p:cNvSpPr>
            <a:spLocks noGrp="1"/>
          </p:cNvSpPr>
          <p:nvPr>
            <p:ph type="body" sz="quarter" idx="12"/>
          </p:nvPr>
        </p:nvSpPr>
        <p:spPr>
          <a:xfrm>
            <a:off x="215999" y="3477200"/>
            <a:ext cx="6480000" cy="254400"/>
          </a:xfrm>
          <a:prstGeom prst="rect">
            <a:avLst/>
          </a:prstGeom>
        </p:spPr>
        <p:txBody>
          <a:bodyPr lIns="121917" tIns="60958" rIns="121917" bIns="60958"/>
          <a:lstStyle>
            <a:lvl1pPr marL="0" indent="0">
              <a:lnSpc>
                <a:spcPts val="825"/>
              </a:lnSpc>
              <a:spcBef>
                <a:spcPts val="0"/>
              </a:spcBef>
              <a:buNone/>
              <a:defRPr sz="900">
                <a:solidFill>
                  <a:schemeClr val="tx1"/>
                </a:solidFill>
                <a:latin typeface="Arial" pitchFamily="34" charset="0"/>
                <a:cs typeface="Arial" pitchFamily="34" charset="0"/>
              </a:defRPr>
            </a:lvl1pPr>
          </a:lstStyle>
          <a:p>
            <a:pPr lvl="0"/>
            <a:r>
              <a:rPr lang="en-US" noProof="0"/>
              <a:t>Click to edit Master text styles</a:t>
            </a:r>
          </a:p>
        </p:txBody>
      </p:sp>
      <p:sp>
        <p:nvSpPr>
          <p:cNvPr id="12" name="Text Placeholder 29"/>
          <p:cNvSpPr>
            <a:spLocks noGrp="1"/>
          </p:cNvSpPr>
          <p:nvPr>
            <p:ph type="body" sz="quarter" idx="15"/>
          </p:nvPr>
        </p:nvSpPr>
        <p:spPr>
          <a:xfrm>
            <a:off x="7128000" y="3202200"/>
            <a:ext cx="1872000" cy="254400"/>
          </a:xfrm>
          <a:prstGeom prst="rect">
            <a:avLst/>
          </a:prstGeom>
        </p:spPr>
        <p:txBody>
          <a:bodyPr lIns="121917" tIns="60958" rIns="121917" bIns="60958"/>
          <a:lstStyle>
            <a:lvl1pPr marL="0" indent="0">
              <a:lnSpc>
                <a:spcPts val="825"/>
              </a:lnSpc>
              <a:spcBef>
                <a:spcPts val="0"/>
              </a:spcBef>
              <a:buNone/>
              <a:defRPr sz="900" baseline="0">
                <a:solidFill>
                  <a:schemeClr val="tx1"/>
                </a:solidFill>
                <a:latin typeface="Arial" pitchFamily="34" charset="0"/>
                <a:cs typeface="Arial" pitchFamily="34" charset="0"/>
              </a:defRPr>
            </a:lvl1pPr>
          </a:lstStyle>
          <a:p>
            <a:pPr lvl="0"/>
            <a:r>
              <a:rPr lang="en-US" noProof="0"/>
              <a:t>Click to edit Master text styles</a:t>
            </a:r>
          </a:p>
        </p:txBody>
      </p:sp>
      <p:sp>
        <p:nvSpPr>
          <p:cNvPr id="13" name="Text Placeholder 29"/>
          <p:cNvSpPr>
            <a:spLocks noGrp="1"/>
          </p:cNvSpPr>
          <p:nvPr>
            <p:ph type="body" sz="quarter" idx="13"/>
          </p:nvPr>
        </p:nvSpPr>
        <p:spPr>
          <a:xfrm>
            <a:off x="7128000" y="3477200"/>
            <a:ext cx="1872000" cy="254400"/>
          </a:xfrm>
          <a:prstGeom prst="rect">
            <a:avLst/>
          </a:prstGeom>
        </p:spPr>
        <p:txBody>
          <a:bodyPr lIns="121917" tIns="60958" rIns="121917" bIns="60958"/>
          <a:lstStyle>
            <a:lvl1pPr marL="0" indent="0">
              <a:lnSpc>
                <a:spcPts val="825"/>
              </a:lnSpc>
              <a:spcBef>
                <a:spcPts val="0"/>
              </a:spcBef>
              <a:buNone/>
              <a:defRPr sz="900">
                <a:solidFill>
                  <a:schemeClr val="tx1"/>
                </a:solidFill>
                <a:latin typeface="Arial" pitchFamily="34" charset="0"/>
                <a:cs typeface="Arial" pitchFamily="34" charset="0"/>
              </a:defRPr>
            </a:lvl1pPr>
          </a:lstStyle>
          <a:p>
            <a:pPr lvl="0"/>
            <a:r>
              <a:rPr lang="en-US" noProof="0"/>
              <a:t>Click to edit Master text styles</a:t>
            </a:r>
          </a:p>
        </p:txBody>
      </p:sp>
    </p:spTree>
    <p:extLst>
      <p:ext uri="{BB962C8B-B14F-4D97-AF65-F5344CB8AC3E}">
        <p14:creationId xmlns:p14="http://schemas.microsoft.com/office/powerpoint/2010/main" val="3520505506"/>
      </p:ext>
    </p:extLst>
  </p:cSld>
  <p:clrMapOvr>
    <a:masterClrMapping/>
  </p:clrMapOv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cSld name="3_Title Only">
    <p:spTree>
      <p:nvGrpSpPr>
        <p:cNvPr id="1" name=""/>
        <p:cNvGrpSpPr/>
        <p:nvPr/>
      </p:nvGrpSpPr>
      <p:grpSpPr>
        <a:xfrm>
          <a:off x="0" y="0"/>
          <a:ext cx="0" cy="0"/>
          <a:chOff x="0" y="0"/>
          <a:chExt cx="0" cy="0"/>
        </a:xfrm>
      </p:grpSpPr>
      <p:graphicFrame>
        <p:nvGraphicFramePr>
          <p:cNvPr id="3" name="Object 4" hidden="1">
            <a:extLst>
              <a:ext uri="{FF2B5EF4-FFF2-40B4-BE49-F238E27FC236}">
                <a16:creationId xmlns:a16="http://schemas.microsoft.com/office/drawing/2014/main" id="{06054FDA-541C-4DC6-877A-1BDFB7557D75}"/>
              </a:ext>
            </a:extLst>
          </p:cNvPr>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88781" name="think-cell Slide" r:id="rId4" imgW="360" imgH="360" progId="">
                  <p:embed/>
                </p:oleObj>
              </mc:Choice>
              <mc:Fallback>
                <p:oleObj name="think-cell Slide" r:id="rId4" imgW="360" imgH="360" progId="">
                  <p:embed/>
                  <p:pic>
                    <p:nvPicPr>
                      <p:cNvPr id="3" name="Object 4" hidden="1">
                        <a:extLst>
                          <a:ext uri="{FF2B5EF4-FFF2-40B4-BE49-F238E27FC236}">
                            <a16:creationId xmlns:a16="http://schemas.microsoft.com/office/drawing/2014/main" id="{06054FDA-541C-4DC6-877A-1BDFB7557D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8"/>
          <p:cNvSpPr>
            <a:spLocks noGrp="1"/>
          </p:cNvSpPr>
          <p:nvPr>
            <p:ph type="title"/>
          </p:nvPr>
        </p:nvSpPr>
        <p:spPr>
          <a:xfrm>
            <a:off x="237071" y="192000"/>
            <a:ext cx="8765651" cy="672000"/>
          </a:xfrm>
          <a:prstGeom prst="rect">
            <a:avLst/>
          </a:prstGeom>
        </p:spPr>
        <p:txBody>
          <a:bodyPr>
            <a:normAutofit/>
          </a:bodyPr>
          <a:lstStyle>
            <a:lvl1pPr algn="l" defTabSz="342740" rtl="0" eaLnBrk="1" latinLnBrk="0" hangingPunct="1">
              <a:lnSpc>
                <a:spcPct val="100000"/>
              </a:lnSpc>
              <a:spcBef>
                <a:spcPct val="0"/>
              </a:spcBef>
              <a:buNone/>
              <a:defRPr lang="en-GB" sz="1519" b="1" kern="1200" baseline="0" noProof="0" dirty="0">
                <a:solidFill>
                  <a:schemeClr val="accent6">
                    <a:lumMod val="50000"/>
                  </a:schemeClr>
                </a:solidFill>
                <a:latin typeface="Arial" pitchFamily="34" charset="0"/>
                <a:ea typeface="+mj-ea"/>
                <a:cs typeface="Arial" pitchFamily="34" charset="0"/>
              </a:defRPr>
            </a:lvl1pPr>
          </a:lstStyle>
          <a:p>
            <a:r>
              <a:rPr lang="en-US" noProof="0"/>
              <a:t>Click to edit Master title style</a:t>
            </a:r>
            <a:endParaRPr lang="en-GB" noProof="0" dirty="0"/>
          </a:p>
        </p:txBody>
      </p:sp>
      <p:sp>
        <p:nvSpPr>
          <p:cNvPr id="4" name="Slide Number Placeholder 5">
            <a:extLst>
              <a:ext uri="{FF2B5EF4-FFF2-40B4-BE49-F238E27FC236}">
                <a16:creationId xmlns:a16="http://schemas.microsoft.com/office/drawing/2014/main" id="{5F603263-1161-48F2-85C8-F05E0782344E}"/>
              </a:ext>
            </a:extLst>
          </p:cNvPr>
          <p:cNvSpPr>
            <a:spLocks noGrp="1"/>
          </p:cNvSpPr>
          <p:nvPr>
            <p:ph type="sldNum" sz="quarter" idx="10"/>
          </p:nvPr>
        </p:nvSpPr>
        <p:spPr>
          <a:xfrm>
            <a:off x="8707444" y="6596063"/>
            <a:ext cx="396875" cy="215900"/>
          </a:xfrm>
          <a:prstGeom prst="rect">
            <a:avLst/>
          </a:prstGeom>
        </p:spPr>
        <p:txBody>
          <a:bodyPr vert="horz" wrap="square" lIns="0" tIns="0" rIns="0" bIns="0" numCol="1" anchor="t" anchorCtr="0" compatLnSpc="1">
            <a:prstTxWarp prst="textNoShape">
              <a:avLst/>
            </a:prstTxWarp>
          </a:bodyPr>
          <a:lstStyle>
            <a:lvl1pPr algn="r" defTabSz="255985" eaLnBrk="1" hangingPunct="1">
              <a:defRPr sz="600" b="1">
                <a:solidFill>
                  <a:srgbClr val="000000"/>
                </a:solidFill>
              </a:defRPr>
            </a:lvl1pPr>
          </a:lstStyle>
          <a:p>
            <a:pPr marL="0" marR="0" lvl="0" indent="0" algn="r" defTabSz="255985" rtl="0" eaLnBrk="1" fontAlgn="auto" latinLnBrk="0" hangingPunct="1">
              <a:lnSpc>
                <a:spcPct val="100000"/>
              </a:lnSpc>
              <a:spcBef>
                <a:spcPts val="0"/>
              </a:spcBef>
              <a:spcAft>
                <a:spcPts val="0"/>
              </a:spcAft>
              <a:buClrTx/>
              <a:buSzTx/>
              <a:buFontTx/>
              <a:buNone/>
              <a:tabLst/>
              <a:defRPr/>
            </a:pPr>
            <a:fld id="{B6F15528-21DE-4FAA-801E-634DDDAF4B2B}" type="slidenum">
              <a:rPr kumimoji="0" lang="en-US" sz="60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255985" rtl="0" eaLnBrk="1" fontAlgn="auto" latinLnBrk="0" hangingPunct="1">
                <a:lnSpc>
                  <a:spcPct val="100000"/>
                </a:lnSpc>
                <a:spcBef>
                  <a:spcPts val="0"/>
                </a:spcBef>
                <a:spcAft>
                  <a:spcPts val="0"/>
                </a:spcAft>
                <a:buClrTx/>
                <a:buSzTx/>
                <a:buFontTx/>
                <a:buNone/>
                <a:tabLst/>
                <a:defRPr/>
              </a:pPr>
              <a:t>‹#›</a:t>
            </a:fld>
            <a:endParaRPr kumimoji="0" lang="en-US" sz="600" b="1"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80949018"/>
      </p:ext>
    </p:extLst>
  </p:cSld>
  <p:clrMapOvr>
    <a:masterClrMapping/>
  </p:clrMapOv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23447" y="626253"/>
            <a:ext cx="8763800" cy="334707"/>
          </a:xfrm>
          <a:prstGeom prst="rect">
            <a:avLst/>
          </a:prstGeom>
        </p:spPr>
        <p:txBody>
          <a:bodyPr lIns="91440" tIns="45720" rIns="91440" bIns="45720" rtlCol="0" anchor="t">
            <a:spAutoFit/>
          </a:bodyPr>
          <a:lstStyle/>
          <a:p>
            <a:r>
              <a:rPr lang="en-US" dirty="0"/>
              <a:t>Click to edit Master title style</a:t>
            </a:r>
            <a:endParaRPr lang="en-GB" dirty="0"/>
          </a:p>
        </p:txBody>
      </p:sp>
      <p:sp>
        <p:nvSpPr>
          <p:cNvPr id="5" name="Text Placeholder 2"/>
          <p:cNvSpPr>
            <a:spLocks noGrp="1"/>
          </p:cNvSpPr>
          <p:nvPr>
            <p:ph idx="1"/>
          </p:nvPr>
        </p:nvSpPr>
        <p:spPr>
          <a:xfrm>
            <a:off x="223448" y="1657892"/>
            <a:ext cx="8763798" cy="669414"/>
          </a:xfrm>
          <a:prstGeom prst="rect">
            <a:avLst/>
          </a:prstGeom>
        </p:spPr>
        <p:txBody>
          <a:bodyPr lIns="91440">
            <a:sp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288008041"/>
      </p:ext>
    </p:extLst>
  </p:cSld>
  <p:clrMapOvr>
    <a:masterClrMapping/>
  </p:clrMapOv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Text Placeholder 4"/>
          <p:cNvSpPr>
            <a:spLocks noGrp="1"/>
          </p:cNvSpPr>
          <p:nvPr>
            <p:ph type="body" sz="quarter" idx="10"/>
          </p:nvPr>
        </p:nvSpPr>
        <p:spPr>
          <a:xfrm>
            <a:off x="4572001" y="5814269"/>
            <a:ext cx="4140200" cy="360363"/>
          </a:xfrm>
        </p:spPr>
        <p:txBody>
          <a:bodyPr tIns="0" rIns="0" bIns="0" anchor="b"/>
          <a:lstStyle>
            <a:lvl1pPr marL="0" indent="0" algn="r">
              <a:spcBef>
                <a:spcPts val="0"/>
              </a:spcBef>
              <a:buNone/>
              <a:defRPr sz="619" b="0">
                <a:solidFill>
                  <a:schemeClr val="tx1"/>
                </a:solidFill>
              </a:defRPr>
            </a:lvl1pPr>
            <a:lvl2pPr algn="r">
              <a:buNone/>
              <a:defRPr b="0"/>
            </a:lvl2pPr>
            <a:lvl3pPr algn="r">
              <a:buNone/>
              <a:defRPr b="0"/>
            </a:lvl3pPr>
            <a:lvl4pPr algn="r">
              <a:buNone/>
              <a:defRPr b="0"/>
            </a:lvl4pPr>
            <a:lvl5pPr algn="r">
              <a:buNone/>
              <a:defRPr b="0"/>
            </a:lvl5pPr>
          </a:lstStyle>
          <a:p>
            <a:pPr lvl="0"/>
            <a:r>
              <a:rPr lang="en-US"/>
              <a:t>Click to edit Master text styles</a:t>
            </a:r>
          </a:p>
        </p:txBody>
      </p:sp>
      <p:sp>
        <p:nvSpPr>
          <p:cNvPr id="7" name="Text Placeholder 4"/>
          <p:cNvSpPr>
            <a:spLocks noGrp="1"/>
          </p:cNvSpPr>
          <p:nvPr>
            <p:ph type="body" sz="quarter" idx="11"/>
          </p:nvPr>
        </p:nvSpPr>
        <p:spPr>
          <a:xfrm>
            <a:off x="431800" y="6119817"/>
            <a:ext cx="4140200" cy="360363"/>
          </a:xfrm>
        </p:spPr>
        <p:txBody>
          <a:bodyPr tIns="0" rIns="0" bIns="0" anchor="b"/>
          <a:lstStyle>
            <a:lvl1pPr marL="0" indent="0" algn="l">
              <a:spcBef>
                <a:spcPts val="0"/>
              </a:spcBef>
              <a:buNone/>
              <a:defRPr sz="619" b="0">
                <a:solidFill>
                  <a:schemeClr val="tx1"/>
                </a:solidFill>
              </a:defRPr>
            </a:lvl1pPr>
            <a:lvl2pPr algn="r">
              <a:buNone/>
              <a:defRPr b="0"/>
            </a:lvl2pPr>
            <a:lvl3pPr algn="r">
              <a:buNone/>
              <a:defRPr b="0"/>
            </a:lvl3pPr>
            <a:lvl4pPr algn="r">
              <a:buNone/>
              <a:defRPr b="0"/>
            </a:lvl4pPr>
            <a:lvl5pPr algn="r">
              <a:buNone/>
              <a:defRPr b="0"/>
            </a:lvl5pPr>
          </a:lstStyle>
          <a:p>
            <a:pPr lvl="0"/>
            <a:r>
              <a:rPr lang="en-US"/>
              <a:t>Click to edit Master text styles</a:t>
            </a:r>
          </a:p>
        </p:txBody>
      </p:sp>
    </p:spTree>
    <p:extLst>
      <p:ext uri="{BB962C8B-B14F-4D97-AF65-F5344CB8AC3E}">
        <p14:creationId xmlns:p14="http://schemas.microsoft.com/office/powerpoint/2010/main" val="273264895"/>
      </p:ext>
    </p:extLst>
  </p:cSld>
  <p:clrMapOvr>
    <a:masterClrMapping/>
  </p:clrMapOvr>
  <p:transition>
    <p:wipe dir="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cSld name="Introduction">
    <p:spTree>
      <p:nvGrpSpPr>
        <p:cNvPr id="1" name=""/>
        <p:cNvGrpSpPr/>
        <p:nvPr/>
      </p:nvGrpSpPr>
      <p:grpSpPr>
        <a:xfrm>
          <a:off x="0" y="0"/>
          <a:ext cx="0" cy="0"/>
          <a:chOff x="0" y="0"/>
          <a:chExt cx="0" cy="0"/>
        </a:xfrm>
      </p:grpSpPr>
      <p:sp>
        <p:nvSpPr>
          <p:cNvPr id="15" name="Title 8"/>
          <p:cNvSpPr>
            <a:spLocks noGrp="1"/>
          </p:cNvSpPr>
          <p:nvPr>
            <p:ph type="title"/>
          </p:nvPr>
        </p:nvSpPr>
        <p:spPr>
          <a:xfrm>
            <a:off x="237602" y="192000"/>
            <a:ext cx="8280000" cy="672000"/>
          </a:xfrm>
          <a:prstGeom prst="rect">
            <a:avLst/>
          </a:prstGeom>
        </p:spPr>
        <p:txBody>
          <a:bodyPr/>
          <a:lstStyle>
            <a:lvl1pPr algn="l">
              <a:lnSpc>
                <a:spcPct val="100000"/>
              </a:lnSpc>
              <a:defRPr sz="1350" b="1" baseline="0">
                <a:solidFill>
                  <a:schemeClr val="tx2"/>
                </a:solidFill>
                <a:latin typeface="Arial" pitchFamily="34" charset="0"/>
                <a:cs typeface="Arial" pitchFamily="34" charset="0"/>
              </a:defRPr>
            </a:lvl1pPr>
          </a:lstStyle>
          <a:p>
            <a:r>
              <a:rPr lang="en-US" noProof="0"/>
              <a:t>Click to edit Master title style</a:t>
            </a:r>
            <a:endParaRPr lang="en-GB" noProof="0" dirty="0"/>
          </a:p>
        </p:txBody>
      </p:sp>
      <p:sp>
        <p:nvSpPr>
          <p:cNvPr id="6" name="Text Placeholder 3"/>
          <p:cNvSpPr>
            <a:spLocks noGrp="1"/>
          </p:cNvSpPr>
          <p:nvPr>
            <p:ph type="body" sz="quarter" idx="11"/>
          </p:nvPr>
        </p:nvSpPr>
        <p:spPr>
          <a:xfrm>
            <a:off x="237069" y="1552691"/>
            <a:ext cx="7023713" cy="4229521"/>
          </a:xfrm>
          <a:prstGeom prst="rect">
            <a:avLst/>
          </a:prstGeom>
        </p:spPr>
        <p:txBody>
          <a:bodyPr/>
          <a:lstStyle>
            <a:lvl1pPr marL="0" indent="0">
              <a:spcBef>
                <a:spcPts val="0"/>
              </a:spcBef>
              <a:buNone/>
              <a:defRPr sz="1350" baseline="0">
                <a:solidFill>
                  <a:schemeClr val="tx1"/>
                </a:solidFill>
                <a:latin typeface="Arial" pitchFamily="34" charset="0"/>
                <a:cs typeface="Arial" pitchFamily="34" charset="0"/>
              </a:defRPr>
            </a:lvl1pPr>
            <a:lvl2pPr marL="257163" indent="0">
              <a:buNone/>
              <a:defRPr sz="1350"/>
            </a:lvl2pPr>
            <a:lvl3pPr marL="514325" indent="0">
              <a:buNone/>
              <a:defRPr sz="1350"/>
            </a:lvl3pPr>
            <a:lvl4pPr marL="771487" indent="0">
              <a:buNone/>
              <a:defRPr sz="1350"/>
            </a:lvl4pPr>
            <a:lvl5pPr marL="1028649" indent="0">
              <a:buNone/>
              <a:defRPr sz="1350"/>
            </a:lvl5pPr>
          </a:lstStyle>
          <a:p>
            <a:pPr lvl="0"/>
            <a:r>
              <a:rPr lang="en-US" noProof="0"/>
              <a:t>Click to edit Master text styles</a:t>
            </a:r>
          </a:p>
        </p:txBody>
      </p:sp>
      <p:sp>
        <p:nvSpPr>
          <p:cNvPr id="4" name="Slide Number Placeholder 5">
            <a:extLst>
              <a:ext uri="{FF2B5EF4-FFF2-40B4-BE49-F238E27FC236}">
                <a16:creationId xmlns:a16="http://schemas.microsoft.com/office/drawing/2014/main" id="{C5CD2267-D419-4485-86DF-8CBD9DB90F35}"/>
              </a:ext>
            </a:extLst>
          </p:cNvPr>
          <p:cNvSpPr>
            <a:spLocks noGrp="1"/>
          </p:cNvSpPr>
          <p:nvPr>
            <p:ph type="sldNum" sz="quarter" idx="12"/>
          </p:nvPr>
        </p:nvSpPr>
        <p:spPr>
          <a:xfrm>
            <a:off x="319094" y="6462715"/>
            <a:ext cx="395287" cy="215900"/>
          </a:xfrm>
          <a:prstGeom prst="rect">
            <a:avLst/>
          </a:prstGeom>
        </p:spPr>
        <p:txBody>
          <a:bodyPr vert="horz" wrap="square" lIns="0" tIns="0" rIns="0" bIns="0" numCol="1" anchor="t" anchorCtr="0" compatLnSpc="1">
            <a:prstTxWarp prst="textNoShape">
              <a:avLst/>
            </a:prstTxWarp>
          </a:bodyPr>
          <a:lstStyle>
            <a:lvl1pPr defTabSz="257175" eaLnBrk="1" hangingPunct="1">
              <a:defRPr sz="450" b="1">
                <a:solidFill>
                  <a:srgbClr val="000000"/>
                </a:solidFill>
              </a:defRPr>
            </a:lvl1pPr>
          </a:lstStyle>
          <a:p>
            <a:pPr marL="0" marR="0" lvl="0" indent="0" algn="l" defTabSz="257175" rtl="0" eaLnBrk="1" fontAlgn="auto" latinLnBrk="0" hangingPunct="1">
              <a:lnSpc>
                <a:spcPct val="100000"/>
              </a:lnSpc>
              <a:spcBef>
                <a:spcPts val="0"/>
              </a:spcBef>
              <a:spcAft>
                <a:spcPts val="0"/>
              </a:spcAft>
              <a:buClrTx/>
              <a:buSzTx/>
              <a:buFontTx/>
              <a:buNone/>
              <a:tabLst/>
              <a:defRPr/>
            </a:pPr>
            <a:fld id="{B6F15528-21DE-4FAA-801E-634DDDAF4B2B}" type="slidenum">
              <a:rPr kumimoji="0" lang="en-US" sz="450" b="1" i="0" u="none" strike="noStrike" kern="1200" cap="none" spc="0" normalizeH="0" baseline="0" noProof="0" smtClean="0">
                <a:ln>
                  <a:noFill/>
                </a:ln>
                <a:solidFill>
                  <a:srgbClr val="000000"/>
                </a:solidFill>
                <a:effectLst/>
                <a:uLnTx/>
                <a:uFillTx/>
                <a:latin typeface="Arial"/>
                <a:ea typeface="+mn-ea"/>
                <a:cs typeface="+mn-cs"/>
              </a:rPr>
              <a:pPr marL="0" marR="0" lvl="0" indent="0" algn="l" defTabSz="257175" rtl="0" eaLnBrk="1" fontAlgn="auto" latinLnBrk="0" hangingPunct="1">
                <a:lnSpc>
                  <a:spcPct val="100000"/>
                </a:lnSpc>
                <a:spcBef>
                  <a:spcPts val="0"/>
                </a:spcBef>
                <a:spcAft>
                  <a:spcPts val="0"/>
                </a:spcAft>
                <a:buClrTx/>
                <a:buSzTx/>
                <a:buFontTx/>
                <a:buNone/>
                <a:tabLst/>
                <a:defRPr/>
              </a:pPr>
              <a:t>‹#›</a:t>
            </a:fld>
            <a:endParaRPr kumimoji="0" lang="en-US" sz="450" b="1"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39515996"/>
      </p:ext>
    </p:extLst>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47675" y="1636717"/>
            <a:ext cx="4038600" cy="4525963"/>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38675" y="1636717"/>
            <a:ext cx="4038600" cy="4525963"/>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10"/>
          </p:nvPr>
        </p:nvSpPr>
        <p:spPr>
          <a:xfrm>
            <a:off x="4572001" y="5814269"/>
            <a:ext cx="4140200" cy="360363"/>
          </a:xfrm>
        </p:spPr>
        <p:txBody>
          <a:bodyPr tIns="0" rIns="0" bIns="0" anchor="b"/>
          <a:lstStyle>
            <a:lvl1pPr marL="0" indent="0" algn="r">
              <a:spcBef>
                <a:spcPts val="0"/>
              </a:spcBef>
              <a:buNone/>
              <a:defRPr sz="619" b="0">
                <a:solidFill>
                  <a:schemeClr val="tx1"/>
                </a:solidFill>
              </a:defRPr>
            </a:lvl1pPr>
            <a:lvl2pPr algn="r">
              <a:buNone/>
              <a:defRPr b="0"/>
            </a:lvl2pPr>
            <a:lvl3pPr algn="r">
              <a:buNone/>
              <a:defRPr b="0"/>
            </a:lvl3pPr>
            <a:lvl4pPr algn="r">
              <a:buNone/>
              <a:defRPr b="0"/>
            </a:lvl4pPr>
            <a:lvl5pPr algn="r">
              <a:buNone/>
              <a:defRPr b="0"/>
            </a:lvl5pPr>
          </a:lstStyle>
          <a:p>
            <a:pPr lvl="0"/>
            <a:r>
              <a:rPr lang="en-US"/>
              <a:t>Click to edit Master text styles</a:t>
            </a:r>
          </a:p>
        </p:txBody>
      </p:sp>
      <p:sp>
        <p:nvSpPr>
          <p:cNvPr id="6" name="Text Placeholder 4"/>
          <p:cNvSpPr>
            <a:spLocks noGrp="1"/>
          </p:cNvSpPr>
          <p:nvPr>
            <p:ph type="body" sz="quarter" idx="11"/>
          </p:nvPr>
        </p:nvSpPr>
        <p:spPr>
          <a:xfrm>
            <a:off x="431800" y="6119817"/>
            <a:ext cx="4140200" cy="360363"/>
          </a:xfrm>
        </p:spPr>
        <p:txBody>
          <a:bodyPr tIns="0" rIns="0" bIns="0" anchor="b"/>
          <a:lstStyle>
            <a:lvl1pPr marL="0" indent="0" algn="l">
              <a:spcBef>
                <a:spcPts val="0"/>
              </a:spcBef>
              <a:buNone/>
              <a:defRPr sz="619" b="0">
                <a:solidFill>
                  <a:schemeClr val="tx1"/>
                </a:solidFill>
              </a:defRPr>
            </a:lvl1pPr>
            <a:lvl2pPr algn="r">
              <a:buNone/>
              <a:defRPr b="0"/>
            </a:lvl2pPr>
            <a:lvl3pPr algn="r">
              <a:buNone/>
              <a:defRPr b="0"/>
            </a:lvl3pPr>
            <a:lvl4pPr algn="r">
              <a:buNone/>
              <a:defRPr b="0"/>
            </a:lvl4pPr>
            <a:lvl5pPr algn="r">
              <a:buNone/>
              <a:defRPr b="0"/>
            </a:lvl5pPr>
          </a:lstStyle>
          <a:p>
            <a:pPr lvl="0"/>
            <a:r>
              <a:rPr lang="en-US"/>
              <a:t>Click to edit Master text styles</a:t>
            </a:r>
          </a:p>
        </p:txBody>
      </p:sp>
    </p:spTree>
    <p:extLst>
      <p:ext uri="{BB962C8B-B14F-4D97-AF65-F5344CB8AC3E}">
        <p14:creationId xmlns:p14="http://schemas.microsoft.com/office/powerpoint/2010/main" val="2309282420"/>
      </p:ext>
    </p:extLst>
  </p:cSld>
  <p:clrMapOvr>
    <a:masterClrMapping/>
  </p:clrMapOvr>
  <p:transition>
    <p:wipe dir="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FA7DAE8-E9A3-413D-8C40-30B00FE5B786}"/>
              </a:ext>
            </a:extLst>
          </p:cNvPr>
          <p:cNvSpPr>
            <a:spLocks noGrp="1"/>
          </p:cNvSpPr>
          <p:nvPr>
            <p:ph type="dt" sz="half" idx="10"/>
          </p:nvPr>
        </p:nvSpPr>
        <p:spPr>
          <a:xfrm>
            <a:off x="0" y="0"/>
            <a:ext cx="0" cy="0"/>
          </a:xfrm>
        </p:spPr>
        <p:txBody>
          <a:bodyPr vert="horz" wrap="square" lIns="91440" tIns="45720" rIns="91440" bIns="45720" numCol="1" anchor="t" anchorCtr="0" compatLnSpc="1">
            <a:prstTxWarp prst="textNoShape">
              <a:avLst/>
            </a:prstTxWarp>
          </a:bodyPr>
          <a:lstStyle>
            <a:lvl1pPr defTabSz="257175" eaLnBrk="1" hangingPunct="1">
              <a:defRPr sz="975">
                <a:solidFill>
                  <a:srgbClr val="5C5C5C"/>
                </a:solidFill>
              </a:defRPr>
            </a:lvl1pPr>
          </a:lstStyle>
          <a:p>
            <a:pPr marL="0" marR="0" lvl="0" indent="0" algn="l" defTabSz="257175"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975" b="0" i="0" u="none" strike="noStrike" kern="1200" cap="none" spc="0" normalizeH="0" baseline="0" noProof="0" smtClean="0">
                <a:ln>
                  <a:noFill/>
                </a:ln>
                <a:solidFill>
                  <a:srgbClr val="5C5C5C"/>
                </a:solidFill>
                <a:effectLst/>
                <a:uLnTx/>
                <a:uFillTx/>
                <a:latin typeface="Arial"/>
                <a:ea typeface="+mn-ea"/>
                <a:cs typeface="+mn-cs"/>
              </a:rPr>
              <a:pPr marL="0" marR="0" lvl="0" indent="0" algn="l" defTabSz="257175" rtl="0" eaLnBrk="1" fontAlgn="auto" latinLnBrk="0" hangingPunct="1">
                <a:lnSpc>
                  <a:spcPct val="100000"/>
                </a:lnSpc>
                <a:spcBef>
                  <a:spcPts val="0"/>
                </a:spcBef>
                <a:spcAft>
                  <a:spcPts val="0"/>
                </a:spcAft>
                <a:buClrTx/>
                <a:buSzTx/>
                <a:buFontTx/>
                <a:buNone/>
                <a:tabLst/>
                <a:defRPr/>
              </a:pPr>
              <a:t>15/08/2024</a:t>
            </a:fld>
            <a:endParaRPr kumimoji="0" lang="en-US" sz="975" b="0" i="0" u="none" strike="noStrike" kern="1200" cap="none" spc="0" normalizeH="0" baseline="0" noProof="0" dirty="0">
              <a:ln>
                <a:noFill/>
              </a:ln>
              <a:solidFill>
                <a:srgbClr val="5C5C5C"/>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791F4960-F0FB-473C-961B-5CD60AD0234C}"/>
              </a:ext>
            </a:extLst>
          </p:cNvPr>
          <p:cNvSpPr>
            <a:spLocks noGrp="1"/>
          </p:cNvSpPr>
          <p:nvPr>
            <p:ph type="ftr" sz="quarter" idx="11"/>
          </p:nvPr>
        </p:nvSpPr>
        <p:spPr>
          <a:xfrm>
            <a:off x="0" y="0"/>
            <a:ext cx="0" cy="0"/>
          </a:xfrm>
        </p:spPr>
        <p:txBody>
          <a:bodyPr vert="horz" wrap="square" lIns="91440" tIns="45720" rIns="91440" bIns="45720" numCol="1" anchor="t" anchorCtr="0" compatLnSpc="1">
            <a:prstTxWarp prst="textNoShape">
              <a:avLst/>
            </a:prstTxWarp>
          </a:bodyPr>
          <a:lstStyle>
            <a:lvl1pPr defTabSz="257175" eaLnBrk="1" hangingPunct="1">
              <a:defRPr sz="975">
                <a:solidFill>
                  <a:srgbClr val="5C5C5C"/>
                </a:solidFill>
              </a:defRPr>
            </a:lvl1pPr>
          </a:lstStyle>
          <a:p>
            <a:pPr marL="0" marR="0" lvl="0" indent="0" algn="l" defTabSz="257175"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dirty="0">
              <a:ln>
                <a:noFill/>
              </a:ln>
              <a:solidFill>
                <a:srgbClr val="5C5C5C"/>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5415E0D3-263F-4A29-BD5C-2E32AFDF9F30}"/>
              </a:ext>
            </a:extLst>
          </p:cNvPr>
          <p:cNvSpPr>
            <a:spLocks noGrp="1"/>
          </p:cNvSpPr>
          <p:nvPr>
            <p:ph type="sldNum" sz="quarter" idx="12"/>
          </p:nvPr>
        </p:nvSpPr>
        <p:spPr>
          <a:xfrm>
            <a:off x="0" y="0"/>
            <a:ext cx="0" cy="0"/>
          </a:xfrm>
        </p:spPr>
        <p:txBody>
          <a:bodyPr vert="horz" wrap="square" lIns="91440" tIns="45720" rIns="91440" bIns="45720" numCol="1" anchor="t" anchorCtr="0" compatLnSpc="1">
            <a:prstTxWarp prst="textNoShape">
              <a:avLst/>
            </a:prstTxWarp>
          </a:bodyPr>
          <a:lstStyle>
            <a:lvl1pPr defTabSz="257175" eaLnBrk="1" hangingPunct="1">
              <a:defRPr sz="975">
                <a:solidFill>
                  <a:srgbClr val="5C5C5C"/>
                </a:solidFill>
              </a:defRPr>
            </a:lvl1pPr>
          </a:lstStyle>
          <a:p>
            <a:pPr marL="0" marR="0" lvl="0" indent="0" algn="l" defTabSz="257175" rtl="0" eaLnBrk="1" fontAlgn="auto" latinLnBrk="0" hangingPunct="1">
              <a:lnSpc>
                <a:spcPct val="100000"/>
              </a:lnSpc>
              <a:spcBef>
                <a:spcPts val="0"/>
              </a:spcBef>
              <a:spcAft>
                <a:spcPts val="0"/>
              </a:spcAft>
              <a:buClrTx/>
              <a:buSzTx/>
              <a:buFontTx/>
              <a:buNone/>
              <a:tabLst/>
              <a:defRPr/>
            </a:pPr>
            <a:fld id="{B6F15528-21DE-4FAA-801E-634DDDAF4B2B}" type="slidenum">
              <a:rPr kumimoji="0" lang="en-US" sz="975" b="0" i="0" u="none" strike="noStrike" kern="1200" cap="none" spc="0" normalizeH="0" baseline="0" noProof="0" smtClean="0">
                <a:ln>
                  <a:noFill/>
                </a:ln>
                <a:solidFill>
                  <a:srgbClr val="5C5C5C"/>
                </a:solidFill>
                <a:effectLst/>
                <a:uLnTx/>
                <a:uFillTx/>
                <a:latin typeface="Arial"/>
                <a:ea typeface="+mn-ea"/>
                <a:cs typeface="+mn-cs"/>
              </a:rPr>
              <a:pPr marL="0" marR="0" lvl="0" indent="0" algn="l" defTabSz="257175" rtl="0" eaLnBrk="1" fontAlgn="auto" latinLnBrk="0" hangingPunct="1">
                <a:lnSpc>
                  <a:spcPct val="100000"/>
                </a:lnSpc>
                <a:spcBef>
                  <a:spcPts val="0"/>
                </a:spcBef>
                <a:spcAft>
                  <a:spcPts val="0"/>
                </a:spcAft>
                <a:buClrTx/>
                <a:buSzTx/>
                <a:buFontTx/>
                <a:buNone/>
                <a:tabLst/>
                <a:defRPr/>
              </a:pPr>
              <a:t>‹#›</a:t>
            </a:fld>
            <a:endParaRPr kumimoji="0" lang="en-US" sz="975" b="0" i="0" u="none" strike="noStrike" kern="1200" cap="none" spc="0" normalizeH="0" baseline="0" noProof="0" dirty="0">
              <a:ln>
                <a:noFill/>
              </a:ln>
              <a:solidFill>
                <a:srgbClr val="5C5C5C"/>
              </a:solidFill>
              <a:effectLst/>
              <a:uLnTx/>
              <a:uFillTx/>
              <a:latin typeface="Arial"/>
              <a:ea typeface="+mn-ea"/>
              <a:cs typeface="+mn-cs"/>
            </a:endParaRPr>
          </a:p>
        </p:txBody>
      </p:sp>
    </p:spTree>
    <p:extLst>
      <p:ext uri="{BB962C8B-B14F-4D97-AF65-F5344CB8AC3E}">
        <p14:creationId xmlns:p14="http://schemas.microsoft.com/office/powerpoint/2010/main" val="324358604"/>
      </p:ext>
    </p:extLst>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6097" y="86404"/>
            <a:ext cx="8369865" cy="899985"/>
          </a:xfrm>
          <a:prstGeom prst="rect">
            <a:avLst/>
          </a:prstGeom>
        </p:spPr>
        <p:txBody>
          <a:bodyPr/>
          <a:lstStyle/>
          <a:p>
            <a:r>
              <a:rPr lang="en-GB"/>
              <a:t>Click to edit Master title style</a:t>
            </a:r>
            <a:endParaRPr lang="en-US"/>
          </a:p>
        </p:txBody>
      </p:sp>
      <p:sp>
        <p:nvSpPr>
          <p:cNvPr id="6" name="Text Placeholder 20">
            <a:extLst>
              <a:ext uri="{FF2B5EF4-FFF2-40B4-BE49-F238E27FC236}">
                <a16:creationId xmlns:a16="http://schemas.microsoft.com/office/drawing/2014/main" id="{98BC78B5-43A6-4BF4-B89F-DE2DF97DA37C}"/>
              </a:ext>
            </a:extLst>
          </p:cNvPr>
          <p:cNvSpPr>
            <a:spLocks noGrp="1"/>
          </p:cNvSpPr>
          <p:nvPr>
            <p:ph type="body" sz="quarter" idx="11" hasCustomPrompt="1"/>
          </p:nvPr>
        </p:nvSpPr>
        <p:spPr>
          <a:xfrm>
            <a:off x="3" y="6317902"/>
            <a:ext cx="8639861" cy="539991"/>
          </a:xfrm>
          <a:prstGeom prst="rect">
            <a:avLst/>
          </a:prstGeom>
        </p:spPr>
        <p:txBody>
          <a:bodyPr wrap="square" lIns="89999" tIns="46799" rIns="89999" bIns="46799" anchor="b">
            <a:noAutofit/>
          </a:bodyPr>
          <a:lstStyle>
            <a:lvl1pPr marL="0" indent="0" algn="l">
              <a:lnSpc>
                <a:spcPct val="100000"/>
              </a:lnSpc>
              <a:spcBef>
                <a:spcPts val="225"/>
              </a:spcBef>
              <a:spcAft>
                <a:spcPts val="0"/>
              </a:spcAft>
              <a:buNone/>
              <a:defRPr sz="750" b="0">
                <a:solidFill>
                  <a:schemeClr val="tx1"/>
                </a:solidFill>
                <a:latin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1084005815"/>
      </p:ext>
    </p:extLst>
  </p:cSld>
  <p:clrMapOvr>
    <a:masterClrMapping/>
  </p:clrMapOv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cSld name="Poster Mast Head">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475599"/>
      </p:ext>
    </p:extLst>
  </p:cSld>
  <p:clrMapOvr>
    <a:masterClrMapping/>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2_Title and Content_ no background">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86097" y="86404"/>
            <a:ext cx="8369865" cy="899985"/>
          </a:xfrm>
          <a:prstGeom prst="rect">
            <a:avLst/>
          </a:prstGeom>
        </p:spPr>
        <p:txBody>
          <a:bodyPr vert="horz" wrap="square" lIns="0" tIns="46799" rIns="89999" bIns="46799" rtlCol="0" anchor="b" anchorCtr="0">
            <a:noAutofit/>
          </a:bodyPr>
          <a:lstStyle>
            <a:lvl1pPr algn="l">
              <a:defRPr sz="2100" b="1">
                <a:solidFill>
                  <a:srgbClr val="5C5C5C"/>
                </a:solidFill>
                <a:latin typeface="Arial (Headings)"/>
              </a:defRPr>
            </a:lvl1pPr>
          </a:lstStyle>
          <a:p>
            <a:r>
              <a:rPr lang="en-GB" dirty="0"/>
              <a:t>Click to edit master title style</a:t>
            </a:r>
            <a:endParaRPr lang="en-US" dirty="0"/>
          </a:p>
        </p:txBody>
      </p:sp>
      <p:sp>
        <p:nvSpPr>
          <p:cNvPr id="19" name="Content Placeholder 18"/>
          <p:cNvSpPr>
            <a:spLocks noGrp="1"/>
          </p:cNvSpPr>
          <p:nvPr>
            <p:ph sz="quarter" idx="10" hasCustomPrompt="1"/>
          </p:nvPr>
        </p:nvSpPr>
        <p:spPr>
          <a:xfrm>
            <a:off x="596696" y="1460311"/>
            <a:ext cx="7946805" cy="4017560"/>
          </a:xfrm>
        </p:spPr>
        <p:txBody>
          <a:bodyPr tIns="0" rIns="0" bIns="0" numCol="2" spcCol="720000">
            <a:noAutofit/>
          </a:bodyPr>
          <a:lstStyle>
            <a:lvl1pPr marL="133350" indent="-133350">
              <a:buClr>
                <a:schemeClr val="accent1"/>
              </a:buClr>
              <a:buFont typeface="Arial" charset="0"/>
              <a:buChar char="•"/>
              <a:defRPr/>
            </a:lvl1pPr>
            <a:lvl2pPr marL="336947" indent="-203597">
              <a:buClr>
                <a:schemeClr val="accent1"/>
              </a:buClr>
              <a:buFont typeface="Arial" charset="0"/>
              <a:buChar char="•"/>
              <a:tabLst/>
              <a:defRPr/>
            </a:lvl2pPr>
            <a:lvl3pPr marL="471488" indent="-134541">
              <a:buClr>
                <a:schemeClr val="accent1"/>
              </a:buClr>
              <a:buFont typeface="Arial" charset="0"/>
              <a:buChar char="•"/>
              <a:defRPr/>
            </a:lvl3pPr>
            <a:lvl4pPr marL="1200150" indent="-171450">
              <a:buClr>
                <a:schemeClr val="accent1"/>
              </a:buClr>
              <a:buFont typeface="Arial" charset="0"/>
              <a:buChar char="•"/>
              <a:defRPr/>
            </a:lvl4pPr>
            <a:lvl5pPr marL="1543050" indent="-171450">
              <a:buClr>
                <a:schemeClr val="accent1"/>
              </a:buClr>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0683007"/>
      </p:ext>
    </p:extLst>
  </p:cSld>
  <p:clrMapOvr>
    <a:masterClrMapping/>
  </p:clrMapOvr>
  <p:transition/>
  <p:extLst mod="1">
    <p:ext uri="{DCECCB84-F9BA-43D5-87BE-67443E8EF086}">
      <p15:sldGuideLst xmlns:p15="http://schemas.microsoft.com/office/powerpoint/2012/main">
        <p15:guide id="1" orient="horz" pos="436">
          <p15:clr>
            <a:srgbClr val="FBAE40"/>
          </p15:clr>
        </p15:guide>
        <p15:guide id="2" pos="3840">
          <p15:clr>
            <a:srgbClr val="FBAE40"/>
          </p15:clr>
        </p15:guide>
        <p15:guide id="3" pos="7196">
          <p15:clr>
            <a:srgbClr val="FBAE40"/>
          </p15:clr>
        </p15:guide>
        <p15:guide id="4" orient="horz" pos="3952">
          <p15:clr>
            <a:srgbClr val="FBAE40"/>
          </p15:clr>
        </p15:guide>
        <p15:guide id="5" orient="horz" pos="3453">
          <p15:clr>
            <a:srgbClr val="FBAE40"/>
          </p15:clr>
        </p15:guide>
        <p15:guide id="6" orient="horz" pos="3589">
          <p15:clr>
            <a:srgbClr val="FBAE40"/>
          </p15:clr>
        </p15:guide>
        <p15:guide id="7" orient="horz" pos="1162">
          <p15:clr>
            <a:srgbClr val="FBAE40"/>
          </p15:clr>
        </p15:guide>
        <p15:guide id="8" orient="horz" pos="935">
          <p15:clr>
            <a:srgbClr val="FBAE40"/>
          </p15:clr>
        </p15:guide>
        <p15:guide id="9" pos="48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13"/>
          <p:cNvSpPr>
            <a:spLocks noGrp="1"/>
          </p:cNvSpPr>
          <p:nvPr>
            <p:ph type="dt" sz="half" idx="10"/>
          </p:nvPr>
        </p:nvSpPr>
        <p:spPr/>
        <p:txBody>
          <a:bodyPr/>
          <a:lstStyle>
            <a:lvl1pPr>
              <a:defRPr/>
            </a:lvl1pPr>
          </a:lstStyle>
          <a:p>
            <a:pPr>
              <a:defRPr/>
            </a:pPr>
            <a:endParaRPr lang="en-US">
              <a:solidFill>
                <a:srgbClr val="775F55"/>
              </a:solidFill>
            </a:endParaRPr>
          </a:p>
        </p:txBody>
      </p:sp>
      <p:sp>
        <p:nvSpPr>
          <p:cNvPr id="4" name="Footer Placeholder 2"/>
          <p:cNvSpPr>
            <a:spLocks noGrp="1"/>
          </p:cNvSpPr>
          <p:nvPr>
            <p:ph type="ftr" sz="quarter" idx="11"/>
          </p:nvPr>
        </p:nvSpPr>
        <p:spPr/>
        <p:txBody>
          <a:bodyPr/>
          <a:lstStyle>
            <a:lvl1pPr>
              <a:defRPr/>
            </a:lvl1pPr>
          </a:lstStyle>
          <a:p>
            <a:pPr>
              <a:defRPr/>
            </a:pPr>
            <a:endParaRPr lang="en-US">
              <a:solidFill>
                <a:srgbClr val="775F55"/>
              </a:solidFill>
            </a:endParaRPr>
          </a:p>
        </p:txBody>
      </p:sp>
      <p:sp>
        <p:nvSpPr>
          <p:cNvPr id="5" name="Slide Number Placeholder 22"/>
          <p:cNvSpPr>
            <a:spLocks noGrp="1"/>
          </p:cNvSpPr>
          <p:nvPr>
            <p:ph type="sldNum" sz="quarter" idx="12"/>
          </p:nvPr>
        </p:nvSpPr>
        <p:spPr/>
        <p:txBody>
          <a:bodyPr/>
          <a:lstStyle>
            <a:lvl1pPr>
              <a:defRPr/>
            </a:lvl1pPr>
          </a:lstStyle>
          <a:p>
            <a:pPr>
              <a:defRPr/>
            </a:pPr>
            <a:fld id="{ECEB31A6-AB3A-4F26-86FE-30F991127B13}" type="slidenum">
              <a:rPr lang="en-US"/>
              <a:pPr>
                <a:defRPr/>
              </a:pPr>
              <a:t>‹#›</a:t>
            </a:fld>
            <a:endParaRPr lang="en-US"/>
          </a:p>
        </p:txBody>
      </p:sp>
    </p:spTree>
    <p:extLst>
      <p:ext uri="{BB962C8B-B14F-4D97-AF65-F5344CB8AC3E}">
        <p14:creationId xmlns:p14="http://schemas.microsoft.com/office/powerpoint/2010/main" val="221172510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4_Title and Content_ no background">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86097" y="86404"/>
            <a:ext cx="8369865" cy="899985"/>
          </a:xfrm>
          <a:prstGeom prst="rect">
            <a:avLst/>
          </a:prstGeom>
        </p:spPr>
        <p:txBody>
          <a:bodyPr vert="horz" wrap="square" lIns="0" tIns="46799" rIns="89999" bIns="46799" rtlCol="0" anchor="b" anchorCtr="0">
            <a:noAutofit/>
          </a:bodyPr>
          <a:lstStyle>
            <a:lvl1pPr algn="l">
              <a:defRPr sz="2100" b="1">
                <a:solidFill>
                  <a:srgbClr val="5C5C5C"/>
                </a:solidFill>
                <a:latin typeface="Arial (Headings)"/>
              </a:defRPr>
            </a:lvl1pPr>
          </a:lstStyle>
          <a:p>
            <a:r>
              <a:rPr lang="en-GB" dirty="0"/>
              <a:t>Click to edit master title style</a:t>
            </a:r>
            <a:endParaRPr lang="en-US" dirty="0"/>
          </a:p>
        </p:txBody>
      </p:sp>
    </p:spTree>
    <p:extLst>
      <p:ext uri="{BB962C8B-B14F-4D97-AF65-F5344CB8AC3E}">
        <p14:creationId xmlns:p14="http://schemas.microsoft.com/office/powerpoint/2010/main" val="1478200438"/>
      </p:ext>
    </p:extLst>
  </p:cSld>
  <p:clrMapOvr>
    <a:masterClrMapping/>
  </p:clrMapOvr>
  <p:transition/>
  <p:extLst mod="1">
    <p:ext uri="{DCECCB84-F9BA-43D5-87BE-67443E8EF086}">
      <p15:sldGuideLst xmlns:p15="http://schemas.microsoft.com/office/powerpoint/2012/main">
        <p15:guide id="1" orient="horz" pos="436">
          <p15:clr>
            <a:srgbClr val="FBAE40"/>
          </p15:clr>
        </p15:guide>
        <p15:guide id="2" pos="484">
          <p15:clr>
            <a:srgbClr val="FBAE40"/>
          </p15:clr>
        </p15:guide>
        <p15:guide id="3" pos="7196">
          <p15:clr>
            <a:srgbClr val="FBAE40"/>
          </p15:clr>
        </p15:guide>
        <p15:guide id="4" orient="horz" pos="1162">
          <p15:clr>
            <a:srgbClr val="FBAE40"/>
          </p15:clr>
        </p15:guide>
        <p15:guide id="5" orient="horz" pos="3453">
          <p15:clr>
            <a:srgbClr val="FBAE40"/>
          </p15:clr>
        </p15:guide>
        <p15:guide id="6" orient="horz" pos="361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3_Title and Content_ no background">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596693" y="165995"/>
            <a:ext cx="3566090" cy="769620"/>
          </a:xfrm>
          <a:prstGeom prst="rect">
            <a:avLst/>
          </a:prstGeom>
        </p:spPr>
        <p:txBody>
          <a:bodyPr vert="horz" lIns="0" tIns="45720" rIns="91440" bIns="45720" rtlCol="0" anchor="t" anchorCtr="0">
            <a:noAutofit/>
          </a:bodyPr>
          <a:lstStyle>
            <a:lvl1pPr>
              <a:defRPr/>
            </a:lvl1pPr>
          </a:lstStyle>
          <a:p>
            <a:r>
              <a:rPr lang="en-GB" dirty="0"/>
              <a:t>Click to edit master title style</a:t>
            </a:r>
            <a:endParaRPr lang="en-US" dirty="0"/>
          </a:p>
        </p:txBody>
      </p:sp>
      <p:sp>
        <p:nvSpPr>
          <p:cNvPr id="19" name="Content Placeholder 18"/>
          <p:cNvSpPr>
            <a:spLocks noGrp="1"/>
          </p:cNvSpPr>
          <p:nvPr>
            <p:ph sz="quarter" idx="10"/>
          </p:nvPr>
        </p:nvSpPr>
        <p:spPr>
          <a:xfrm>
            <a:off x="596695" y="1433019"/>
            <a:ext cx="3565875" cy="4044855"/>
          </a:xfrm>
        </p:spPr>
        <p:txBody>
          <a:bodyPr numCol="1" spcCol="720000">
            <a:noAutofit/>
          </a:bodyPr>
          <a:lstStyle>
            <a:lvl1pPr marL="133350" indent="-133350">
              <a:buClr>
                <a:schemeClr val="accent1"/>
              </a:buClr>
              <a:buFont typeface="Arial" charset="0"/>
              <a:buChar char="•"/>
              <a:defRPr/>
            </a:lvl1pPr>
            <a:lvl2pPr marL="336947" indent="-203597">
              <a:buClr>
                <a:schemeClr val="accent1"/>
              </a:buClr>
              <a:buFont typeface="Arial" charset="0"/>
              <a:buChar char="•"/>
              <a:defRPr/>
            </a:lvl2pPr>
            <a:lvl3pPr marL="471488" indent="-134541">
              <a:buClr>
                <a:schemeClr val="accent1"/>
              </a:buClr>
              <a:buFont typeface="Arial" charset="0"/>
              <a:buChar char="•"/>
              <a:defRPr/>
            </a:lvl3pPr>
            <a:lvl4pPr marL="1200150" indent="-171450">
              <a:buClr>
                <a:schemeClr val="accent1"/>
              </a:buClr>
              <a:buFont typeface="Arial" charset="0"/>
              <a:buChar char="•"/>
              <a:defRPr/>
            </a:lvl4pPr>
            <a:lvl5pPr marL="1543050" indent="-171450">
              <a:buClr>
                <a:schemeClr val="accent1"/>
              </a:buClr>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1"/>
          </p:nvPr>
        </p:nvSpPr>
        <p:spPr>
          <a:xfrm>
            <a:off x="596214" y="5732063"/>
            <a:ext cx="3566090" cy="525439"/>
          </a:xfrm>
        </p:spPr>
        <p:txBody>
          <a:bodyPr anchor="t">
            <a:noAutofit/>
          </a:bodyPr>
          <a:lstStyle>
            <a:lvl1pPr marL="0" indent="0">
              <a:buNone/>
              <a:defRPr sz="750">
                <a:solidFill>
                  <a:schemeClr val="bg1">
                    <a:lumMod val="65000"/>
                  </a:schemeClr>
                </a:solidFill>
              </a:defRPr>
            </a:lvl1pPr>
          </a:lstStyle>
          <a:p>
            <a:pPr lvl="0"/>
            <a:r>
              <a:rPr lang="en-US" dirty="0"/>
              <a:t>Click to edit Master text styles</a:t>
            </a:r>
          </a:p>
        </p:txBody>
      </p:sp>
      <p:sp>
        <p:nvSpPr>
          <p:cNvPr id="8" name="Picture Placeholder 2"/>
          <p:cNvSpPr>
            <a:spLocks noGrp="1"/>
          </p:cNvSpPr>
          <p:nvPr>
            <p:ph type="pic" sz="quarter" idx="12"/>
          </p:nvPr>
        </p:nvSpPr>
        <p:spPr>
          <a:xfrm>
            <a:off x="4707605" y="711907"/>
            <a:ext cx="3835895" cy="5545592"/>
          </a:xfrm>
        </p:spPr>
        <p:txBody>
          <a:bodyPr/>
          <a:lstStyle/>
          <a:p>
            <a:endParaRPr lang="en-US" dirty="0"/>
          </a:p>
        </p:txBody>
      </p:sp>
      <p:cxnSp>
        <p:nvCxnSpPr>
          <p:cNvPr id="9" name="Straight Connector 8"/>
          <p:cNvCxnSpPr/>
          <p:nvPr/>
        </p:nvCxnSpPr>
        <p:spPr>
          <a:xfrm>
            <a:off x="621232" y="1044797"/>
            <a:ext cx="3566091" cy="0"/>
          </a:xfrm>
          <a:prstGeom prst="line">
            <a:avLst/>
          </a:prstGeom>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70205736"/>
      </p:ext>
    </p:extLst>
  </p:cSld>
  <p:clrMapOvr>
    <a:masterClrMapping/>
  </p:clrMapOv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28672" y="3429002"/>
            <a:ext cx="5424903" cy="2184908"/>
          </a:xfrm>
        </p:spPr>
        <p:txBody>
          <a:bodyPr anchor="b">
            <a:noAutofit/>
          </a:bodyPr>
          <a:lstStyle>
            <a:lvl1pPr algn="l">
              <a:defRPr sz="3000" b="1">
                <a:solidFill>
                  <a:schemeClr val="bg1"/>
                </a:solidFill>
              </a:defRPr>
            </a:lvl1pPr>
          </a:lstStyle>
          <a:p>
            <a:r>
              <a:rPr lang="en-GB" dirty="0"/>
              <a:t>Click to edit master title style</a:t>
            </a:r>
            <a:endParaRPr lang="en-US" dirty="0"/>
          </a:p>
        </p:txBody>
      </p:sp>
      <p:sp>
        <p:nvSpPr>
          <p:cNvPr id="4" name="Rectangle 3"/>
          <p:cNvSpPr/>
          <p:nvPr/>
        </p:nvSpPr>
        <p:spPr>
          <a:xfrm>
            <a:off x="310488" y="346315"/>
            <a:ext cx="8523027" cy="6165377"/>
          </a:xfrm>
          <a:prstGeom prst="rect">
            <a:avLst/>
          </a:prstGeom>
          <a:no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635225233"/>
      </p:ext>
    </p:extLst>
  </p:cSld>
  <p:clrMapOvr>
    <a:masterClrMapping/>
  </p:clrMapOv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28672" y="801130"/>
            <a:ext cx="5424903" cy="2184908"/>
          </a:xfrm>
        </p:spPr>
        <p:txBody>
          <a:bodyPr anchor="b">
            <a:noAutofit/>
          </a:bodyPr>
          <a:lstStyle>
            <a:lvl1pPr algn="l">
              <a:defRPr sz="2400" b="0">
                <a:solidFill>
                  <a:schemeClr val="tx1"/>
                </a:solidFill>
              </a:defRPr>
            </a:lvl1pPr>
          </a:lstStyle>
          <a:p>
            <a:r>
              <a:rPr lang="en-GB" dirty="0"/>
              <a:t>Click to edit master title style</a:t>
            </a:r>
            <a:endParaRPr lang="en-US" dirty="0"/>
          </a:p>
        </p:txBody>
      </p:sp>
      <p:sp>
        <p:nvSpPr>
          <p:cNvPr id="4" name="Rectangle 3"/>
          <p:cNvSpPr/>
          <p:nvPr/>
        </p:nvSpPr>
        <p:spPr>
          <a:xfrm>
            <a:off x="310488" y="346315"/>
            <a:ext cx="8523027" cy="6165377"/>
          </a:xfrm>
          <a:prstGeom prst="rect">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893280501"/>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6097" y="86404"/>
            <a:ext cx="8369865" cy="899985"/>
          </a:xfrm>
        </p:spPr>
        <p:txBody>
          <a:bodyPr wrap="square" lIns="0" tIns="46799" rIns="89999" bIns="46799" anchor="b">
            <a:noAutofit/>
          </a:bodyPr>
          <a:lstStyle>
            <a:lvl1pPr algn="l">
              <a:defRPr sz="2100" b="1" i="0">
                <a:solidFill>
                  <a:srgbClr val="5C5C5C"/>
                </a:solidFill>
                <a:latin typeface="Arial (Headings)"/>
              </a:defRPr>
            </a:lvl1pPr>
          </a:lstStyle>
          <a:p>
            <a:r>
              <a:rPr lang="en-GB" dirty="0"/>
              <a:t>Click to edit Master title style</a:t>
            </a:r>
            <a:endParaRPr lang="en-US" dirty="0"/>
          </a:p>
        </p:txBody>
      </p:sp>
      <p:sp>
        <p:nvSpPr>
          <p:cNvPr id="3" name="Content Placeholder 2"/>
          <p:cNvSpPr>
            <a:spLocks noGrp="1"/>
          </p:cNvSpPr>
          <p:nvPr>
            <p:ph idx="1"/>
          </p:nvPr>
        </p:nvSpPr>
        <p:spPr>
          <a:xfrm>
            <a:off x="457200" y="1419371"/>
            <a:ext cx="8229600" cy="4990959"/>
          </a:xfrm>
        </p:spPr>
        <p:txBody>
          <a:bodyPr/>
          <a:lstStyle>
            <a:lvl1pPr>
              <a:defRPr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005133651"/>
      </p:ext>
    </p:extLst>
  </p:cSld>
  <p:clrMapOvr>
    <a:masterClrMapping/>
  </p:clrMapOv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6097" y="86404"/>
            <a:ext cx="8369865" cy="899985"/>
          </a:xfrm>
        </p:spPr>
        <p:txBody>
          <a:bodyPr wrap="square" lIns="0" tIns="46799" rIns="89999" bIns="46799" anchor="b">
            <a:noAutofit/>
          </a:bodyPr>
          <a:lstStyle>
            <a:lvl1pPr algn="l">
              <a:defRPr sz="2100" b="1">
                <a:solidFill>
                  <a:srgbClr val="5C5C5C"/>
                </a:solidFill>
                <a:latin typeface="Arial (Headings)"/>
              </a:defRPr>
            </a:lvl1pPr>
          </a:lstStyle>
          <a:p>
            <a:r>
              <a:rPr lang="en-GB"/>
              <a:t>Click to edit Master title style</a:t>
            </a:r>
            <a:endParaRPr lang="en-US"/>
          </a:p>
        </p:txBody>
      </p:sp>
    </p:spTree>
    <p:extLst>
      <p:ext uri="{BB962C8B-B14F-4D97-AF65-F5344CB8AC3E}">
        <p14:creationId xmlns:p14="http://schemas.microsoft.com/office/powerpoint/2010/main" val="2993940237"/>
      </p:ext>
    </p:extLst>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cSld name="5_Title Only">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386097" y="86404"/>
            <a:ext cx="8369865" cy="899985"/>
          </a:xfrm>
          <a:prstGeom prst="rect">
            <a:avLst/>
          </a:prstGeom>
        </p:spPr>
        <p:txBody>
          <a:bodyPr vert="horz" wrap="square" lIns="0" tIns="46799" rIns="89999" bIns="46799" anchor="b">
            <a:noAutofit/>
          </a:bodyPr>
          <a:lstStyle>
            <a:lvl1pPr algn="l" defTabSz="457189" rtl="0" eaLnBrk="1" latinLnBrk="0" hangingPunct="1">
              <a:lnSpc>
                <a:spcPct val="100000"/>
              </a:lnSpc>
              <a:spcBef>
                <a:spcPct val="0"/>
              </a:spcBef>
              <a:buNone/>
              <a:defRPr lang="en-GB" sz="2100" b="1" kern="1200" baseline="0" noProof="0" dirty="0">
                <a:solidFill>
                  <a:srgbClr val="5C5C5C"/>
                </a:solidFill>
                <a:latin typeface="Arial (Headings)"/>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2274197397"/>
      </p:ext>
    </p:extLst>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cSld name="6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8980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5"/>
          <p:cNvSpPr>
            <a:spLocks noGrp="1"/>
          </p:cNvSpPr>
          <p:nvPr>
            <p:ph type="sldNum" sz="quarter" idx="4"/>
          </p:nvPr>
        </p:nvSpPr>
        <p:spPr>
          <a:xfrm>
            <a:off x="8707774" y="6595504"/>
            <a:ext cx="396000" cy="216000"/>
          </a:xfrm>
          <a:prstGeom prst="rect">
            <a:avLst/>
          </a:prstGeom>
        </p:spPr>
        <p:txBody>
          <a:bodyPr vert="horz" lIns="0" tIns="0" rIns="0" bIns="0" rtlCol="0" anchor="t" anchorCtr="0"/>
          <a:lstStyle>
            <a:lvl1pPr algn="r">
              <a:defRPr sz="800" b="1">
                <a:solidFill>
                  <a:schemeClr val="tx1"/>
                </a:solidFill>
                <a:latin typeface="Arial" pitchFamily="34" charset="0"/>
                <a:cs typeface="Arial"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800" b="1" i="0" u="none" strike="noStrike" kern="1200" cap="none" spc="0" normalizeH="0" baseline="0" noProof="0" smtClean="0">
                <a:ln>
                  <a:noFill/>
                </a:ln>
                <a:solidFill>
                  <a:srgbClr val="5C5C5C"/>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rgbClr val="5C5C5C"/>
              </a:solidFill>
              <a:effectLst/>
              <a:uLnTx/>
              <a:uFillTx/>
              <a:latin typeface="Arial" pitchFamily="34" charset="0"/>
              <a:ea typeface="+mn-ea"/>
              <a:cs typeface="Arial" pitchFamily="34" charset="0"/>
            </a:endParaRPr>
          </a:p>
        </p:txBody>
      </p:sp>
      <p:sp>
        <p:nvSpPr>
          <p:cNvPr id="6" name="Title 8"/>
          <p:cNvSpPr>
            <a:spLocks noGrp="1"/>
          </p:cNvSpPr>
          <p:nvPr>
            <p:ph type="title" hasCustomPrompt="1"/>
          </p:nvPr>
        </p:nvSpPr>
        <p:spPr>
          <a:xfrm>
            <a:off x="386097" y="86404"/>
            <a:ext cx="8369865" cy="899985"/>
          </a:xfrm>
          <a:prstGeom prst="rect">
            <a:avLst/>
          </a:prstGeom>
        </p:spPr>
        <p:txBody>
          <a:bodyPr vert="horz" wrap="square" lIns="0" tIns="46799" rIns="89999" bIns="46799" anchor="b">
            <a:noAutofit/>
          </a:bodyPr>
          <a:lstStyle>
            <a:lvl1pPr algn="l" defTabSz="457154" rtl="0" eaLnBrk="1" latinLnBrk="0" hangingPunct="1">
              <a:lnSpc>
                <a:spcPct val="100000"/>
              </a:lnSpc>
              <a:spcBef>
                <a:spcPct val="0"/>
              </a:spcBef>
              <a:buNone/>
              <a:defRPr lang="en-GB" sz="2100" b="1" kern="1200" baseline="0" noProof="0" dirty="0">
                <a:solidFill>
                  <a:srgbClr val="5C5C5C"/>
                </a:solidFill>
                <a:latin typeface="Arial (Headings)"/>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2776815081"/>
      </p:ext>
    </p:extLst>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cSld name="1_RI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3" y="1442243"/>
            <a:ext cx="6822759" cy="672000"/>
          </a:xfrm>
          <a:prstGeom prst="rect">
            <a:avLst/>
          </a:prstGeom>
        </p:spPr>
        <p:txBody>
          <a:bodyPr vert="horz" lIns="121917" tIns="60958" rIns="121917" bIns="60958"/>
          <a:lstStyle>
            <a:lvl1pPr algn="l">
              <a:lnSpc>
                <a:spcPct val="90000"/>
              </a:lnSpc>
              <a:defRPr sz="2775"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38760" y="142427"/>
            <a:ext cx="1998000" cy="879972"/>
          </a:xfrm>
          <a:prstGeom prst="rect">
            <a:avLst/>
          </a:prstGeom>
        </p:spPr>
      </p:pic>
      <p:pic>
        <p:nvPicPr>
          <p:cNvPr id="2" name="Picture 1" descr="Eosinophil_NK_Cell_10K_screen.jp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44463" y="3835401"/>
            <a:ext cx="8856000" cy="2834219"/>
          </a:xfrm>
          <a:prstGeom prst="rect">
            <a:avLst/>
          </a:prstGeom>
        </p:spPr>
      </p:pic>
      <p:sp>
        <p:nvSpPr>
          <p:cNvPr id="10" name="Text Placeholder 29"/>
          <p:cNvSpPr>
            <a:spLocks noGrp="1"/>
          </p:cNvSpPr>
          <p:nvPr>
            <p:ph type="body" sz="quarter" idx="11" hasCustomPrompt="1"/>
          </p:nvPr>
        </p:nvSpPr>
        <p:spPr>
          <a:xfrm>
            <a:off x="215999" y="3202200"/>
            <a:ext cx="6480000" cy="254400"/>
          </a:xfrm>
          <a:prstGeom prst="rect">
            <a:avLst/>
          </a:prstGeom>
        </p:spPr>
        <p:txBody>
          <a:bodyPr vert="horz" lIns="121917" tIns="60958" rIns="121917" bIns="60958"/>
          <a:lstStyle>
            <a:lvl1pPr marL="0" indent="0">
              <a:lnSpc>
                <a:spcPts val="1100"/>
              </a:lnSpc>
              <a:spcBef>
                <a:spcPts val="0"/>
              </a:spcBef>
              <a:buNone/>
              <a:defRPr sz="1425"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3477200"/>
            <a:ext cx="6480000" cy="254400"/>
          </a:xfrm>
          <a:prstGeom prst="rect">
            <a:avLst/>
          </a:prstGeom>
        </p:spPr>
        <p:txBody>
          <a:bodyPr vert="horz" lIns="121917" tIns="60958" rIns="121917" bIns="60958"/>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3202200"/>
            <a:ext cx="1872000" cy="254400"/>
          </a:xfrm>
          <a:prstGeom prst="rect">
            <a:avLst/>
          </a:prstGeom>
        </p:spPr>
        <p:txBody>
          <a:bodyPr vert="horz" lIns="121917" tIns="60958" rIns="121917" bIns="60958"/>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3477200"/>
            <a:ext cx="1872000" cy="254400"/>
          </a:xfrm>
          <a:prstGeom prst="rect">
            <a:avLst/>
          </a:prstGeom>
        </p:spPr>
        <p:txBody>
          <a:bodyPr vert="horz" lIns="121917" tIns="60958" rIns="121917" bIns="60958"/>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pic>
        <p:nvPicPr>
          <p:cNvPr id="14" name="Picture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818526" y="1259284"/>
            <a:ext cx="908719" cy="1211625"/>
          </a:xfrm>
          <a:prstGeom prst="rect">
            <a:avLst/>
          </a:prstGeom>
        </p:spPr>
      </p:pic>
    </p:spTree>
    <p:extLst>
      <p:ext uri="{BB962C8B-B14F-4D97-AF65-F5344CB8AC3E}">
        <p14:creationId xmlns:p14="http://schemas.microsoft.com/office/powerpoint/2010/main" val="638527144"/>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cSld name="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1942225"/>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US">
              <a:solidFill>
                <a:srgbClr val="775F55"/>
              </a:solidFill>
            </a:endParaRPr>
          </a:p>
        </p:txBody>
      </p:sp>
      <p:sp>
        <p:nvSpPr>
          <p:cNvPr id="3" name="Footer Placeholder 2"/>
          <p:cNvSpPr>
            <a:spLocks noGrp="1"/>
          </p:cNvSpPr>
          <p:nvPr>
            <p:ph type="ftr" sz="quarter" idx="11"/>
          </p:nvPr>
        </p:nvSpPr>
        <p:spPr/>
        <p:txBody>
          <a:bodyPr/>
          <a:lstStyle>
            <a:lvl1pPr>
              <a:defRPr/>
            </a:lvl1pPr>
          </a:lstStyle>
          <a:p>
            <a:pPr>
              <a:defRPr/>
            </a:pPr>
            <a:endParaRPr lang="en-US">
              <a:solidFill>
                <a:srgbClr val="775F55"/>
              </a:solidFill>
            </a:endParaRPr>
          </a:p>
        </p:txBody>
      </p:sp>
      <p:sp>
        <p:nvSpPr>
          <p:cNvPr id="4" name="Slide Number Placeholder 3"/>
          <p:cNvSpPr>
            <a:spLocks noGrp="1"/>
          </p:cNvSpPr>
          <p:nvPr>
            <p:ph type="sldNum" sz="quarter" idx="12"/>
          </p:nvPr>
        </p:nvSpPr>
        <p:spPr>
          <a:xfrm>
            <a:off x="0" y="6248400"/>
            <a:ext cx="533400" cy="381000"/>
          </a:xfrm>
        </p:spPr>
        <p:txBody>
          <a:bodyPr/>
          <a:lstStyle>
            <a:lvl1pPr>
              <a:defRPr smtClean="0">
                <a:solidFill>
                  <a:schemeClr val="tx2"/>
                </a:solidFill>
              </a:defRPr>
            </a:lvl1pPr>
          </a:lstStyle>
          <a:p>
            <a:pPr>
              <a:defRPr/>
            </a:pPr>
            <a:fld id="{EC55BF0B-B5CD-43F4-BBA4-58C0B6697152}" type="slidenum">
              <a:rPr lang="en-US">
                <a:solidFill>
                  <a:srgbClr val="775F55"/>
                </a:solidFill>
              </a:rPr>
              <a:pPr>
                <a:defRPr/>
              </a:pPr>
              <a:t>‹#›</a:t>
            </a:fld>
            <a:endParaRPr lang="en-US">
              <a:solidFill>
                <a:srgbClr val="775F55"/>
              </a:solidFill>
            </a:endParaRPr>
          </a:p>
        </p:txBody>
      </p:sp>
    </p:spTree>
    <p:extLst>
      <p:ext uri="{BB962C8B-B14F-4D97-AF65-F5344CB8AC3E}">
        <p14:creationId xmlns:p14="http://schemas.microsoft.com/office/powerpoint/2010/main" val="88303884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cSld name="5_Title and Content_ no background">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86097" y="86404"/>
            <a:ext cx="8369865" cy="899985"/>
          </a:xfrm>
          <a:prstGeom prst="rect">
            <a:avLst/>
          </a:prstGeom>
        </p:spPr>
        <p:txBody>
          <a:bodyPr vert="horz" wrap="square" lIns="0" tIns="46799" rIns="89999" bIns="46799" rtlCol="0" anchor="b" anchorCtr="0">
            <a:noAutofit/>
          </a:bodyPr>
          <a:lstStyle>
            <a:lvl1pPr algn="l">
              <a:defRPr sz="2100" b="1">
                <a:solidFill>
                  <a:srgbClr val="5C5C5C"/>
                </a:solidFill>
                <a:latin typeface="Arial (Headings)"/>
              </a:defRPr>
            </a:lvl1pPr>
          </a:lstStyle>
          <a:p>
            <a:r>
              <a:rPr lang="en-GB" dirty="0"/>
              <a:t>Click to edit master title style</a:t>
            </a:r>
            <a:endParaRPr lang="en-US" dirty="0"/>
          </a:p>
        </p:txBody>
      </p:sp>
      <p:sp>
        <p:nvSpPr>
          <p:cNvPr id="19" name="Content Placeholder 18"/>
          <p:cNvSpPr>
            <a:spLocks noGrp="1"/>
          </p:cNvSpPr>
          <p:nvPr>
            <p:ph sz="quarter" idx="10" hasCustomPrompt="1"/>
          </p:nvPr>
        </p:nvSpPr>
        <p:spPr>
          <a:xfrm>
            <a:off x="596696" y="1446667"/>
            <a:ext cx="7946805" cy="4031207"/>
          </a:xfrm>
        </p:spPr>
        <p:txBody>
          <a:bodyPr tIns="0" rIns="0" bIns="0" numCol="2" spcCol="720000">
            <a:noAutofit/>
          </a:bodyPr>
          <a:lstStyle>
            <a:lvl1pPr marL="133350" indent="-133350">
              <a:buClr>
                <a:schemeClr val="accent1"/>
              </a:buClr>
              <a:buFont typeface="Arial" charset="0"/>
              <a:buChar char="•"/>
              <a:defRPr/>
            </a:lvl1pPr>
            <a:lvl2pPr marL="336947" indent="-203597">
              <a:buClr>
                <a:schemeClr val="accent1"/>
              </a:buClr>
              <a:buFont typeface="Arial" charset="0"/>
              <a:buChar char="•"/>
              <a:tabLst/>
              <a:defRPr/>
            </a:lvl2pPr>
            <a:lvl3pPr marL="471488" indent="-134541">
              <a:buClr>
                <a:schemeClr val="accent1"/>
              </a:buClr>
              <a:buFont typeface="Arial" charset="0"/>
              <a:buChar char="•"/>
              <a:defRPr/>
            </a:lvl3pPr>
            <a:lvl4pPr marL="1200150" indent="-171450">
              <a:buClr>
                <a:schemeClr val="accent1"/>
              </a:buClr>
              <a:buFont typeface="Arial" charset="0"/>
              <a:buChar char="•"/>
              <a:defRPr/>
            </a:lvl4pPr>
            <a:lvl5pPr marL="1543050" indent="-171450">
              <a:buClr>
                <a:schemeClr val="accent1"/>
              </a:buClr>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1" hasCustomPrompt="1"/>
          </p:nvPr>
        </p:nvSpPr>
        <p:spPr>
          <a:xfrm>
            <a:off x="180944" y="6170617"/>
            <a:ext cx="7947285" cy="525439"/>
          </a:xfrm>
        </p:spPr>
        <p:txBody>
          <a:bodyPr tIns="0" rIns="0" bIns="0" anchor="b">
            <a:noAutofit/>
          </a:bodyPr>
          <a:lstStyle>
            <a:lvl1pPr marL="0" indent="0">
              <a:spcBef>
                <a:spcPts val="0"/>
              </a:spcBef>
              <a:spcAft>
                <a:spcPts val="0"/>
              </a:spcAft>
              <a:buNone/>
              <a:defRPr sz="750">
                <a:solidFill>
                  <a:schemeClr val="tx1"/>
                </a:solidFill>
              </a:defRPr>
            </a:lvl1pPr>
          </a:lstStyle>
          <a:p>
            <a:pPr lvl="0"/>
            <a:r>
              <a:rPr lang="en-US" dirty="0"/>
              <a:t>Click to edit Master text styles</a:t>
            </a:r>
          </a:p>
        </p:txBody>
      </p:sp>
      <p:cxnSp>
        <p:nvCxnSpPr>
          <p:cNvPr id="8" name="Straight Connector 7"/>
          <p:cNvCxnSpPr/>
          <p:nvPr/>
        </p:nvCxnSpPr>
        <p:spPr>
          <a:xfrm>
            <a:off x="387000" y="966039"/>
            <a:ext cx="8370000" cy="0"/>
          </a:xfrm>
          <a:prstGeom prst="line">
            <a:avLst/>
          </a:prstGeom>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87276631"/>
      </p:ext>
    </p:extLst>
  </p:cSld>
  <p:clrMapOvr>
    <a:masterClrMapping/>
  </p:clrMapOvr>
  <p:transition/>
  <p:extLst mod="1">
    <p:ext uri="{DCECCB84-F9BA-43D5-87BE-67443E8EF086}">
      <p15:sldGuideLst xmlns:p15="http://schemas.microsoft.com/office/powerpoint/2012/main">
        <p15:guide id="1" orient="horz" pos="436">
          <p15:clr>
            <a:srgbClr val="FBAE40"/>
          </p15:clr>
        </p15:guide>
        <p15:guide id="2" pos="3840">
          <p15:clr>
            <a:srgbClr val="FBAE40"/>
          </p15:clr>
        </p15:guide>
        <p15:guide id="3" pos="7196">
          <p15:clr>
            <a:srgbClr val="FBAE40"/>
          </p15:clr>
        </p15:guide>
        <p15:guide id="4" orient="horz" pos="3952">
          <p15:clr>
            <a:srgbClr val="FBAE40"/>
          </p15:clr>
        </p15:guide>
        <p15:guide id="5" orient="horz" pos="3453">
          <p15:clr>
            <a:srgbClr val="FBAE40"/>
          </p15:clr>
        </p15:guide>
        <p15:guide id="6" orient="horz" pos="3589">
          <p15:clr>
            <a:srgbClr val="FBAE40"/>
          </p15:clr>
        </p15:guide>
        <p15:guide id="7" orient="horz" pos="1162">
          <p15:clr>
            <a:srgbClr val="FBAE40"/>
          </p15:clr>
        </p15:guide>
        <p15:guide id="8" orient="horz" pos="935">
          <p15:clr>
            <a:srgbClr val="FBAE40"/>
          </p15:clr>
        </p15:guide>
        <p15:guide id="9" pos="484">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6097" y="86404"/>
            <a:ext cx="8369865" cy="899985"/>
          </a:xfrm>
        </p:spPr>
        <p:txBody>
          <a:bodyPr wrap="square" lIns="0" tIns="46799" rIns="89999" bIns="46799" anchor="b">
            <a:noAutofit/>
          </a:bodyPr>
          <a:lstStyle>
            <a:lvl1pPr algn="l">
              <a:defRPr sz="2100" b="1" i="0">
                <a:solidFill>
                  <a:srgbClr val="5C5C5C"/>
                </a:solidFill>
                <a:latin typeface="Arial (Headings)"/>
              </a:defRPr>
            </a:lvl1pPr>
          </a:lstStyle>
          <a:p>
            <a:r>
              <a:rPr lang="en-GB" dirty="0"/>
              <a:t>Click to edit Master title style</a:t>
            </a:r>
            <a:endParaRPr lang="en-US" dirty="0"/>
          </a:p>
        </p:txBody>
      </p:sp>
      <p:sp>
        <p:nvSpPr>
          <p:cNvPr id="3" name="Content Placeholder 2"/>
          <p:cNvSpPr>
            <a:spLocks noGrp="1"/>
          </p:cNvSpPr>
          <p:nvPr>
            <p:ph idx="1"/>
          </p:nvPr>
        </p:nvSpPr>
        <p:spPr>
          <a:xfrm>
            <a:off x="457200" y="1446667"/>
            <a:ext cx="8229600" cy="4963663"/>
          </a:xfrm>
        </p:spPr>
        <p:txBody>
          <a:bodyPr/>
          <a:lstStyle>
            <a:lvl1pPr>
              <a:defRPr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2"/>
          <p:cNvSpPr>
            <a:spLocks noGrp="1"/>
          </p:cNvSpPr>
          <p:nvPr>
            <p:ph idx="10"/>
          </p:nvPr>
        </p:nvSpPr>
        <p:spPr>
          <a:xfrm>
            <a:off x="263048" y="6478153"/>
            <a:ext cx="8423753" cy="260851"/>
          </a:xfrm>
        </p:spPr>
        <p:txBody>
          <a:bodyPr lIns="0" tIns="0" rIns="0" bIns="0" anchor="b"/>
          <a:lstStyle>
            <a:lvl1pPr marL="0" indent="0">
              <a:buNone/>
              <a:defRPr sz="788"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US" dirty="0"/>
              <a:t>Click to edit Master text styles</a:t>
            </a:r>
          </a:p>
        </p:txBody>
      </p:sp>
      <p:pic>
        <p:nvPicPr>
          <p:cNvPr id="5" name="Picture 4" descr="AZ_SYMBOL_RGB.png"/>
          <p:cNvPicPr>
            <a:picLocks noChangeAspect="1"/>
          </p:cNvPicPr>
          <p:nvPr/>
        </p:nvPicPr>
        <p:blipFill>
          <a:blip r:embed="rId2" cstate="print"/>
          <a:stretch>
            <a:fillRect/>
          </a:stretch>
        </p:blipFill>
        <p:spPr>
          <a:xfrm>
            <a:off x="8544375" y="6198771"/>
            <a:ext cx="351822" cy="540000"/>
          </a:xfrm>
          <a:prstGeom prst="rect">
            <a:avLst/>
          </a:prstGeom>
        </p:spPr>
      </p:pic>
    </p:spTree>
    <p:extLst>
      <p:ext uri="{BB962C8B-B14F-4D97-AF65-F5344CB8AC3E}">
        <p14:creationId xmlns:p14="http://schemas.microsoft.com/office/powerpoint/2010/main" val="3548960284"/>
      </p:ext>
    </p:extLst>
  </p:cSld>
  <p:clrMapOvr>
    <a:masterClrMapping/>
  </p:clrMapOv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6861" y="317009"/>
            <a:ext cx="7888406" cy="648195"/>
          </a:xfrm>
        </p:spPr>
        <p:txBody>
          <a:bodyPr/>
          <a:lstStyle>
            <a:lvl1pPr>
              <a:defRPr sz="2100" b="1" i="0">
                <a:latin typeface="+mj-lt"/>
              </a:defRPr>
            </a:lvl1pPr>
          </a:lstStyle>
          <a:p>
            <a:r>
              <a:rPr lang="en-GB" dirty="0"/>
              <a:t>Click to edit Master title style</a:t>
            </a:r>
            <a:endParaRPr lang="en-US" dirty="0"/>
          </a:p>
        </p:txBody>
      </p:sp>
      <p:sp>
        <p:nvSpPr>
          <p:cNvPr id="3" name="Content Placeholder 2"/>
          <p:cNvSpPr>
            <a:spLocks noGrp="1"/>
          </p:cNvSpPr>
          <p:nvPr>
            <p:ph idx="1"/>
          </p:nvPr>
        </p:nvSpPr>
        <p:spPr>
          <a:xfrm>
            <a:off x="466725" y="1308100"/>
            <a:ext cx="8229600" cy="5102227"/>
          </a:xfrm>
        </p:spPr>
        <p:txBody>
          <a:bodyPr/>
          <a:lstStyle>
            <a:lvl1pPr>
              <a:defRPr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2"/>
          <p:cNvSpPr>
            <a:spLocks noGrp="1"/>
          </p:cNvSpPr>
          <p:nvPr>
            <p:ph idx="10"/>
          </p:nvPr>
        </p:nvSpPr>
        <p:spPr>
          <a:xfrm>
            <a:off x="263049" y="6478153"/>
            <a:ext cx="8617906" cy="260851"/>
          </a:xfrm>
        </p:spPr>
        <p:txBody>
          <a:bodyPr lIns="0" tIns="0" rIns="0" bIns="0" anchor="b"/>
          <a:lstStyle>
            <a:lvl1pPr marL="0" indent="0">
              <a:buNone/>
              <a:defRPr sz="825"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US" dirty="0"/>
              <a:t>Click to edit Master text styles</a:t>
            </a:r>
          </a:p>
        </p:txBody>
      </p:sp>
    </p:spTree>
    <p:extLst>
      <p:ext uri="{BB962C8B-B14F-4D97-AF65-F5344CB8AC3E}">
        <p14:creationId xmlns:p14="http://schemas.microsoft.com/office/powerpoint/2010/main" val="3494478999"/>
      </p:ext>
    </p:extLst>
  </p:cSld>
  <p:clrMapOvr>
    <a:masterClrMapping/>
  </p:clrMapOv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cSld name="2_Content 1 row Asthma">
    <p:spTree>
      <p:nvGrpSpPr>
        <p:cNvPr id="1" name=""/>
        <p:cNvGrpSpPr/>
        <p:nvPr/>
      </p:nvGrpSpPr>
      <p:grpSpPr>
        <a:xfrm>
          <a:off x="0" y="0"/>
          <a:ext cx="0" cy="0"/>
          <a:chOff x="0" y="0"/>
          <a:chExt cx="0" cy="0"/>
        </a:xfrm>
      </p:grpSpPr>
      <p:sp>
        <p:nvSpPr>
          <p:cNvPr id="4" name="Rectangle 3"/>
          <p:cNvSpPr/>
          <p:nvPr/>
        </p:nvSpPr>
        <p:spPr>
          <a:xfrm>
            <a:off x="0" y="1"/>
            <a:ext cx="9144000" cy="4652963"/>
          </a:xfrm>
          <a:prstGeom prst="rect">
            <a:avLst/>
          </a:prstGeom>
          <a:solidFill>
            <a:srgbClr val="B6C81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Round Single Corner Rectangle 4"/>
          <p:cNvSpPr/>
          <p:nvPr/>
        </p:nvSpPr>
        <p:spPr>
          <a:xfrm>
            <a:off x="1588" y="692152"/>
            <a:ext cx="9142412" cy="4149725"/>
          </a:xfrm>
          <a:prstGeom prst="round1Rect">
            <a:avLst>
              <a:gd name="adj" fmla="val 30160"/>
            </a:avLst>
          </a:prstGeom>
          <a:solidFill>
            <a:srgbClr val="98C6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Arial"/>
              <a:ea typeface="+mn-ea"/>
              <a:cs typeface="+mn-cs"/>
            </a:endParaRPr>
          </a:p>
        </p:txBody>
      </p:sp>
      <p:sp>
        <p:nvSpPr>
          <p:cNvPr id="6" name="Round Single Corner Rectangle 5"/>
          <p:cNvSpPr/>
          <p:nvPr/>
        </p:nvSpPr>
        <p:spPr>
          <a:xfrm>
            <a:off x="1588" y="765176"/>
            <a:ext cx="9142412" cy="4121151"/>
          </a:xfrm>
          <a:prstGeom prst="round1Rect">
            <a:avLst>
              <a:gd name="adj" fmla="val 30160"/>
            </a:avLst>
          </a:prstGeom>
          <a:solidFill>
            <a:srgbClr val="002F5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Round Single Corner Rectangle 6"/>
          <p:cNvSpPr/>
          <p:nvPr/>
        </p:nvSpPr>
        <p:spPr>
          <a:xfrm>
            <a:off x="1588" y="836613"/>
            <a:ext cx="9142412" cy="4049712"/>
          </a:xfrm>
          <a:prstGeom prst="round1Rect">
            <a:avLst>
              <a:gd name="adj" fmla="val 3016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ound Single Corner Rectangle 7"/>
          <p:cNvSpPr/>
          <p:nvPr/>
        </p:nvSpPr>
        <p:spPr>
          <a:xfrm rot="16200000">
            <a:off x="7968461" y="5679283"/>
            <a:ext cx="2105025" cy="252412"/>
          </a:xfrm>
          <a:prstGeom prst="round1Rect">
            <a:avLst/>
          </a:prstGeom>
          <a:solidFill>
            <a:srgbClr val="B6C81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GB" sz="713" b="1" i="0" u="none" strike="noStrike" kern="1200" cap="none" spc="0" normalizeH="0" baseline="0" noProof="0" dirty="0">
                <a:ln>
                  <a:noFill/>
                </a:ln>
                <a:solidFill>
                  <a:prstClr val="white"/>
                </a:solidFill>
                <a:effectLst/>
                <a:uLnTx/>
                <a:uFillTx/>
                <a:latin typeface="Arial"/>
                <a:ea typeface="+mn-ea"/>
                <a:cs typeface="+mn-cs"/>
              </a:rPr>
              <a:t>Economic value: asthma SMART</a:t>
            </a:r>
          </a:p>
        </p:txBody>
      </p:sp>
      <p:sp>
        <p:nvSpPr>
          <p:cNvPr id="2" name="Title 1"/>
          <p:cNvSpPr>
            <a:spLocks noGrp="1"/>
          </p:cNvSpPr>
          <p:nvPr>
            <p:ph type="title"/>
          </p:nvPr>
        </p:nvSpPr>
        <p:spPr>
          <a:xfrm>
            <a:off x="457200" y="5"/>
            <a:ext cx="8229600" cy="692249"/>
          </a:xfrm>
          <a:prstGeom prst="rect">
            <a:avLst/>
          </a:prstGeom>
        </p:spPr>
        <p:txBody>
          <a:bodyPr anchor="ctr"/>
          <a:lstStyle>
            <a:lvl1pPr algn="l">
              <a:defRPr sz="1500">
                <a:solidFill>
                  <a:schemeClr val="bg1"/>
                </a:solidFill>
              </a:defRPr>
            </a:lvl1pPr>
          </a:lstStyle>
          <a:p>
            <a:r>
              <a:rPr lang="en-US" dirty="0"/>
              <a:t>Click to edit Master title style</a:t>
            </a:r>
          </a:p>
        </p:txBody>
      </p:sp>
      <p:sp>
        <p:nvSpPr>
          <p:cNvPr id="11" name="Content Placeholder 2"/>
          <p:cNvSpPr>
            <a:spLocks noGrp="1"/>
          </p:cNvSpPr>
          <p:nvPr>
            <p:ph idx="1"/>
          </p:nvPr>
        </p:nvSpPr>
        <p:spPr>
          <a:xfrm>
            <a:off x="473869" y="1124745"/>
            <a:ext cx="8229600" cy="5001419"/>
          </a:xfrm>
          <a:prstGeom prst="rect">
            <a:avLst/>
          </a:prstGeom>
        </p:spPr>
        <p:txBody>
          <a:bodyPr/>
          <a:lstStyle>
            <a:lvl1pPr>
              <a:buClr>
                <a:srgbClr val="002F5F"/>
              </a:buClr>
              <a:defRPr sz="2100">
                <a:solidFill>
                  <a:schemeClr val="tx1"/>
                </a:solidFill>
              </a:defRPr>
            </a:lvl1pPr>
            <a:lvl2pPr>
              <a:defRPr sz="1800"/>
            </a:lvl2pPr>
            <a:lvl3pPr>
              <a:defRPr sz="1350"/>
            </a:lvl3pPr>
            <a:lvl4pPr>
              <a:defRPr sz="1200"/>
            </a:lvl4pPr>
            <a:lvl5pPr>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txBox="1">
            <a:spLocks/>
          </p:cNvSpPr>
          <p:nvPr/>
        </p:nvSpPr>
        <p:spPr>
          <a:xfrm rot="16200000">
            <a:off x="7519994" y="3109915"/>
            <a:ext cx="2994025" cy="279400"/>
          </a:xfrm>
          <a:prstGeom prst="rect">
            <a:avLst/>
          </a:prstGeom>
        </p:spPr>
        <p:txBody>
          <a:bodyPr/>
          <a:lstStyle>
            <a:defPPr>
              <a:defRPr lang="en-US"/>
            </a:defPPr>
            <a:lvl1pPr algn="l" rtl="0" fontAlgn="base">
              <a:spcBef>
                <a:spcPct val="0"/>
              </a:spcBef>
              <a:spcAft>
                <a:spcPct val="0"/>
              </a:spcAft>
              <a:defRPr sz="1200" kern="1200">
                <a:solidFill>
                  <a:schemeClr val="tx1"/>
                </a:solidFill>
                <a:latin typeface="+mn-lt"/>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GB" sz="525" b="0" i="0" u="none" strike="noStrike" kern="1200" cap="none" spc="0" normalizeH="0" baseline="0" noProof="0" dirty="0">
                <a:ln>
                  <a:noFill/>
                </a:ln>
                <a:solidFill>
                  <a:prstClr val="white">
                    <a:lumMod val="65000"/>
                  </a:prstClr>
                </a:solidFill>
                <a:effectLst/>
                <a:uLnTx/>
                <a:uFillTx/>
                <a:latin typeface="Arial"/>
                <a:ea typeface="+mn-ea"/>
                <a:cs typeface="Arial" charset="0"/>
              </a:rPr>
              <a:t>Symbicort</a:t>
            </a:r>
            <a:r>
              <a:rPr kumimoji="0" lang="en-GB" sz="525" b="0" i="0" u="none" strike="noStrike" kern="1200" cap="none" spc="0" normalizeH="0" baseline="30000" noProof="0" dirty="0">
                <a:ln>
                  <a:noFill/>
                </a:ln>
                <a:solidFill>
                  <a:prstClr val="white">
                    <a:lumMod val="65000"/>
                  </a:prstClr>
                </a:solidFill>
                <a:effectLst/>
                <a:uLnTx/>
                <a:uFillTx/>
                <a:latin typeface="Arial"/>
                <a:ea typeface="+mn-ea"/>
                <a:cs typeface="Arial" charset="0"/>
              </a:rPr>
              <a:t>®</a:t>
            </a:r>
            <a:r>
              <a:rPr kumimoji="0" lang="en-GB" sz="525" b="0" i="0" u="none" strike="noStrike" kern="1200" cap="none" spc="0" normalizeH="0" baseline="0" noProof="0" dirty="0">
                <a:ln>
                  <a:noFill/>
                </a:ln>
                <a:solidFill>
                  <a:prstClr val="white">
                    <a:lumMod val="65000"/>
                  </a:prstClr>
                </a:solidFill>
                <a:effectLst/>
                <a:uLnTx/>
                <a:uFillTx/>
                <a:latin typeface="Arial"/>
                <a:ea typeface="+mn-ea"/>
                <a:cs typeface="Arial" charset="0"/>
              </a:rPr>
              <a:t> Brand Value Pack update 2016; </a:t>
            </a:r>
            <a:r>
              <a:rPr kumimoji="0" lang="en-GB" sz="525" b="0" i="0" u="none" strike="noStrike" kern="1200" cap="none" spc="0" normalizeH="0" baseline="0" noProof="0" dirty="0">
                <a:ln>
                  <a:noFill/>
                </a:ln>
                <a:solidFill>
                  <a:srgbClr val="9C9385"/>
                </a:solidFill>
                <a:effectLst/>
                <a:uLnTx/>
                <a:uFillTx/>
                <a:latin typeface="Arial"/>
                <a:ea typeface="+mn-ea"/>
                <a:cs typeface="Arial" pitchFamily="34" charset="0"/>
              </a:rPr>
              <a:t>Proprietary and Confidential © AstraZeneca 2016 </a:t>
            </a:r>
            <a:r>
              <a:rPr kumimoji="0" lang="en-GB" sz="525" b="0" i="0" u="none" strike="noStrike" kern="1200" cap="none" spc="0" normalizeH="0" baseline="0" noProof="0" dirty="0">
                <a:ln>
                  <a:noFill/>
                </a:ln>
                <a:solidFill>
                  <a:srgbClr val="9C9385"/>
                </a:solidFill>
                <a:effectLst/>
                <a:uLnTx/>
                <a:uFillTx/>
                <a:latin typeface="Verdana" pitchFamily="34" charset="0"/>
                <a:ea typeface="+mn-ea"/>
                <a:cs typeface="Arial" pitchFamily="34" charset="0"/>
              </a:rPr>
              <a:t>●</a:t>
            </a:r>
            <a:r>
              <a:rPr kumimoji="0" lang="en-GB" sz="525" b="0" i="0" u="none" strike="noStrike" kern="1200" cap="none" spc="0" normalizeH="0" baseline="0" noProof="0" dirty="0">
                <a:ln>
                  <a:noFill/>
                </a:ln>
                <a:solidFill>
                  <a:srgbClr val="9C9385"/>
                </a:solidFill>
                <a:effectLst/>
                <a:uLnTx/>
                <a:uFillTx/>
                <a:latin typeface="Arial"/>
                <a:ea typeface="+mn-ea"/>
                <a:cs typeface="Arial" pitchFamily="34" charset="0"/>
              </a:rPr>
              <a:t>  FOR INTERNAL USE ONLY </a:t>
            </a:r>
          </a:p>
        </p:txBody>
      </p:sp>
      <p:sp>
        <p:nvSpPr>
          <p:cNvPr id="13" name="Slide Number Placeholder 3"/>
          <p:cNvSpPr txBox="1">
            <a:spLocks/>
          </p:cNvSpPr>
          <p:nvPr/>
        </p:nvSpPr>
        <p:spPr bwMode="auto">
          <a:xfrm>
            <a:off x="8353432" y="6486528"/>
            <a:ext cx="5413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r" defTabSz="685783" rtl="0" eaLnBrk="1" fontAlgn="base" latinLnBrk="0" hangingPunct="1">
              <a:lnSpc>
                <a:spcPct val="100000"/>
              </a:lnSpc>
              <a:spcBef>
                <a:spcPct val="0"/>
              </a:spcBef>
              <a:spcAft>
                <a:spcPct val="0"/>
              </a:spcAft>
              <a:buClrTx/>
              <a:buSzTx/>
              <a:buFontTx/>
              <a:buNone/>
              <a:tabLst/>
              <a:defRPr/>
            </a:pPr>
            <a:fld id="{025AA74D-A912-4E50-9DA8-F33C8905380B}" type="slidenum">
              <a:rPr kumimoji="0" lang="en-US" altLang="en-US" sz="900" b="0" i="0" u="none" strike="noStrike" kern="1200" cap="none" spc="0" normalizeH="0" baseline="0" noProof="0">
                <a:ln>
                  <a:noFill/>
                </a:ln>
                <a:solidFill>
                  <a:prstClr val="black"/>
                </a:solidFill>
                <a:effectLst/>
                <a:uLnTx/>
                <a:uFillTx/>
                <a:latin typeface="Arial" pitchFamily="34" charset="0"/>
                <a:ea typeface="+mn-ea"/>
                <a:cs typeface="Arial" pitchFamily="34" charset="0"/>
              </a:rPr>
              <a:pPr marL="0" marR="0" lvl="0" indent="0" algn="r" defTabSz="685783" rtl="0" eaLnBrk="1" fontAlgn="base" latinLnBrk="0" hangingPunct="1">
                <a:lnSpc>
                  <a:spcPct val="100000"/>
                </a:lnSpc>
                <a:spcBef>
                  <a:spcPct val="0"/>
                </a:spcBef>
                <a:spcAft>
                  <a:spcPct val="0"/>
                </a:spcAft>
                <a:buClrTx/>
                <a:buSzTx/>
                <a:buFontTx/>
                <a:buNone/>
                <a:tabLst/>
                <a:defRPr/>
              </a:pPr>
              <a:t>‹#›</a:t>
            </a:fld>
            <a:endParaRPr kumimoji="0" lang="en-US" altLang="en-US" sz="9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693179816"/>
      </p:ext>
    </p:extLst>
  </p:cSld>
  <p:clrMapOvr>
    <a:masterClrMapping/>
  </p:clrMapOv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BE7363-B4E0-4173-A81D-673CA9EAD4F2}"/>
              </a:ext>
            </a:extLst>
          </p:cNvPr>
          <p:cNvSpPr/>
          <p:nvPr/>
        </p:nvSpPr>
        <p:spPr>
          <a:xfrm>
            <a:off x="310754" y="346076"/>
            <a:ext cx="8522494" cy="6165851"/>
          </a:xfrm>
          <a:prstGeom prst="rect">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ctrTitle"/>
          </p:nvPr>
        </p:nvSpPr>
        <p:spPr>
          <a:xfrm>
            <a:off x="1228672" y="801130"/>
            <a:ext cx="5424903" cy="2184908"/>
          </a:xfrm>
        </p:spPr>
        <p:txBody>
          <a:bodyPr>
            <a:noAutofit/>
          </a:bodyPr>
          <a:lstStyle>
            <a:lvl1pPr algn="l">
              <a:defRPr sz="2400" b="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293276661"/>
      </p:ext>
    </p:extLst>
  </p:cSld>
  <p:clrMapOvr>
    <a:masterClrMapping/>
  </p:clrMapOv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6097" y="86404"/>
            <a:ext cx="8369865" cy="899985"/>
          </a:xfrm>
        </p:spPr>
        <p:txBody>
          <a:bodyPr>
            <a:noAutofit/>
          </a:bodyPr>
          <a:lstStyle>
            <a:lvl1pPr algn="l">
              <a:defRPr sz="2100" b="1" i="0">
                <a:solidFill>
                  <a:srgbClr val="5C5C5C"/>
                </a:solidFill>
                <a:latin typeface="Arial (Headings)"/>
              </a:defRPr>
            </a:lvl1pPr>
          </a:lstStyle>
          <a:p>
            <a:r>
              <a:rPr lang="en-US"/>
              <a:t>Click to edit Master title style</a:t>
            </a:r>
            <a:endParaRPr lang="en-US" dirty="0"/>
          </a:p>
        </p:txBody>
      </p:sp>
      <p:sp>
        <p:nvSpPr>
          <p:cNvPr id="3" name="Content Placeholder 2"/>
          <p:cNvSpPr>
            <a:spLocks noGrp="1"/>
          </p:cNvSpPr>
          <p:nvPr>
            <p:ph idx="1"/>
          </p:nvPr>
        </p:nvSpPr>
        <p:spPr>
          <a:xfrm>
            <a:off x="457200" y="1419371"/>
            <a:ext cx="8229600" cy="4990959"/>
          </a:xfrm>
        </p:spPr>
        <p:txBody>
          <a:bodyPr/>
          <a:lstStyle>
            <a:lvl1pPr>
              <a:defRPr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9039"/>
      </p:ext>
    </p:extLst>
  </p:cSld>
  <p:clrMapOvr>
    <a:masterClrMapping/>
  </p:clrMapOv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cSld name="1_Introduction">
    <p:spTree>
      <p:nvGrpSpPr>
        <p:cNvPr id="1" name=""/>
        <p:cNvGrpSpPr/>
        <p:nvPr/>
      </p:nvGrpSpPr>
      <p:grpSpPr>
        <a:xfrm>
          <a:off x="0" y="0"/>
          <a:ext cx="0" cy="0"/>
          <a:chOff x="0" y="0"/>
          <a:chExt cx="0" cy="0"/>
        </a:xfrm>
      </p:grpSpPr>
      <p:sp>
        <p:nvSpPr>
          <p:cNvPr id="15" name="Title 8"/>
          <p:cNvSpPr>
            <a:spLocks noGrp="1"/>
          </p:cNvSpPr>
          <p:nvPr>
            <p:ph type="title"/>
          </p:nvPr>
        </p:nvSpPr>
        <p:spPr>
          <a:xfrm>
            <a:off x="237601" y="192000"/>
            <a:ext cx="8280000" cy="672000"/>
          </a:xfrm>
          <a:prstGeom prst="rect">
            <a:avLst/>
          </a:prstGeom>
        </p:spPr>
        <p:txBody>
          <a:bodyPr/>
          <a:lstStyle>
            <a:lvl1pPr algn="l">
              <a:lnSpc>
                <a:spcPct val="100000"/>
              </a:lnSpc>
              <a:defRPr sz="1800" b="1" baseline="0">
                <a:solidFill>
                  <a:schemeClr val="tx2"/>
                </a:solidFill>
                <a:latin typeface="Arial" pitchFamily="34" charset="0"/>
                <a:cs typeface="Arial" pitchFamily="34" charset="0"/>
              </a:defRPr>
            </a:lvl1pPr>
          </a:lstStyle>
          <a:p>
            <a:r>
              <a:rPr lang="en-US" noProof="0"/>
              <a:t>Click to edit Master title style</a:t>
            </a:r>
            <a:endParaRPr lang="en-GB" noProof="0" dirty="0"/>
          </a:p>
        </p:txBody>
      </p:sp>
      <p:sp>
        <p:nvSpPr>
          <p:cNvPr id="6" name="Text Placeholder 3"/>
          <p:cNvSpPr>
            <a:spLocks noGrp="1"/>
          </p:cNvSpPr>
          <p:nvPr>
            <p:ph type="body" sz="quarter" idx="11"/>
          </p:nvPr>
        </p:nvSpPr>
        <p:spPr>
          <a:xfrm>
            <a:off x="237063" y="1552689"/>
            <a:ext cx="7023713" cy="4229521"/>
          </a:xfrm>
          <a:prstGeom prst="rect">
            <a:avLst/>
          </a:prstGeom>
        </p:spPr>
        <p:txBody>
          <a:bodyPr/>
          <a:lstStyle>
            <a:lvl1pPr marL="0" indent="0">
              <a:spcBef>
                <a:spcPts val="0"/>
              </a:spcBef>
              <a:buNone/>
              <a:defRPr sz="1800" baseline="0">
                <a:solidFill>
                  <a:schemeClr val="tx1"/>
                </a:solidFill>
                <a:latin typeface="Arial" pitchFamily="34" charset="0"/>
                <a:cs typeface="Arial" pitchFamily="34" charset="0"/>
              </a:defRPr>
            </a:lvl1pPr>
            <a:lvl2pPr marL="342900" indent="0">
              <a:buNone/>
              <a:defRPr sz="1800"/>
            </a:lvl2pPr>
            <a:lvl3pPr marL="685800" indent="0">
              <a:buNone/>
              <a:defRPr sz="1800"/>
            </a:lvl3pPr>
            <a:lvl4pPr marL="1028700" indent="0">
              <a:buNone/>
              <a:defRPr sz="1800"/>
            </a:lvl4pPr>
            <a:lvl5pPr marL="1371600" indent="0">
              <a:buNone/>
              <a:defRPr sz="1800"/>
            </a:lvl5pPr>
          </a:lstStyle>
          <a:p>
            <a:pPr lvl="0"/>
            <a:r>
              <a:rPr lang="en-US" noProof="0"/>
              <a:t>Edit Master text styles</a:t>
            </a:r>
          </a:p>
        </p:txBody>
      </p:sp>
      <p:sp>
        <p:nvSpPr>
          <p:cNvPr id="4" name="Slide Number Placeholder 5">
            <a:extLst>
              <a:ext uri="{FF2B5EF4-FFF2-40B4-BE49-F238E27FC236}">
                <a16:creationId xmlns:a16="http://schemas.microsoft.com/office/drawing/2014/main" id="{E744078A-9EB5-4806-B235-1CAD4AC1CA49}"/>
              </a:ext>
            </a:extLst>
          </p:cNvPr>
          <p:cNvSpPr>
            <a:spLocks noGrp="1"/>
          </p:cNvSpPr>
          <p:nvPr>
            <p:ph type="sldNum" sz="quarter" idx="12"/>
          </p:nvPr>
        </p:nvSpPr>
        <p:spPr>
          <a:xfrm>
            <a:off x="317898" y="6462715"/>
            <a:ext cx="396478" cy="215900"/>
          </a:xfrm>
          <a:prstGeom prst="rect">
            <a:avLst/>
          </a:prstGeom>
        </p:spPr>
        <p:txBody>
          <a:bodyPr lIns="0" tIns="0" rIns="0" bIns="0" anchor="t" anchorCtr="0"/>
          <a:lstStyle>
            <a:lvl1pPr algn="l" eaLnBrk="1" fontAlgn="auto" hangingPunct="1">
              <a:spcBef>
                <a:spcPts val="0"/>
              </a:spcBef>
              <a:spcAft>
                <a:spcPts val="0"/>
              </a:spcAft>
              <a:defRPr sz="600" b="1">
                <a:solidFill>
                  <a:schemeClr val="tx1"/>
                </a:solidFill>
                <a:latin typeface="Arial" pitchFamily="34" charset="0"/>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600" b="1" i="0" u="none" strike="noStrike" kern="1200" cap="none" spc="0" normalizeH="0" baseline="0" noProof="0" smtClean="0">
                <a:ln>
                  <a:noFill/>
                </a:ln>
                <a:solidFill>
                  <a:srgbClr val="5C5C5C"/>
                </a:solidFill>
                <a:effectLst/>
                <a:uLnTx/>
                <a:uFillTx/>
                <a:latin typeface="Arial" pitchFamily="34" charset="0"/>
                <a:ea typeface="+mn-ea"/>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600" b="1" i="0" u="none" strike="noStrike" kern="1200" cap="none" spc="0" normalizeH="0" baseline="0" noProof="0" dirty="0">
              <a:ln>
                <a:noFill/>
              </a:ln>
              <a:solidFill>
                <a:srgbClr val="5C5C5C"/>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229320339"/>
      </p:ext>
    </p:extLst>
  </p:cSld>
  <p:clrMapOvr>
    <a:masterClrMapping/>
  </p:clrMapOv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cSld name="6_Title and Content_ no background">
    <p:spTree>
      <p:nvGrpSpPr>
        <p:cNvPr id="1" name=""/>
        <p:cNvGrpSpPr/>
        <p:nvPr/>
      </p:nvGrpSpPr>
      <p:grpSpPr>
        <a:xfrm>
          <a:off x="0" y="0"/>
          <a:ext cx="0" cy="0"/>
          <a:chOff x="0" y="0"/>
          <a:chExt cx="0" cy="0"/>
        </a:xfrm>
      </p:grpSpPr>
      <p:sp>
        <p:nvSpPr>
          <p:cNvPr id="13" name="Title Placeholder 1"/>
          <p:cNvSpPr>
            <a:spLocks noGrp="1"/>
          </p:cNvSpPr>
          <p:nvPr>
            <p:ph type="title"/>
          </p:nvPr>
        </p:nvSpPr>
        <p:spPr>
          <a:xfrm>
            <a:off x="386097" y="86404"/>
            <a:ext cx="8369865" cy="899985"/>
          </a:xfrm>
          <a:prstGeom prst="rect">
            <a:avLst/>
          </a:prstGeom>
        </p:spPr>
        <p:txBody>
          <a:bodyPr rtlCol="0">
            <a:noAutofit/>
          </a:bodyPr>
          <a:lstStyle>
            <a:lvl1pPr algn="l">
              <a:defRPr sz="2100" b="1">
                <a:solidFill>
                  <a:srgbClr val="5C5C5C"/>
                </a:solidFill>
                <a:latin typeface="Arial (Headings)"/>
              </a:defRPr>
            </a:lvl1pPr>
          </a:lstStyle>
          <a:p>
            <a:r>
              <a:rPr lang="en-US"/>
              <a:t>Click to edit Master title style</a:t>
            </a:r>
            <a:endParaRPr lang="en-US" dirty="0"/>
          </a:p>
        </p:txBody>
      </p:sp>
      <p:sp>
        <p:nvSpPr>
          <p:cNvPr id="19" name="Content Placeholder 18"/>
          <p:cNvSpPr>
            <a:spLocks noGrp="1"/>
          </p:cNvSpPr>
          <p:nvPr>
            <p:ph sz="quarter" idx="10"/>
          </p:nvPr>
        </p:nvSpPr>
        <p:spPr>
          <a:xfrm>
            <a:off x="596696" y="1460311"/>
            <a:ext cx="7946805" cy="4017560"/>
          </a:xfrm>
        </p:spPr>
        <p:txBody>
          <a:bodyPr tIns="0" rIns="0" bIns="0" numCol="2" spcCol="720000">
            <a:noAutofit/>
          </a:bodyPr>
          <a:lstStyle>
            <a:lvl1pPr marL="133350" indent="-133350">
              <a:buClr>
                <a:schemeClr val="accent1"/>
              </a:buClr>
              <a:buFont typeface="Arial" charset="0"/>
              <a:buChar char="•"/>
              <a:defRPr/>
            </a:lvl1pPr>
            <a:lvl2pPr marL="336947" indent="-203597">
              <a:buClr>
                <a:schemeClr val="accent1"/>
              </a:buClr>
              <a:buFont typeface="Arial" charset="0"/>
              <a:buChar char="•"/>
              <a:tabLst/>
              <a:defRPr/>
            </a:lvl2pPr>
            <a:lvl3pPr marL="471488" indent="-134541">
              <a:buClr>
                <a:schemeClr val="accent1"/>
              </a:buClr>
              <a:buFont typeface="Arial" charset="0"/>
              <a:buChar char="•"/>
              <a:defRPr/>
            </a:lvl3pPr>
            <a:lvl4pPr marL="1200150" indent="-171450">
              <a:buClr>
                <a:schemeClr val="accent1"/>
              </a:buClr>
              <a:buFont typeface="Arial" charset="0"/>
              <a:buChar char="•"/>
              <a:defRPr/>
            </a:lvl4pPr>
            <a:lvl5pPr marL="1543050" indent="-171450">
              <a:buClr>
                <a:schemeClr val="accent1"/>
              </a:buClr>
              <a:buFont typeface="Arial"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71110761"/>
      </p:ext>
    </p:extLst>
  </p:cSld>
  <p:clrMapOvr>
    <a:masterClrMapping/>
  </p:clrMapOv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cSld name="Bullet Content 1">
    <p:spTree>
      <p:nvGrpSpPr>
        <p:cNvPr id="1" name=""/>
        <p:cNvGrpSpPr/>
        <p:nvPr/>
      </p:nvGrpSpPr>
      <p:grpSpPr>
        <a:xfrm>
          <a:off x="0" y="0"/>
          <a:ext cx="0" cy="0"/>
          <a:chOff x="0" y="0"/>
          <a:chExt cx="0" cy="0"/>
        </a:xfrm>
      </p:grpSpPr>
      <p:sp>
        <p:nvSpPr>
          <p:cNvPr id="5" name="Title 8"/>
          <p:cNvSpPr>
            <a:spLocks noGrp="1"/>
          </p:cNvSpPr>
          <p:nvPr>
            <p:ph type="title"/>
          </p:nvPr>
        </p:nvSpPr>
        <p:spPr>
          <a:xfrm>
            <a:off x="237064" y="192000"/>
            <a:ext cx="8765651" cy="672000"/>
          </a:xfrm>
          <a:prstGeom prst="rect">
            <a:avLst/>
          </a:prstGeom>
        </p:spPr>
        <p:txBody>
          <a:bodyPr/>
          <a:lstStyle>
            <a:lvl1pPr algn="l">
              <a:lnSpc>
                <a:spcPct val="100000"/>
              </a:lnSpc>
              <a:defRPr sz="1800" b="1" baseline="0">
                <a:solidFill>
                  <a:srgbClr val="830051"/>
                </a:solidFill>
                <a:latin typeface="Arial" pitchFamily="34" charset="0"/>
                <a:cs typeface="Arial" pitchFamily="34" charset="0"/>
              </a:defRPr>
            </a:lvl1pPr>
          </a:lstStyle>
          <a:p>
            <a:r>
              <a:rPr lang="en-US" noProof="0"/>
              <a:t>Click to edit Master title style</a:t>
            </a:r>
            <a:endParaRPr lang="en-GB" noProof="0" dirty="0"/>
          </a:p>
        </p:txBody>
      </p:sp>
      <p:sp>
        <p:nvSpPr>
          <p:cNvPr id="7" name="Content Placeholder 2"/>
          <p:cNvSpPr>
            <a:spLocks noGrp="1"/>
          </p:cNvSpPr>
          <p:nvPr>
            <p:ph idx="16"/>
          </p:nvPr>
        </p:nvSpPr>
        <p:spPr>
          <a:xfrm>
            <a:off x="237600" y="1645920"/>
            <a:ext cx="7056000" cy="2157984"/>
          </a:xfrm>
          <a:prstGeom prst="rect">
            <a:avLst/>
          </a:prstGeom>
        </p:spPr>
        <p:txBody>
          <a:bodyPr/>
          <a:lstStyle>
            <a:lvl1pPr marL="135000" indent="-135000">
              <a:lnSpc>
                <a:spcPct val="100000"/>
              </a:lnSpc>
              <a:spcBef>
                <a:spcPts val="0"/>
              </a:spcBef>
              <a:buClr>
                <a:srgbClr val="830051"/>
              </a:buClr>
              <a:buFont typeface="Arial" pitchFamily="34" charset="0"/>
              <a:buChar char="•"/>
              <a:defRPr sz="1350">
                <a:solidFill>
                  <a:schemeClr val="tx1"/>
                </a:solidFill>
                <a:latin typeface="Arial" pitchFamily="34" charset="0"/>
                <a:cs typeface="Arial" pitchFamily="34" charset="0"/>
              </a:defRPr>
            </a:lvl1pPr>
            <a:lvl2pPr marL="405000" indent="-135000">
              <a:lnSpc>
                <a:spcPct val="100000"/>
              </a:lnSpc>
              <a:spcBef>
                <a:spcPts val="0"/>
              </a:spcBef>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4" name="Slide Number Placeholder 5">
            <a:extLst>
              <a:ext uri="{FF2B5EF4-FFF2-40B4-BE49-F238E27FC236}">
                <a16:creationId xmlns:a16="http://schemas.microsoft.com/office/drawing/2014/main" id="{972F3824-4404-4FD1-8B64-673C91B4530D}"/>
              </a:ext>
            </a:extLst>
          </p:cNvPr>
          <p:cNvSpPr>
            <a:spLocks noGrp="1"/>
          </p:cNvSpPr>
          <p:nvPr>
            <p:ph type="sldNum" sz="quarter" idx="17"/>
          </p:nvPr>
        </p:nvSpPr>
        <p:spPr>
          <a:xfrm>
            <a:off x="317898" y="6462715"/>
            <a:ext cx="396478" cy="215900"/>
          </a:xfrm>
          <a:prstGeom prst="rect">
            <a:avLst/>
          </a:prstGeom>
        </p:spPr>
        <p:txBody>
          <a:bodyPr lIns="0" tIns="0" rIns="0" bIns="0" anchor="t" anchorCtr="0"/>
          <a:lstStyle>
            <a:lvl1pPr algn="l" eaLnBrk="1" fontAlgn="auto" hangingPunct="1">
              <a:spcBef>
                <a:spcPts val="0"/>
              </a:spcBef>
              <a:spcAft>
                <a:spcPts val="0"/>
              </a:spcAft>
              <a:defRPr sz="600" b="1">
                <a:solidFill>
                  <a:schemeClr val="tx1"/>
                </a:solidFill>
                <a:latin typeface="Arial" pitchFamily="34" charset="0"/>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600" b="1" i="0" u="none" strike="noStrike" kern="1200" cap="none" spc="0" normalizeH="0" baseline="0" noProof="0" smtClean="0">
                <a:ln>
                  <a:noFill/>
                </a:ln>
                <a:solidFill>
                  <a:srgbClr val="5C5C5C"/>
                </a:solidFill>
                <a:effectLst/>
                <a:uLnTx/>
                <a:uFillTx/>
                <a:latin typeface="Arial" pitchFamily="34" charset="0"/>
                <a:ea typeface="+mn-ea"/>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600" b="1" i="0" u="none" strike="noStrike" kern="1200" cap="none" spc="0" normalizeH="0" baseline="0" noProof="0" dirty="0">
              <a:ln>
                <a:noFill/>
              </a:ln>
              <a:solidFill>
                <a:srgbClr val="5C5C5C"/>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7968186"/>
      </p:ext>
    </p:extLst>
  </p:cSld>
  <p:clrMapOvr>
    <a:masterClrMapping/>
  </p:clrMapOv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cSld name="7_Title and Content_ no background">
    <p:spTree>
      <p:nvGrpSpPr>
        <p:cNvPr id="1" name=""/>
        <p:cNvGrpSpPr/>
        <p:nvPr/>
      </p:nvGrpSpPr>
      <p:grpSpPr>
        <a:xfrm>
          <a:off x="0" y="0"/>
          <a:ext cx="0" cy="0"/>
          <a:chOff x="0" y="0"/>
          <a:chExt cx="0" cy="0"/>
        </a:xfrm>
      </p:grpSpPr>
      <p:sp>
        <p:nvSpPr>
          <p:cNvPr id="13" name="Title Placeholder 1"/>
          <p:cNvSpPr>
            <a:spLocks noGrp="1"/>
          </p:cNvSpPr>
          <p:nvPr>
            <p:ph type="title"/>
          </p:nvPr>
        </p:nvSpPr>
        <p:spPr>
          <a:xfrm>
            <a:off x="386097" y="86404"/>
            <a:ext cx="8369865" cy="899985"/>
          </a:xfrm>
          <a:prstGeom prst="rect">
            <a:avLst/>
          </a:prstGeom>
        </p:spPr>
        <p:txBody>
          <a:bodyPr rtlCol="0">
            <a:noAutofit/>
          </a:bodyPr>
          <a:lstStyle>
            <a:lvl1pPr algn="l">
              <a:defRPr sz="2100" b="1">
                <a:solidFill>
                  <a:srgbClr val="5C5C5C"/>
                </a:solidFill>
                <a:latin typeface="Arial (Headings)"/>
              </a:defRPr>
            </a:lvl1pPr>
          </a:lstStyle>
          <a:p>
            <a:r>
              <a:rPr lang="en-US"/>
              <a:t>Click to edit Master title style</a:t>
            </a:r>
            <a:endParaRPr lang="en-US" dirty="0"/>
          </a:p>
        </p:txBody>
      </p:sp>
    </p:spTree>
    <p:extLst>
      <p:ext uri="{BB962C8B-B14F-4D97-AF65-F5344CB8AC3E}">
        <p14:creationId xmlns:p14="http://schemas.microsoft.com/office/powerpoint/2010/main" val="58762598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4" name="Date Placeholder 3"/>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8F465F-DAF4-455E-950B-4E617B86F3AD}" type="slidenum">
              <a:rPr lang="en-US" smtClean="0"/>
              <a:pPr/>
              <a:t>‹#›</a:t>
            </a:fld>
            <a:endParaRPr lang="en-US"/>
          </a:p>
        </p:txBody>
      </p:sp>
      <p:sp>
        <p:nvSpPr>
          <p:cNvPr id="8" name="Content Placeholder 7"/>
          <p:cNvSpPr>
            <a:spLocks noGrp="1"/>
          </p:cNvSpPr>
          <p:nvPr>
            <p:ph sz="quarter" idx="1"/>
          </p:nvPr>
        </p:nvSpPr>
        <p:spPr>
          <a:xfrm>
            <a:off x="914400" y="1447800"/>
            <a:ext cx="7772400" cy="45720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lstStyle>
            <a:lvl1pPr algn="l">
              <a:buNone/>
              <a:defRPr sz="4400" b="0"/>
            </a:lvl1pPr>
          </a:lstStyle>
          <a:p>
            <a:r>
              <a:rPr lang="en-US" smtClean="0"/>
              <a:t>Click to edit Master title style</a:t>
            </a:r>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13"/>
          <p:cNvSpPr>
            <a:spLocks noGrp="1"/>
          </p:cNvSpPr>
          <p:nvPr>
            <p:ph type="dt" sz="half" idx="10"/>
          </p:nvPr>
        </p:nvSpPr>
        <p:spPr/>
        <p:txBody>
          <a:bodyPr/>
          <a:lstStyle>
            <a:lvl1pPr>
              <a:defRPr/>
            </a:lvl1pPr>
          </a:lstStyle>
          <a:p>
            <a:pPr>
              <a:defRPr/>
            </a:pPr>
            <a:endParaRPr lang="en-US">
              <a:solidFill>
                <a:srgbClr val="775F55"/>
              </a:solidFill>
            </a:endParaRPr>
          </a:p>
        </p:txBody>
      </p:sp>
      <p:sp>
        <p:nvSpPr>
          <p:cNvPr id="6" name="Footer Placeholder 2"/>
          <p:cNvSpPr>
            <a:spLocks noGrp="1"/>
          </p:cNvSpPr>
          <p:nvPr>
            <p:ph type="ftr" sz="quarter" idx="11"/>
          </p:nvPr>
        </p:nvSpPr>
        <p:spPr/>
        <p:txBody>
          <a:bodyPr/>
          <a:lstStyle>
            <a:lvl1pPr>
              <a:defRPr/>
            </a:lvl1pPr>
          </a:lstStyle>
          <a:p>
            <a:pPr>
              <a:defRPr/>
            </a:pPr>
            <a:endParaRPr lang="en-US">
              <a:solidFill>
                <a:srgbClr val="775F55"/>
              </a:solidFill>
            </a:endParaRPr>
          </a:p>
        </p:txBody>
      </p:sp>
      <p:sp>
        <p:nvSpPr>
          <p:cNvPr id="7" name="Slide Number Placeholder 22"/>
          <p:cNvSpPr>
            <a:spLocks noGrp="1"/>
          </p:cNvSpPr>
          <p:nvPr>
            <p:ph type="sldNum" sz="quarter" idx="12"/>
          </p:nvPr>
        </p:nvSpPr>
        <p:spPr/>
        <p:txBody>
          <a:bodyPr/>
          <a:lstStyle>
            <a:lvl1pPr>
              <a:defRPr/>
            </a:lvl1pPr>
          </a:lstStyle>
          <a:p>
            <a:pPr>
              <a:defRPr/>
            </a:pPr>
            <a:fld id="{F2D48FF0-548D-4E86-801F-837EF1D773D4}" type="slidenum">
              <a:rPr lang="en-US"/>
              <a:pPr>
                <a:defRPr/>
              </a:pPr>
              <a:t>‹#›</a:t>
            </a:fld>
            <a:endParaRPr lang="en-US"/>
          </a:p>
        </p:txBody>
      </p:sp>
    </p:spTree>
    <p:extLst>
      <p:ext uri="{BB962C8B-B14F-4D97-AF65-F5344CB8AC3E}">
        <p14:creationId xmlns:p14="http://schemas.microsoft.com/office/powerpoint/2010/main" val="141890222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649465"/>
            <a:ext cx="4086000" cy="2160000"/>
          </a:xfrm>
          <a:prstGeom prst="rect">
            <a:avLst/>
          </a:prstGeom>
        </p:spPr>
        <p:txBody>
          <a:bodyPr/>
          <a:lstStyle>
            <a:lvl1pPr marL="0" indent="0" algn="l">
              <a:spcBef>
                <a:spcPts val="0"/>
              </a:spcBef>
              <a:buNone/>
              <a:defRPr sz="1800"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10" name="Title 8"/>
          <p:cNvSpPr>
            <a:spLocks noGrp="1"/>
          </p:cNvSpPr>
          <p:nvPr>
            <p:ph type="title"/>
          </p:nvPr>
        </p:nvSpPr>
        <p:spPr>
          <a:xfrm>
            <a:off x="237064" y="192000"/>
            <a:ext cx="8765651" cy="672000"/>
          </a:xfrm>
          <a:prstGeom prst="rect">
            <a:avLst/>
          </a:prstGeom>
        </p:spPr>
        <p:txBody>
          <a:bodyPr/>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US" noProof="0"/>
              <a:t>Click to edit Master title style</a:t>
            </a:r>
            <a:endParaRPr lang="en-GB" noProof="0" dirty="0"/>
          </a:p>
        </p:txBody>
      </p:sp>
      <p:sp>
        <p:nvSpPr>
          <p:cNvPr id="6" name="Content Placeholder 2"/>
          <p:cNvSpPr>
            <a:spLocks noGrp="1"/>
          </p:cNvSpPr>
          <p:nvPr>
            <p:ph idx="15"/>
          </p:nvPr>
        </p:nvSpPr>
        <p:spPr>
          <a:xfrm>
            <a:off x="4680000" y="1645920"/>
            <a:ext cx="4086000" cy="2157984"/>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5" name="Slide Number Placeholder 5">
            <a:extLst>
              <a:ext uri="{FF2B5EF4-FFF2-40B4-BE49-F238E27FC236}">
                <a16:creationId xmlns:a16="http://schemas.microsoft.com/office/drawing/2014/main" id="{FFE7B6F5-A400-47E4-9694-F5A8D7F54E60}"/>
              </a:ext>
            </a:extLst>
          </p:cNvPr>
          <p:cNvSpPr>
            <a:spLocks noGrp="1"/>
          </p:cNvSpPr>
          <p:nvPr>
            <p:ph type="sldNum" sz="quarter" idx="16"/>
          </p:nvPr>
        </p:nvSpPr>
        <p:spPr>
          <a:xfrm>
            <a:off x="317898" y="6462715"/>
            <a:ext cx="396478" cy="215900"/>
          </a:xfrm>
          <a:prstGeom prst="rect">
            <a:avLst/>
          </a:prstGeom>
        </p:spPr>
        <p:txBody>
          <a:bodyPr lIns="0" tIns="0" rIns="0" bIns="0" anchor="t" anchorCtr="0"/>
          <a:lstStyle>
            <a:lvl1pPr algn="l">
              <a:defRPr sz="800" b="1">
                <a:solidFill>
                  <a:schemeClr val="tx1"/>
                </a:solidFill>
                <a:latin typeface="Arial" pitchFamily="34" charset="0"/>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800" b="1" i="0" u="none" strike="noStrike" kern="1200" cap="none" spc="0" normalizeH="0" baseline="0" noProof="0" smtClean="0">
                <a:ln>
                  <a:noFill/>
                </a:ln>
                <a:solidFill>
                  <a:srgbClr val="5C5C5C"/>
                </a:solidFill>
                <a:effectLst/>
                <a:uLnTx/>
                <a:uFillTx/>
                <a:latin typeface="Arial" pitchFamily="34" charset="0"/>
                <a:ea typeface="+mn-ea"/>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rgbClr val="5C5C5C"/>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428525077"/>
      </p:ext>
    </p:extLst>
  </p:cSld>
  <p:clrMapOvr>
    <a:masterClrMapping/>
  </p:clrMapOv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cSld name="Nav Contents 1">
    <p:spTree>
      <p:nvGrpSpPr>
        <p:cNvPr id="1" name=""/>
        <p:cNvGrpSpPr/>
        <p:nvPr/>
      </p:nvGrpSpPr>
      <p:grpSpPr>
        <a:xfrm>
          <a:off x="0" y="0"/>
          <a:ext cx="0" cy="0"/>
          <a:chOff x="0" y="0"/>
          <a:chExt cx="0" cy="0"/>
        </a:xfrm>
      </p:grpSpPr>
      <p:sp>
        <p:nvSpPr>
          <p:cNvPr id="32" name="Title 8"/>
          <p:cNvSpPr>
            <a:spLocks noGrp="1"/>
          </p:cNvSpPr>
          <p:nvPr>
            <p:ph type="title"/>
          </p:nvPr>
        </p:nvSpPr>
        <p:spPr>
          <a:xfrm>
            <a:off x="237061" y="192000"/>
            <a:ext cx="8280000" cy="672000"/>
          </a:xfrm>
          <a:prstGeom prst="rect">
            <a:avLst/>
          </a:prstGeom>
        </p:spPr>
        <p:txBody>
          <a:bodyPr/>
          <a:lstStyle>
            <a:lvl1pPr algn="l">
              <a:lnSpc>
                <a:spcPct val="100000"/>
              </a:lnSpc>
              <a:defRPr sz="2400" b="1" baseline="0">
                <a:solidFill>
                  <a:schemeClr val="tx2"/>
                </a:solidFill>
                <a:latin typeface="Arial" pitchFamily="34" charset="0"/>
                <a:cs typeface="Arial" pitchFamily="34" charset="0"/>
              </a:defRPr>
            </a:lvl1pPr>
          </a:lstStyle>
          <a:p>
            <a:r>
              <a:rPr lang="en-US" noProof="0"/>
              <a:t>Click to edit Master title style</a:t>
            </a:r>
            <a:endParaRPr lang="en-GB" noProof="0" dirty="0"/>
          </a:p>
        </p:txBody>
      </p:sp>
      <p:sp>
        <p:nvSpPr>
          <p:cNvPr id="61" name="Table Placeholder 29"/>
          <p:cNvSpPr>
            <a:spLocks noGrp="1"/>
          </p:cNvSpPr>
          <p:nvPr>
            <p:ph type="tbl" sz="quarter" idx="15"/>
          </p:nvPr>
        </p:nvSpPr>
        <p:spPr>
          <a:xfrm>
            <a:off x="986400" y="1731133"/>
            <a:ext cx="5976000" cy="540000"/>
          </a:xfrm>
          <a:prstGeom prst="rect">
            <a:avLst/>
          </a:prstGeom>
          <a:solidFill>
            <a:srgbClr val="D8DCDE"/>
          </a:solidFill>
        </p:spPr>
        <p:txBody>
          <a:bodyPr/>
          <a:lstStyle>
            <a:lvl1pPr marL="0" indent="0">
              <a:buNone/>
              <a:defRPr sz="100">
                <a:latin typeface="Arial" pitchFamily="34" charset="0"/>
                <a:cs typeface="Arial" pitchFamily="34" charset="0"/>
              </a:defRPr>
            </a:lvl1pPr>
          </a:lstStyle>
          <a:p>
            <a:pPr lvl="0"/>
            <a:endParaRPr lang="en-GB" noProof="0" dirty="0"/>
          </a:p>
        </p:txBody>
      </p:sp>
      <p:sp>
        <p:nvSpPr>
          <p:cNvPr id="62" name="Text Placeholder 2"/>
          <p:cNvSpPr>
            <a:spLocks noGrp="1"/>
          </p:cNvSpPr>
          <p:nvPr>
            <p:ph type="body" sz="quarter" idx="14"/>
          </p:nvPr>
        </p:nvSpPr>
        <p:spPr>
          <a:xfrm>
            <a:off x="1046700" y="1879890"/>
            <a:ext cx="5718173" cy="394199"/>
          </a:xfrm>
          <a:prstGeom prst="rect">
            <a:avLst/>
          </a:prstGeom>
        </p:spPr>
        <p:txBody>
          <a:bodyPr/>
          <a:lstStyle>
            <a:lvl1pPr marL="0" indent="0">
              <a:lnSpc>
                <a:spcPct val="60000"/>
              </a:lnSpc>
              <a:buNone/>
              <a:defRPr sz="1600" b="1">
                <a:solidFill>
                  <a:schemeClr val="tx2"/>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63" name="Text Placeholder 49"/>
          <p:cNvSpPr>
            <a:spLocks noGrp="1"/>
          </p:cNvSpPr>
          <p:nvPr>
            <p:ph type="body" sz="quarter" idx="26"/>
          </p:nvPr>
        </p:nvSpPr>
        <p:spPr>
          <a:xfrm>
            <a:off x="330200" y="1731600"/>
            <a:ext cx="540000" cy="540000"/>
          </a:xfrm>
          <a:prstGeom prst="rect">
            <a:avLst/>
          </a:prstGeom>
          <a:solidFill>
            <a:srgbClr val="D8DCDE"/>
          </a:solidFill>
          <a:ln w="19050" cmpd="sng">
            <a:noFill/>
          </a:ln>
        </p:spPr>
        <p:txBody>
          <a:bodyPr anchor="ctr"/>
          <a:lstStyle>
            <a:lvl1pPr marL="0" indent="0" algn="ctr">
              <a:lnSpc>
                <a:spcPct val="90000"/>
              </a:lnSpc>
              <a:spcBef>
                <a:spcPts val="600"/>
              </a:spcBef>
              <a:buNone/>
              <a:defRPr sz="1800" b="1">
                <a:solidFill>
                  <a:schemeClr val="tx2"/>
                </a:solidFill>
                <a:latin typeface="Arial" pitchFamily="34" charset="0"/>
                <a:cs typeface="Arial" pitchFamily="34" charset="0"/>
              </a:defRPr>
            </a:lvl1pPr>
          </a:lstStyle>
          <a:p>
            <a:pPr lvl="0"/>
            <a:r>
              <a:rPr lang="en-US" noProof="0"/>
              <a:t>Edit Master text styles</a:t>
            </a:r>
          </a:p>
        </p:txBody>
      </p:sp>
      <p:sp>
        <p:nvSpPr>
          <p:cNvPr id="64" name="Table Placeholder 29"/>
          <p:cNvSpPr>
            <a:spLocks noGrp="1"/>
          </p:cNvSpPr>
          <p:nvPr>
            <p:ph type="tbl" sz="quarter" idx="27"/>
          </p:nvPr>
        </p:nvSpPr>
        <p:spPr>
          <a:xfrm>
            <a:off x="987429" y="2403489"/>
            <a:ext cx="5976000" cy="540000"/>
          </a:xfrm>
          <a:prstGeom prst="rect">
            <a:avLst/>
          </a:prstGeom>
          <a:solidFill>
            <a:srgbClr val="D8DCDE"/>
          </a:solidFill>
        </p:spPr>
        <p:txBody>
          <a:bodyPr/>
          <a:lstStyle>
            <a:lvl1pPr marL="0" indent="0">
              <a:buNone/>
              <a:defRPr sz="100">
                <a:latin typeface="Arial" pitchFamily="34" charset="0"/>
                <a:cs typeface="Arial" pitchFamily="34" charset="0"/>
              </a:defRPr>
            </a:lvl1pPr>
          </a:lstStyle>
          <a:p>
            <a:pPr lvl="0"/>
            <a:endParaRPr lang="en-GB" noProof="0" dirty="0"/>
          </a:p>
        </p:txBody>
      </p:sp>
      <p:sp>
        <p:nvSpPr>
          <p:cNvPr id="65" name="Text Placeholder 2"/>
          <p:cNvSpPr>
            <a:spLocks noGrp="1"/>
          </p:cNvSpPr>
          <p:nvPr>
            <p:ph type="body" sz="quarter" idx="28"/>
          </p:nvPr>
        </p:nvSpPr>
        <p:spPr>
          <a:xfrm>
            <a:off x="1046700" y="2552246"/>
            <a:ext cx="5718173" cy="394199"/>
          </a:xfrm>
          <a:prstGeom prst="rect">
            <a:avLst/>
          </a:prstGeom>
        </p:spPr>
        <p:txBody>
          <a:bodyPr/>
          <a:lstStyle>
            <a:lvl1pPr marL="0" indent="0">
              <a:lnSpc>
                <a:spcPct val="60000"/>
              </a:lnSpc>
              <a:buNone/>
              <a:defRPr sz="1600" b="1" baseline="0">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66" name="Text Placeholder 49"/>
          <p:cNvSpPr>
            <a:spLocks noGrp="1"/>
          </p:cNvSpPr>
          <p:nvPr>
            <p:ph type="body" sz="quarter" idx="29"/>
          </p:nvPr>
        </p:nvSpPr>
        <p:spPr>
          <a:xfrm>
            <a:off x="330200" y="2403956"/>
            <a:ext cx="540000" cy="540000"/>
          </a:xfrm>
          <a:prstGeom prst="rect">
            <a:avLst/>
          </a:prstGeom>
          <a:solidFill>
            <a:srgbClr val="830051"/>
          </a:solidFill>
          <a:ln w="19050" cmpd="sng">
            <a:noFill/>
          </a:ln>
        </p:spPr>
        <p:txBody>
          <a:bodyPr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US" noProof="0"/>
              <a:t>Edit Master text styles</a:t>
            </a:r>
          </a:p>
        </p:txBody>
      </p:sp>
      <p:sp>
        <p:nvSpPr>
          <p:cNvPr id="67" name="Table Placeholder 29"/>
          <p:cNvSpPr>
            <a:spLocks noGrp="1"/>
          </p:cNvSpPr>
          <p:nvPr>
            <p:ph type="tbl" sz="quarter" idx="30"/>
          </p:nvPr>
        </p:nvSpPr>
        <p:spPr>
          <a:xfrm>
            <a:off x="987429" y="3082231"/>
            <a:ext cx="5976000" cy="540000"/>
          </a:xfrm>
          <a:prstGeom prst="rect">
            <a:avLst/>
          </a:prstGeom>
          <a:solidFill>
            <a:srgbClr val="D8DCDE"/>
          </a:solidFill>
        </p:spPr>
        <p:txBody>
          <a:bodyPr/>
          <a:lstStyle>
            <a:lvl1pPr marL="0" indent="0">
              <a:buNone/>
              <a:defRPr sz="100">
                <a:latin typeface="Arial" pitchFamily="34" charset="0"/>
                <a:cs typeface="Arial" pitchFamily="34" charset="0"/>
              </a:defRPr>
            </a:lvl1pPr>
          </a:lstStyle>
          <a:p>
            <a:pPr lvl="0"/>
            <a:endParaRPr lang="en-GB" noProof="0" dirty="0"/>
          </a:p>
        </p:txBody>
      </p:sp>
      <p:sp>
        <p:nvSpPr>
          <p:cNvPr id="68" name="Text Placeholder 2"/>
          <p:cNvSpPr>
            <a:spLocks noGrp="1"/>
          </p:cNvSpPr>
          <p:nvPr>
            <p:ph type="body" sz="quarter" idx="31"/>
          </p:nvPr>
        </p:nvSpPr>
        <p:spPr>
          <a:xfrm>
            <a:off x="1046700" y="3230987"/>
            <a:ext cx="5718173" cy="394199"/>
          </a:xfrm>
          <a:prstGeom prst="rect">
            <a:avLst/>
          </a:prstGeom>
        </p:spPr>
        <p:txBody>
          <a:bodyPr/>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a:p>
        </p:txBody>
      </p:sp>
      <p:sp>
        <p:nvSpPr>
          <p:cNvPr id="69" name="Text Placeholder 49"/>
          <p:cNvSpPr>
            <a:spLocks noGrp="1"/>
          </p:cNvSpPr>
          <p:nvPr>
            <p:ph type="body" sz="quarter" idx="32"/>
          </p:nvPr>
        </p:nvSpPr>
        <p:spPr>
          <a:xfrm>
            <a:off x="330200" y="3082699"/>
            <a:ext cx="540000" cy="540000"/>
          </a:xfrm>
          <a:prstGeom prst="rect">
            <a:avLst/>
          </a:prstGeom>
          <a:solidFill>
            <a:srgbClr val="830051"/>
          </a:solidFill>
          <a:ln w="19050" cmpd="sng">
            <a:noFill/>
          </a:ln>
        </p:spPr>
        <p:txBody>
          <a:bodyPr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US" noProof="0"/>
              <a:t>Edit Master text styles</a:t>
            </a:r>
          </a:p>
        </p:txBody>
      </p:sp>
      <p:sp>
        <p:nvSpPr>
          <p:cNvPr id="70" name="Table Placeholder 29"/>
          <p:cNvSpPr>
            <a:spLocks noGrp="1"/>
          </p:cNvSpPr>
          <p:nvPr>
            <p:ph type="tbl" sz="quarter" idx="33"/>
          </p:nvPr>
        </p:nvSpPr>
        <p:spPr>
          <a:xfrm>
            <a:off x="987429" y="3763175"/>
            <a:ext cx="5976000" cy="540000"/>
          </a:xfrm>
          <a:prstGeom prst="rect">
            <a:avLst/>
          </a:prstGeom>
          <a:solidFill>
            <a:srgbClr val="D8DCDE"/>
          </a:solidFill>
        </p:spPr>
        <p:txBody>
          <a:bodyPr/>
          <a:lstStyle>
            <a:lvl1pPr marL="0" indent="0">
              <a:buNone/>
              <a:defRPr sz="100">
                <a:latin typeface="Arial" pitchFamily="34" charset="0"/>
                <a:cs typeface="Arial" pitchFamily="34" charset="0"/>
              </a:defRPr>
            </a:lvl1pPr>
          </a:lstStyle>
          <a:p>
            <a:pPr lvl="0"/>
            <a:endParaRPr lang="en-GB" noProof="0" dirty="0"/>
          </a:p>
        </p:txBody>
      </p:sp>
      <p:sp>
        <p:nvSpPr>
          <p:cNvPr id="71" name="Text Placeholder 2"/>
          <p:cNvSpPr>
            <a:spLocks noGrp="1"/>
          </p:cNvSpPr>
          <p:nvPr>
            <p:ph type="body" sz="quarter" idx="34"/>
          </p:nvPr>
        </p:nvSpPr>
        <p:spPr>
          <a:xfrm>
            <a:off x="1046700" y="3911931"/>
            <a:ext cx="5718173" cy="394199"/>
          </a:xfrm>
          <a:prstGeom prst="rect">
            <a:avLst/>
          </a:prstGeom>
        </p:spPr>
        <p:txBody>
          <a:bodyPr/>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a:p>
        </p:txBody>
      </p:sp>
      <p:sp>
        <p:nvSpPr>
          <p:cNvPr id="72" name="Text Placeholder 49"/>
          <p:cNvSpPr>
            <a:spLocks noGrp="1"/>
          </p:cNvSpPr>
          <p:nvPr>
            <p:ph type="body" sz="quarter" idx="35"/>
          </p:nvPr>
        </p:nvSpPr>
        <p:spPr>
          <a:xfrm>
            <a:off x="330200" y="3763643"/>
            <a:ext cx="540000" cy="540000"/>
          </a:xfrm>
          <a:prstGeom prst="rect">
            <a:avLst/>
          </a:prstGeom>
          <a:solidFill>
            <a:srgbClr val="830051"/>
          </a:solidFill>
          <a:ln w="19050" cmpd="sng">
            <a:noFill/>
          </a:ln>
        </p:spPr>
        <p:txBody>
          <a:bodyPr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US" noProof="0"/>
              <a:t>Edit Master text styles</a:t>
            </a:r>
          </a:p>
        </p:txBody>
      </p:sp>
      <p:sp>
        <p:nvSpPr>
          <p:cNvPr id="73" name="Table Placeholder 29"/>
          <p:cNvSpPr>
            <a:spLocks noGrp="1"/>
          </p:cNvSpPr>
          <p:nvPr>
            <p:ph type="tbl" sz="quarter" idx="36"/>
          </p:nvPr>
        </p:nvSpPr>
        <p:spPr>
          <a:xfrm>
            <a:off x="987429" y="4440879"/>
            <a:ext cx="5976000" cy="540000"/>
          </a:xfrm>
          <a:prstGeom prst="rect">
            <a:avLst/>
          </a:prstGeom>
          <a:solidFill>
            <a:srgbClr val="D8DCDE"/>
          </a:solidFill>
        </p:spPr>
        <p:txBody>
          <a:bodyPr/>
          <a:lstStyle>
            <a:lvl1pPr marL="0" indent="0">
              <a:buNone/>
              <a:defRPr sz="100">
                <a:latin typeface="Arial" pitchFamily="34" charset="0"/>
                <a:cs typeface="Arial" pitchFamily="34" charset="0"/>
              </a:defRPr>
            </a:lvl1pPr>
          </a:lstStyle>
          <a:p>
            <a:pPr lvl="0"/>
            <a:endParaRPr lang="en-GB" noProof="0" dirty="0"/>
          </a:p>
        </p:txBody>
      </p:sp>
      <p:sp>
        <p:nvSpPr>
          <p:cNvPr id="74" name="Text Placeholder 2"/>
          <p:cNvSpPr>
            <a:spLocks noGrp="1"/>
          </p:cNvSpPr>
          <p:nvPr>
            <p:ph type="body" sz="quarter" idx="37"/>
          </p:nvPr>
        </p:nvSpPr>
        <p:spPr>
          <a:xfrm>
            <a:off x="1046700" y="4589634"/>
            <a:ext cx="5718173" cy="394199"/>
          </a:xfrm>
          <a:prstGeom prst="rect">
            <a:avLst/>
          </a:prstGeom>
        </p:spPr>
        <p:txBody>
          <a:bodyPr/>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a:p>
        </p:txBody>
      </p:sp>
      <p:sp>
        <p:nvSpPr>
          <p:cNvPr id="75" name="Text Placeholder 49"/>
          <p:cNvSpPr>
            <a:spLocks noGrp="1"/>
          </p:cNvSpPr>
          <p:nvPr>
            <p:ph type="body" sz="quarter" idx="38"/>
          </p:nvPr>
        </p:nvSpPr>
        <p:spPr>
          <a:xfrm>
            <a:off x="330200" y="4441345"/>
            <a:ext cx="540000" cy="540000"/>
          </a:xfrm>
          <a:prstGeom prst="rect">
            <a:avLst/>
          </a:prstGeom>
          <a:solidFill>
            <a:srgbClr val="830051"/>
          </a:solidFill>
          <a:ln w="19050" cmpd="sng">
            <a:noFill/>
          </a:ln>
        </p:spPr>
        <p:txBody>
          <a:bodyPr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US" noProof="0"/>
              <a:t>Edit Master text styles</a:t>
            </a:r>
          </a:p>
        </p:txBody>
      </p:sp>
      <p:sp>
        <p:nvSpPr>
          <p:cNvPr id="76" name="Table Placeholder 29"/>
          <p:cNvSpPr>
            <a:spLocks noGrp="1"/>
          </p:cNvSpPr>
          <p:nvPr>
            <p:ph type="tbl" sz="quarter" idx="39"/>
          </p:nvPr>
        </p:nvSpPr>
        <p:spPr>
          <a:xfrm>
            <a:off x="987429" y="5129167"/>
            <a:ext cx="5976000" cy="540000"/>
          </a:xfrm>
          <a:prstGeom prst="rect">
            <a:avLst/>
          </a:prstGeom>
          <a:solidFill>
            <a:srgbClr val="D8DCDE"/>
          </a:solidFill>
        </p:spPr>
        <p:txBody>
          <a:bodyPr/>
          <a:lstStyle>
            <a:lvl1pPr marL="0" indent="0">
              <a:buNone/>
              <a:defRPr sz="100">
                <a:latin typeface="Arial" pitchFamily="34" charset="0"/>
                <a:cs typeface="Arial" pitchFamily="34" charset="0"/>
              </a:defRPr>
            </a:lvl1pPr>
          </a:lstStyle>
          <a:p>
            <a:pPr lvl="0"/>
            <a:endParaRPr lang="en-GB" noProof="0" dirty="0"/>
          </a:p>
        </p:txBody>
      </p:sp>
      <p:sp>
        <p:nvSpPr>
          <p:cNvPr id="77" name="Text Placeholder 2"/>
          <p:cNvSpPr>
            <a:spLocks noGrp="1"/>
          </p:cNvSpPr>
          <p:nvPr>
            <p:ph type="body" sz="quarter" idx="40"/>
          </p:nvPr>
        </p:nvSpPr>
        <p:spPr>
          <a:xfrm>
            <a:off x="1046700" y="5277923"/>
            <a:ext cx="5718173" cy="394199"/>
          </a:xfrm>
          <a:prstGeom prst="rect">
            <a:avLst/>
          </a:prstGeom>
        </p:spPr>
        <p:txBody>
          <a:bodyPr/>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78" name="Text Placeholder 49"/>
          <p:cNvSpPr>
            <a:spLocks noGrp="1"/>
          </p:cNvSpPr>
          <p:nvPr>
            <p:ph type="body" sz="quarter" idx="41"/>
          </p:nvPr>
        </p:nvSpPr>
        <p:spPr>
          <a:xfrm>
            <a:off x="330200" y="5129635"/>
            <a:ext cx="540000" cy="540000"/>
          </a:xfrm>
          <a:prstGeom prst="rect">
            <a:avLst/>
          </a:prstGeom>
          <a:solidFill>
            <a:srgbClr val="830051"/>
          </a:solidFill>
          <a:ln w="19050" cmpd="sng">
            <a:noFill/>
          </a:ln>
        </p:spPr>
        <p:txBody>
          <a:bodyPr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US" noProof="0"/>
              <a:t>Edit Master text styles</a:t>
            </a:r>
          </a:p>
        </p:txBody>
      </p:sp>
      <p:sp>
        <p:nvSpPr>
          <p:cNvPr id="21" name="Slide Number Placeholder 5">
            <a:extLst>
              <a:ext uri="{FF2B5EF4-FFF2-40B4-BE49-F238E27FC236}">
                <a16:creationId xmlns:a16="http://schemas.microsoft.com/office/drawing/2014/main" id="{8711A176-3FB2-4AAF-B7F7-F54065138051}"/>
              </a:ext>
            </a:extLst>
          </p:cNvPr>
          <p:cNvSpPr>
            <a:spLocks noGrp="1"/>
          </p:cNvSpPr>
          <p:nvPr>
            <p:ph type="sldNum" sz="quarter" idx="42"/>
          </p:nvPr>
        </p:nvSpPr>
        <p:spPr>
          <a:xfrm>
            <a:off x="317898" y="6462715"/>
            <a:ext cx="396478" cy="215900"/>
          </a:xfrm>
          <a:prstGeom prst="rect">
            <a:avLst/>
          </a:prstGeom>
        </p:spPr>
        <p:txBody>
          <a:bodyPr lIns="0" tIns="0" rIns="0" bIns="0" anchor="t" anchorCtr="0"/>
          <a:lstStyle>
            <a:lvl1pPr algn="l">
              <a:defRPr sz="800" b="1">
                <a:solidFill>
                  <a:schemeClr val="tx1"/>
                </a:solidFill>
                <a:latin typeface="Arial" pitchFamily="34" charset="0"/>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800" b="1" i="0" u="none" strike="noStrike" kern="1200" cap="none" spc="0" normalizeH="0" baseline="0" noProof="0" smtClean="0">
                <a:ln>
                  <a:noFill/>
                </a:ln>
                <a:solidFill>
                  <a:srgbClr val="5C5C5C"/>
                </a:solidFill>
                <a:effectLst/>
                <a:uLnTx/>
                <a:uFillTx/>
                <a:latin typeface="Arial" pitchFamily="34" charset="0"/>
                <a:ea typeface="+mn-ea"/>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rgbClr val="5C5C5C"/>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701151217"/>
      </p:ext>
    </p:extLst>
  </p:cSld>
  <p:clrMapOvr>
    <a:masterClrMapping/>
  </p:clrMapOv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9" name="Title 8"/>
          <p:cNvSpPr>
            <a:spLocks noGrp="1"/>
          </p:cNvSpPr>
          <p:nvPr>
            <p:ph type="ctrTitle"/>
          </p:nvPr>
        </p:nvSpPr>
        <p:spPr>
          <a:xfrm>
            <a:off x="685800" y="1752606"/>
            <a:ext cx="7772400" cy="1829761"/>
          </a:xfrm>
        </p:spPr>
        <p:txBody>
          <a:bodyPr vert="horz" anchor="b">
            <a:normAutofit/>
            <a:scene3d>
              <a:camera prst="orthographicFront"/>
              <a:lightRig rig="soft" dir="t"/>
            </a:scene3d>
            <a:sp3d prstMaterial="softEdge">
              <a:bevelT w="25400" h="25400"/>
            </a:sp3d>
          </a:bodyPr>
          <a:lstStyle>
            <a:lvl1pPr algn="r">
              <a:defRPr sz="4800" b="1">
                <a:solidFill>
                  <a:schemeClr val="tx2"/>
                </a:solidFill>
                <a:effectLst>
                  <a:outerShdw blurRad="31750" dist="25400" dir="5400000" algn="tl" rotWithShape="0">
                    <a:srgbClr val="000000">
                      <a:alpha val="25000"/>
                    </a:srgbClr>
                  </a:outerShdw>
                </a:effectLst>
              </a:defRPr>
            </a:lvl1pPr>
            <a:extLst/>
          </a:lstStyle>
          <a:p>
            <a:r>
              <a:rPr kumimoji="0" lang="en-US" smtClean="0"/>
              <a:t>Click to edit Master title style</a:t>
            </a:r>
            <a:endParaRPr kumimoji="0" lang="en-US"/>
          </a:p>
        </p:txBody>
      </p:sp>
      <p:sp>
        <p:nvSpPr>
          <p:cNvPr id="17" name="Subtitle 16"/>
          <p:cNvSpPr>
            <a:spLocks noGrp="1"/>
          </p:cNvSpPr>
          <p:nvPr>
            <p:ph type="subTitle" idx="1"/>
          </p:nvPr>
        </p:nvSpPr>
        <p:spPr>
          <a:xfrm>
            <a:off x="685800" y="3611607"/>
            <a:ext cx="7772400" cy="1199704"/>
          </a:xfrm>
        </p:spPr>
        <p:txBody>
          <a:bodyPr lIns="45720" rIns="45720"/>
          <a:lstStyle>
            <a:lvl1pPr marL="0" marR="64008" indent="0" algn="r">
              <a:buNone/>
              <a:defRPr>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smtClean="0"/>
              <a:t>Click to edit Master subtitle style</a:t>
            </a:r>
            <a:endParaRPr kumimoji="0" lang="en-US"/>
          </a:p>
        </p:txBody>
      </p:sp>
      <p:sp>
        <p:nvSpPr>
          <p:cNvPr id="30" name="Date Placeholder 29"/>
          <p:cNvSpPr>
            <a:spLocks noGrp="1"/>
          </p:cNvSpPr>
          <p:nvPr>
            <p:ph type="dt" sz="half" idx="10"/>
          </p:nvPr>
        </p:nvSpPr>
        <p:spPr>
          <a:xfrm>
            <a:off x="6727032" y="6407944"/>
            <a:ext cx="1920240" cy="365760"/>
          </a:xfrm>
          <a:prstGeom prst="rect">
            <a:avLst/>
          </a:prstGeom>
        </p:spPr>
        <p:txBody>
          <a:bodyPr/>
          <a:lstStyle>
            <a:lvl1pPr>
              <a:defRPr>
                <a:solidFill>
                  <a:srgbClr val="FFFFFF"/>
                </a:solidFill>
              </a:defRPr>
            </a:lvl1pPr>
            <a:extLst/>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Footer Placeholder 18"/>
          <p:cNvSpPr>
            <a:spLocks noGrp="1"/>
          </p:cNvSpPr>
          <p:nvPr>
            <p:ph type="ftr" sz="quarter" idx="11"/>
          </p:nvPr>
        </p:nvSpPr>
        <p:spPr>
          <a:xfrm>
            <a:off x="4380080" y="6407944"/>
            <a:ext cx="2350681" cy="365125"/>
          </a:xfrm>
          <a:prstGeom prst="rect">
            <a:avLst/>
          </a:prstGeom>
        </p:spPr>
        <p:txBody>
          <a:bodyPr/>
          <a:lstStyle>
            <a:lvl1pPr>
              <a:defRPr>
                <a:solidFill>
                  <a:schemeClr val="accent1">
                    <a:tint val="20000"/>
                  </a:schemeClr>
                </a:solidFill>
              </a:defRPr>
            </a:lvl1pPr>
            <a:extLs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1F13">
                  <a:tint val="20000"/>
                </a:srgbClr>
              </a:solidFill>
              <a:effectLst/>
              <a:uLnTx/>
              <a:uFillTx/>
              <a:latin typeface="Arial"/>
              <a:ea typeface="+mn-ea"/>
              <a:cs typeface="+mn-cs"/>
            </a:endParaRPr>
          </a:p>
        </p:txBody>
      </p:sp>
      <p:sp>
        <p:nvSpPr>
          <p:cNvPr id="27" name="Slide Number Placeholder 26"/>
          <p:cNvSpPr>
            <a:spLocks noGrp="1"/>
          </p:cNvSpPr>
          <p:nvPr>
            <p:ph type="sldNum" sz="quarter" idx="12"/>
          </p:nvPr>
        </p:nvSpPr>
        <p:spPr>
          <a:xfrm>
            <a:off x="8647272" y="6407944"/>
            <a:ext cx="365760" cy="365125"/>
          </a:xfrm>
          <a:prstGeom prst="rect">
            <a:avLst/>
          </a:prstGeom>
        </p:spPr>
        <p:txBody>
          <a:bodyPr/>
          <a:lstStyle>
            <a:lvl1pPr>
              <a:defRPr>
                <a:solidFill>
                  <a:srgbClr val="FFFFFF"/>
                </a:solidFill>
              </a:defRPr>
            </a:lvl1pPr>
            <a:extLst/>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101204618"/>
      </p:ext>
    </p:extLst>
  </p:cSld>
  <p:clrMapOvr>
    <a:masterClrMapping/>
  </p:clrMapOv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tint val="75000"/>
                </a:srgbClr>
              </a:solidFill>
              <a:effectLst/>
              <a:uLnTx/>
              <a:uFillTx/>
              <a:latin typeface="Arial"/>
              <a:ea typeface="+mn-ea"/>
              <a:cs typeface="+mn-cs"/>
            </a:endParaRPr>
          </a:p>
        </p:txBody>
      </p:sp>
      <p:sp>
        <p:nvSpPr>
          <p:cNvPr id="3" name="Holder 3"/>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srgbClr val="5C5C5C">
                    <a:tint val="75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800" b="0" i="0" u="none" strike="noStrike" kern="1200" cap="none" spc="0" normalizeH="0" baseline="0" noProof="0" dirty="0">
              <a:ln>
                <a:noFill/>
              </a:ln>
              <a:solidFill>
                <a:srgbClr val="5C5C5C">
                  <a:tint val="75000"/>
                </a:srgbClr>
              </a:solidFill>
              <a:effectLst/>
              <a:uLnTx/>
              <a:uFillTx/>
              <a:latin typeface="Arial"/>
              <a:ea typeface="+mn-ea"/>
              <a:cs typeface="+mn-cs"/>
            </a:endParaRPr>
          </a:p>
        </p:txBody>
      </p:sp>
      <p:sp>
        <p:nvSpPr>
          <p:cNvPr id="4" name="Holder 4"/>
          <p:cNvSpPr>
            <a:spLocks noGrp="1"/>
          </p:cNvSpPr>
          <p:nvPr>
            <p:ph type="sldNum" sz="quarter" idx="7"/>
          </p:nvPr>
        </p:nvSpPr>
        <p:spPr>
          <a:xfrm>
            <a:off x="6583680" y="6377940"/>
            <a:ext cx="2103120" cy="342900"/>
          </a:xfrm>
          <a:prstGeom prst="rect">
            <a:avLst/>
          </a:prstGeom>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srgbClr val="5C5C5C">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srgbClr val="5C5C5C">
                  <a:tint val="75000"/>
                </a:srgbClr>
              </a:solidFill>
              <a:effectLst/>
              <a:uLnTx/>
              <a:uFillTx/>
              <a:latin typeface="Arial"/>
              <a:ea typeface="+mn-ea"/>
              <a:cs typeface="+mn-cs"/>
            </a:endParaRPr>
          </a:p>
        </p:txBody>
      </p:sp>
    </p:spTree>
    <p:extLst>
      <p:ext uri="{BB962C8B-B14F-4D97-AF65-F5344CB8AC3E}">
        <p14:creationId xmlns:p14="http://schemas.microsoft.com/office/powerpoint/2010/main" val="3386753162"/>
      </p:ext>
    </p:extLst>
  </p:cSld>
  <p:clrMapOvr>
    <a:masterClrMapping/>
  </p:clrMapOv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obj">
  <p:cSld name="Title Only">
    <p:spTree>
      <p:nvGrpSpPr>
        <p:cNvPr id="1" name=""/>
        <p:cNvGrpSpPr/>
        <p:nvPr/>
      </p:nvGrpSpPr>
      <p:grpSpPr>
        <a:xfrm>
          <a:off x="0" y="0"/>
          <a:ext cx="0" cy="0"/>
          <a:chOff x="0" y="0"/>
          <a:chExt cx="0" cy="0"/>
        </a:xfrm>
      </p:grpSpPr>
      <p:sp>
        <p:nvSpPr>
          <p:cNvPr id="16" name="bk object 16"/>
          <p:cNvSpPr/>
          <p:nvPr/>
        </p:nvSpPr>
        <p:spPr>
          <a:xfrm>
            <a:off x="167639" y="228600"/>
            <a:ext cx="8823960" cy="6096000"/>
          </a:xfrm>
          <a:custGeom>
            <a:avLst/>
            <a:gdLst/>
            <a:ahLst/>
            <a:cxnLst/>
            <a:rect l="l" t="t" r="r" b="b"/>
            <a:pathLst>
              <a:path w="8823960" h="6096000">
                <a:moveTo>
                  <a:pt x="673095" y="0"/>
                </a:moveTo>
                <a:lnTo>
                  <a:pt x="622656" y="2482"/>
                </a:lnTo>
                <a:lnTo>
                  <a:pt x="572469" y="9760"/>
                </a:lnTo>
                <a:lnTo>
                  <a:pt x="522787" y="21581"/>
                </a:lnTo>
                <a:lnTo>
                  <a:pt x="473861" y="37694"/>
                </a:lnTo>
                <a:lnTo>
                  <a:pt x="425946" y="57845"/>
                </a:lnTo>
                <a:lnTo>
                  <a:pt x="379292" y="81783"/>
                </a:lnTo>
                <a:lnTo>
                  <a:pt x="334152" y="109254"/>
                </a:lnTo>
                <a:lnTo>
                  <a:pt x="290780" y="140007"/>
                </a:lnTo>
                <a:lnTo>
                  <a:pt x="249426" y="173788"/>
                </a:lnTo>
                <a:lnTo>
                  <a:pt x="210344" y="210346"/>
                </a:lnTo>
                <a:lnTo>
                  <a:pt x="173786" y="249428"/>
                </a:lnTo>
                <a:lnTo>
                  <a:pt x="140005" y="290781"/>
                </a:lnTo>
                <a:lnTo>
                  <a:pt x="109253" y="334153"/>
                </a:lnTo>
                <a:lnTo>
                  <a:pt x="81782" y="379292"/>
                </a:lnTo>
                <a:lnTo>
                  <a:pt x="57845" y="425946"/>
                </a:lnTo>
                <a:lnTo>
                  <a:pt x="37693" y="473861"/>
                </a:lnTo>
                <a:lnTo>
                  <a:pt x="21581" y="522785"/>
                </a:lnTo>
                <a:lnTo>
                  <a:pt x="9760" y="572466"/>
                </a:lnTo>
                <a:lnTo>
                  <a:pt x="2482" y="622652"/>
                </a:lnTo>
                <a:lnTo>
                  <a:pt x="0" y="673089"/>
                </a:lnTo>
                <a:lnTo>
                  <a:pt x="0" y="5422903"/>
                </a:lnTo>
                <a:lnTo>
                  <a:pt x="2482" y="5473343"/>
                </a:lnTo>
                <a:lnTo>
                  <a:pt x="9760" y="5523530"/>
                </a:lnTo>
                <a:lnTo>
                  <a:pt x="21581" y="5573212"/>
                </a:lnTo>
                <a:lnTo>
                  <a:pt x="37693" y="5622137"/>
                </a:lnTo>
                <a:lnTo>
                  <a:pt x="57845" y="5670053"/>
                </a:lnTo>
                <a:lnTo>
                  <a:pt x="81782" y="5716707"/>
                </a:lnTo>
                <a:lnTo>
                  <a:pt x="109253" y="5761847"/>
                </a:lnTo>
                <a:lnTo>
                  <a:pt x="140005" y="5805219"/>
                </a:lnTo>
                <a:lnTo>
                  <a:pt x="173786" y="5846573"/>
                </a:lnTo>
                <a:lnTo>
                  <a:pt x="210344" y="5885655"/>
                </a:lnTo>
                <a:lnTo>
                  <a:pt x="249426" y="5922212"/>
                </a:lnTo>
                <a:lnTo>
                  <a:pt x="290780" y="5955994"/>
                </a:lnTo>
                <a:lnTo>
                  <a:pt x="334152" y="5986746"/>
                </a:lnTo>
                <a:lnTo>
                  <a:pt x="379292" y="6014217"/>
                </a:lnTo>
                <a:lnTo>
                  <a:pt x="425946" y="6038154"/>
                </a:lnTo>
                <a:lnTo>
                  <a:pt x="473861" y="6058305"/>
                </a:lnTo>
                <a:lnTo>
                  <a:pt x="522787" y="6074418"/>
                </a:lnTo>
                <a:lnTo>
                  <a:pt x="572469" y="6086239"/>
                </a:lnTo>
                <a:lnTo>
                  <a:pt x="622656" y="6093517"/>
                </a:lnTo>
                <a:lnTo>
                  <a:pt x="673095" y="6095999"/>
                </a:lnTo>
                <a:lnTo>
                  <a:pt x="8150869" y="6095999"/>
                </a:lnTo>
                <a:lnTo>
                  <a:pt x="8201307" y="6093517"/>
                </a:lnTo>
                <a:lnTo>
                  <a:pt x="8251493" y="6086239"/>
                </a:lnTo>
                <a:lnTo>
                  <a:pt x="8301174" y="6074418"/>
                </a:lnTo>
                <a:lnTo>
                  <a:pt x="8350098" y="6058305"/>
                </a:lnTo>
                <a:lnTo>
                  <a:pt x="8398013" y="6038154"/>
                </a:lnTo>
                <a:lnTo>
                  <a:pt x="8444666" y="6014217"/>
                </a:lnTo>
                <a:lnTo>
                  <a:pt x="8489806" y="5986746"/>
                </a:lnTo>
                <a:lnTo>
                  <a:pt x="8533178" y="5955994"/>
                </a:lnTo>
                <a:lnTo>
                  <a:pt x="8574531" y="5922212"/>
                </a:lnTo>
                <a:lnTo>
                  <a:pt x="8613613" y="5885655"/>
                </a:lnTo>
                <a:lnTo>
                  <a:pt x="8650171" y="5846573"/>
                </a:lnTo>
                <a:lnTo>
                  <a:pt x="8683952" y="5805219"/>
                </a:lnTo>
                <a:lnTo>
                  <a:pt x="8714705" y="5761847"/>
                </a:lnTo>
                <a:lnTo>
                  <a:pt x="8742176" y="5716707"/>
                </a:lnTo>
                <a:lnTo>
                  <a:pt x="8766114" y="5670053"/>
                </a:lnTo>
                <a:lnTo>
                  <a:pt x="8786265" y="5622137"/>
                </a:lnTo>
                <a:lnTo>
                  <a:pt x="8802377" y="5573212"/>
                </a:lnTo>
                <a:lnTo>
                  <a:pt x="8814199" y="5523530"/>
                </a:lnTo>
                <a:lnTo>
                  <a:pt x="8821477" y="5473343"/>
                </a:lnTo>
                <a:lnTo>
                  <a:pt x="8823959" y="5422903"/>
                </a:lnTo>
                <a:lnTo>
                  <a:pt x="8823959" y="673089"/>
                </a:lnTo>
                <a:lnTo>
                  <a:pt x="8821477" y="622652"/>
                </a:lnTo>
                <a:lnTo>
                  <a:pt x="8814199" y="572466"/>
                </a:lnTo>
                <a:lnTo>
                  <a:pt x="8802377" y="522785"/>
                </a:lnTo>
                <a:lnTo>
                  <a:pt x="8786265" y="473861"/>
                </a:lnTo>
                <a:lnTo>
                  <a:pt x="8766114" y="425946"/>
                </a:lnTo>
                <a:lnTo>
                  <a:pt x="8742176" y="379292"/>
                </a:lnTo>
                <a:lnTo>
                  <a:pt x="8714705" y="334153"/>
                </a:lnTo>
                <a:lnTo>
                  <a:pt x="8683952" y="290781"/>
                </a:lnTo>
                <a:lnTo>
                  <a:pt x="8650171" y="249428"/>
                </a:lnTo>
                <a:lnTo>
                  <a:pt x="8613613" y="210346"/>
                </a:lnTo>
                <a:lnTo>
                  <a:pt x="8574531" y="173788"/>
                </a:lnTo>
                <a:lnTo>
                  <a:pt x="8533178" y="140007"/>
                </a:lnTo>
                <a:lnTo>
                  <a:pt x="8489806" y="109254"/>
                </a:lnTo>
                <a:lnTo>
                  <a:pt x="8444666" y="81783"/>
                </a:lnTo>
                <a:lnTo>
                  <a:pt x="8398013" y="57845"/>
                </a:lnTo>
                <a:lnTo>
                  <a:pt x="8350098" y="37694"/>
                </a:lnTo>
                <a:lnTo>
                  <a:pt x="8301174" y="21581"/>
                </a:lnTo>
                <a:lnTo>
                  <a:pt x="8251493" y="9760"/>
                </a:lnTo>
                <a:lnTo>
                  <a:pt x="8201307" y="2482"/>
                </a:lnTo>
                <a:lnTo>
                  <a:pt x="8150869" y="0"/>
                </a:lnTo>
                <a:lnTo>
                  <a:pt x="673095" y="0"/>
                </a:lnTo>
                <a:close/>
              </a:path>
            </a:pathLst>
          </a:custGeom>
          <a:ln w="28393">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latin typeface="Arial"/>
              <a:ea typeface="+mn-ea"/>
              <a:cs typeface="+mn-cs"/>
            </a:endParaRPr>
          </a:p>
        </p:txBody>
      </p:sp>
      <p:sp>
        <p:nvSpPr>
          <p:cNvPr id="17" name="bk object 17"/>
          <p:cNvSpPr/>
          <p:nvPr/>
        </p:nvSpPr>
        <p:spPr>
          <a:xfrm>
            <a:off x="167639" y="228600"/>
            <a:ext cx="0" cy="0"/>
          </a:xfrm>
          <a:custGeom>
            <a:avLst/>
            <a:gdLst/>
            <a:ahLst/>
            <a:cxnLst/>
            <a:rect l="l" t="t" r="r" b="b"/>
            <a:pathLst>
              <a:path>
                <a:moveTo>
                  <a:pt x="0" y="0"/>
                </a:moveTo>
                <a:lnTo>
                  <a:pt x="0" y="0"/>
                </a:lnTo>
              </a:path>
            </a:pathLst>
          </a:custGeom>
          <a:ln w="28393">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latin typeface="Arial"/>
              <a:ea typeface="+mn-ea"/>
              <a:cs typeface="+mn-cs"/>
            </a:endParaRPr>
          </a:p>
        </p:txBody>
      </p:sp>
      <p:sp>
        <p:nvSpPr>
          <p:cNvPr id="18" name="bk object 18"/>
          <p:cNvSpPr/>
          <p:nvPr/>
        </p:nvSpPr>
        <p:spPr>
          <a:xfrm>
            <a:off x="8991600" y="6324600"/>
            <a:ext cx="0" cy="0"/>
          </a:xfrm>
          <a:custGeom>
            <a:avLst/>
            <a:gdLst/>
            <a:ahLst/>
            <a:cxnLst/>
            <a:rect l="l" t="t" r="r" b="b"/>
            <a:pathLst>
              <a:path>
                <a:moveTo>
                  <a:pt x="0" y="0"/>
                </a:moveTo>
                <a:lnTo>
                  <a:pt x="0" y="0"/>
                </a:lnTo>
              </a:path>
            </a:pathLst>
          </a:custGeom>
          <a:ln w="28393">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latin typeface="Arial"/>
              <a:ea typeface="+mn-ea"/>
              <a:cs typeface="+mn-cs"/>
            </a:endParaRPr>
          </a:p>
        </p:txBody>
      </p:sp>
      <p:sp>
        <p:nvSpPr>
          <p:cNvPr id="19" name="bk object 19"/>
          <p:cNvSpPr/>
          <p:nvPr/>
        </p:nvSpPr>
        <p:spPr>
          <a:xfrm>
            <a:off x="762000" y="1709410"/>
            <a:ext cx="7696200" cy="0"/>
          </a:xfrm>
          <a:custGeom>
            <a:avLst/>
            <a:gdLst/>
            <a:ahLst/>
            <a:cxnLst/>
            <a:rect l="l" t="t" r="r" b="b"/>
            <a:pathLst>
              <a:path w="7696200">
                <a:moveTo>
                  <a:pt x="0" y="0"/>
                </a:moveTo>
                <a:lnTo>
                  <a:pt x="7696199" y="0"/>
                </a:lnTo>
              </a:path>
            </a:pathLst>
          </a:custGeom>
          <a:ln w="38097">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latin typeface="Arial"/>
              <a:ea typeface="+mn-ea"/>
              <a:cs typeface="+mn-cs"/>
            </a:endParaRPr>
          </a:p>
        </p:txBody>
      </p:sp>
      <p:sp>
        <p:nvSpPr>
          <p:cNvPr id="2" name="Holder 2"/>
          <p:cNvSpPr>
            <a:spLocks noGrp="1"/>
          </p:cNvSpPr>
          <p:nvPr>
            <p:ph type="title"/>
          </p:nvPr>
        </p:nvSpPr>
        <p:spPr/>
        <p:txBody>
          <a:bodyPr lIns="0" tIns="0" rIns="0" bIns="0"/>
          <a:lstStyle>
            <a:lvl1pPr>
              <a:defRPr sz="3600" b="1" i="0">
                <a:solidFill>
                  <a:srgbClr val="FD293D"/>
                </a:solidFill>
                <a:latin typeface="Arial Black"/>
                <a:cs typeface="Arial Black"/>
              </a:defRPr>
            </a:lvl1pPr>
          </a:lstStyle>
          <a:p>
            <a:endParaRPr/>
          </a:p>
        </p:txBody>
      </p:sp>
      <p:sp>
        <p:nvSpPr>
          <p:cNvPr id="3" name="Holder 3"/>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tint val="75000"/>
                </a:srgbClr>
              </a:solidFill>
              <a:effectLst/>
              <a:uLnTx/>
              <a:uFillTx/>
              <a:latin typeface="Arial"/>
              <a:ea typeface="+mn-ea"/>
              <a:cs typeface="+mn-cs"/>
            </a:endParaRPr>
          </a:p>
        </p:txBody>
      </p:sp>
      <p:sp>
        <p:nvSpPr>
          <p:cNvPr id="4" name="Holder 4"/>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srgbClr val="5C5C5C">
                    <a:tint val="75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800" b="0" i="0" u="none" strike="noStrike" kern="1200" cap="none" spc="0" normalizeH="0" baseline="0" noProof="0" dirty="0">
              <a:ln>
                <a:noFill/>
              </a:ln>
              <a:solidFill>
                <a:srgbClr val="5C5C5C">
                  <a:tint val="75000"/>
                </a:srgbClr>
              </a:solidFill>
              <a:effectLst/>
              <a:uLnTx/>
              <a:uFillTx/>
              <a:latin typeface="Arial"/>
              <a:ea typeface="+mn-ea"/>
              <a:cs typeface="+mn-cs"/>
            </a:endParaRPr>
          </a:p>
        </p:txBody>
      </p:sp>
      <p:sp>
        <p:nvSpPr>
          <p:cNvPr id="5" name="Holder 5"/>
          <p:cNvSpPr>
            <a:spLocks noGrp="1"/>
          </p:cNvSpPr>
          <p:nvPr>
            <p:ph type="sldNum" sz="quarter" idx="7"/>
          </p:nvPr>
        </p:nvSpPr>
        <p:spPr>
          <a:xfrm>
            <a:off x="6583680" y="6377940"/>
            <a:ext cx="2103120" cy="342900"/>
          </a:xfrm>
          <a:prstGeom prst="rect">
            <a:avLst/>
          </a:prstGeom>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srgbClr val="5C5C5C">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srgbClr val="5C5C5C">
                  <a:tint val="75000"/>
                </a:srgbClr>
              </a:solidFill>
              <a:effectLst/>
              <a:uLnTx/>
              <a:uFillTx/>
              <a:latin typeface="Arial"/>
              <a:ea typeface="+mn-ea"/>
              <a:cs typeface="+mn-cs"/>
            </a:endParaRPr>
          </a:p>
        </p:txBody>
      </p:sp>
    </p:spTree>
    <p:extLst>
      <p:ext uri="{BB962C8B-B14F-4D97-AF65-F5344CB8AC3E}">
        <p14:creationId xmlns:p14="http://schemas.microsoft.com/office/powerpoint/2010/main" val="2864635231"/>
      </p:ext>
    </p:extLst>
  </p:cSld>
  <p:clrMapOvr>
    <a:masterClrMapping/>
  </p:clrMapOv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49645968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6222636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31278544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页脚占位符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7" name="灯片编号占位符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87605107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8" name="页脚占位符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9" name="灯片编号占位符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0617208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5" name="Rectangle 10"/>
          <p:cNvSpPr/>
          <p:nvPr/>
        </p:nvSpPr>
        <p:spPr bwMode="white">
          <a:xfrm>
            <a:off x="-9525" y="4572000"/>
            <a:ext cx="9144000" cy="887413"/>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6" name="Rectangle 11"/>
          <p:cNvSpPr/>
          <p:nvPr/>
        </p:nvSpPr>
        <p:spPr>
          <a:xfrm>
            <a:off x="-9525" y="4664075"/>
            <a:ext cx="1463675" cy="712788"/>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7" name="Rectangle 14"/>
          <p:cNvSpPr/>
          <p:nvPr/>
        </p:nvSpPr>
        <p:spPr>
          <a:xfrm>
            <a:off x="1544638" y="4654550"/>
            <a:ext cx="7599362" cy="712788"/>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8" name="Rectangle 15"/>
          <p:cNvSpPr/>
          <p:nvPr/>
        </p:nvSpPr>
        <p:spPr bwMode="white">
          <a:xfrm>
            <a:off x="1447800" y="0"/>
            <a:ext cx="100013" cy="6867525"/>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a:r>
              <a:rPr lang="en-US" smtClean="0"/>
              <a:t>Click to edit Master text styles</a:t>
            </a:r>
          </a:p>
        </p:txBody>
      </p:sp>
      <p:sp>
        <p:nvSpPr>
          <p:cNvPr id="2" name="Title 1"/>
          <p:cNvSpPr>
            <a:spLocks noGrp="1"/>
          </p:cNvSpPr>
          <p:nvPr>
            <p:ph type="title"/>
          </p:nvPr>
        </p:nvSpPr>
        <p:spPr>
          <a:xfrm>
            <a:off x="1600200" y="4648200"/>
            <a:ext cx="7315200" cy="685800"/>
          </a:xfrm>
        </p:spPr>
        <p:txBody>
          <a:bodyPr/>
          <a:lstStyle>
            <a:lvl1pPr algn="l">
              <a:buNone/>
              <a:defRPr sz="2800" b="0">
                <a:solidFill>
                  <a:srgbClr val="FFFFFF"/>
                </a:solidFill>
              </a:defRPr>
            </a:lvl1pPr>
          </a:lstStyle>
          <a:p>
            <a:r>
              <a:rPr lang="en-US" smtClean="0"/>
              <a:t>Click to edit Master title style</a:t>
            </a:r>
            <a:endParaRPr lang="en-US"/>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normAutofit/>
          </a:bodyPr>
          <a:lstStyle>
            <a:lvl1pPr marL="0" indent="0">
              <a:buNone/>
              <a:defRPr sz="3200"/>
            </a:lvl1pPr>
          </a:lstStyle>
          <a:p>
            <a:pPr lvl="0"/>
            <a:r>
              <a:rPr lang="en-US" noProof="0" smtClean="0"/>
              <a:t>Click icon to add picture</a:t>
            </a:r>
            <a:endParaRPr lang="en-US" noProof="0" dirty="0"/>
          </a:p>
        </p:txBody>
      </p:sp>
      <p:sp>
        <p:nvSpPr>
          <p:cNvPr id="9" name="Date Placeholder 11"/>
          <p:cNvSpPr>
            <a:spLocks noGrp="1"/>
          </p:cNvSpPr>
          <p:nvPr>
            <p:ph type="dt" sz="half" idx="10"/>
          </p:nvPr>
        </p:nvSpPr>
        <p:spPr>
          <a:xfrm>
            <a:off x="6248400" y="6248400"/>
            <a:ext cx="2667000" cy="365125"/>
          </a:xfrm>
        </p:spPr>
        <p:txBody>
          <a:bodyPr rtlCol="0"/>
          <a:lstStyle>
            <a:lvl1pPr>
              <a:defRPr/>
            </a:lvl1pPr>
          </a:lstStyle>
          <a:p>
            <a:pPr>
              <a:defRPr/>
            </a:pPr>
            <a:endParaRPr lang="en-US">
              <a:solidFill>
                <a:srgbClr val="775F55"/>
              </a:solidFill>
            </a:endParaRPr>
          </a:p>
        </p:txBody>
      </p:sp>
      <p:sp>
        <p:nvSpPr>
          <p:cNvPr id="10" name="Slide Number Placeholder 12"/>
          <p:cNvSpPr>
            <a:spLocks noGrp="1"/>
          </p:cNvSpPr>
          <p:nvPr>
            <p:ph type="sldNum" sz="quarter" idx="11"/>
          </p:nvPr>
        </p:nvSpPr>
        <p:spPr>
          <a:xfrm>
            <a:off x="0" y="4667250"/>
            <a:ext cx="1447800" cy="663575"/>
          </a:xfrm>
        </p:spPr>
        <p:txBody>
          <a:bodyPr rtlCol="0"/>
          <a:lstStyle>
            <a:lvl1pPr>
              <a:defRPr sz="2800" smtClean="0"/>
            </a:lvl1pPr>
          </a:lstStyle>
          <a:p>
            <a:pPr>
              <a:defRPr/>
            </a:pPr>
            <a:fld id="{6A3C7D28-950E-4BD8-B730-9540285F234E}" type="slidenum">
              <a:rPr lang="en-US"/>
              <a:pPr>
                <a:defRPr/>
              </a:pPr>
              <a:t>‹#›</a:t>
            </a:fld>
            <a:endParaRPr lang="en-US"/>
          </a:p>
        </p:txBody>
      </p:sp>
      <p:sp>
        <p:nvSpPr>
          <p:cNvPr id="11" name="Footer Placeholder 13"/>
          <p:cNvSpPr>
            <a:spLocks noGrp="1"/>
          </p:cNvSpPr>
          <p:nvPr>
            <p:ph type="ftr" sz="quarter" idx="12"/>
          </p:nvPr>
        </p:nvSpPr>
        <p:spPr>
          <a:xfrm>
            <a:off x="1600200" y="6248400"/>
            <a:ext cx="4572000" cy="365125"/>
          </a:xfrm>
        </p:spPr>
        <p:txBody>
          <a:bodyPr rtlCol="0"/>
          <a:lstStyle>
            <a:lvl1pPr>
              <a:defRPr/>
            </a:lvl1pPr>
          </a:lstStyle>
          <a:p>
            <a:pPr>
              <a:defRPr/>
            </a:pPr>
            <a:endParaRPr lang="en-US">
              <a:solidFill>
                <a:srgbClr val="775F55"/>
              </a:solidFill>
            </a:endParaRPr>
          </a:p>
        </p:txBody>
      </p:sp>
    </p:spTree>
    <p:extLst>
      <p:ext uri="{BB962C8B-B14F-4D97-AF65-F5344CB8AC3E}">
        <p14:creationId xmlns:p14="http://schemas.microsoft.com/office/powerpoint/2010/main" val="4047490340"/>
      </p:ext>
    </p:extLst>
  </p:cSld>
  <p:clrMapOvr>
    <a:overrideClrMapping bg1="lt1" tx1="dk1" bg2="lt2" tx2="dk2" accent1="accent1" accent2="accent2" accent3="accent3" accent4="accent4" accent5="accent5" accent6="accent6" hlink="hlink" folHlink="folHlink"/>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4" name="页脚占位符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灯片编号占位符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99953127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3" name="页脚占位符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35089545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页脚占位符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7" name="灯片编号占位符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82790278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页脚占位符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7" name="灯片编号占位符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86688367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12282659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8731784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98664390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86593906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62084236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页脚占位符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7" name="灯片编号占位符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515851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a:defRPr/>
            </a:pPr>
            <a:endParaRPr lang="en-US">
              <a:solidFill>
                <a:srgbClr val="775F55"/>
              </a:solidFill>
            </a:endParaRPr>
          </a:p>
        </p:txBody>
      </p:sp>
      <p:sp>
        <p:nvSpPr>
          <p:cNvPr id="5" name="Footer Placeholder 2"/>
          <p:cNvSpPr>
            <a:spLocks noGrp="1"/>
          </p:cNvSpPr>
          <p:nvPr>
            <p:ph type="ftr" sz="quarter" idx="11"/>
          </p:nvPr>
        </p:nvSpPr>
        <p:spPr/>
        <p:txBody>
          <a:bodyPr/>
          <a:lstStyle>
            <a:lvl1pPr>
              <a:defRPr/>
            </a:lvl1pPr>
          </a:lstStyle>
          <a:p>
            <a:pPr>
              <a:defRPr/>
            </a:pPr>
            <a:endParaRPr lang="en-US">
              <a:solidFill>
                <a:srgbClr val="775F55"/>
              </a:solidFill>
            </a:endParaRPr>
          </a:p>
        </p:txBody>
      </p:sp>
      <p:sp>
        <p:nvSpPr>
          <p:cNvPr id="6" name="Slide Number Placeholder 22"/>
          <p:cNvSpPr>
            <a:spLocks noGrp="1"/>
          </p:cNvSpPr>
          <p:nvPr>
            <p:ph type="sldNum" sz="quarter" idx="12"/>
          </p:nvPr>
        </p:nvSpPr>
        <p:spPr/>
        <p:txBody>
          <a:bodyPr/>
          <a:lstStyle>
            <a:lvl1pPr>
              <a:defRPr/>
            </a:lvl1pPr>
          </a:lstStyle>
          <a:p>
            <a:pPr>
              <a:defRPr/>
            </a:pPr>
            <a:fld id="{6B81B5C8-333B-42AF-94EF-8DC97C685690}" type="slidenum">
              <a:rPr lang="en-US"/>
              <a:pPr>
                <a:defRPr/>
              </a:pPr>
              <a:t>‹#›</a:t>
            </a:fld>
            <a:endParaRPr lang="en-US"/>
          </a:p>
        </p:txBody>
      </p:sp>
    </p:spTree>
    <p:extLst>
      <p:ext uri="{BB962C8B-B14F-4D97-AF65-F5344CB8AC3E}">
        <p14:creationId xmlns:p14="http://schemas.microsoft.com/office/powerpoint/2010/main" val="238662568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8" name="页脚占位符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9" name="灯片编号占位符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96513814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4" name="页脚占位符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灯片编号占位符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72814862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3" name="页脚占位符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21014600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页脚占位符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7" name="灯片编号占位符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83710795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页脚占位符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7" name="灯片编号占位符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402505805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25334317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4039786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4" name="Rectangle 3"/>
          <p:cNvSpPr/>
          <p:nvPr/>
        </p:nvSpPr>
        <p:spPr bwMode="white">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5" name="Rectangle 4"/>
          <p:cNvSpPr/>
          <p:nvPr/>
        </p:nvSpPr>
        <p:spPr>
          <a:xfrm>
            <a:off x="-9525" y="6053138"/>
            <a:ext cx="2249488" cy="712787"/>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6" name="Rectangle 5"/>
          <p:cNvSpPr/>
          <p:nvPr/>
        </p:nvSpPr>
        <p:spPr>
          <a:xfrm>
            <a:off x="2359025" y="6043613"/>
            <a:ext cx="6784975" cy="714375"/>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8" name="Title 7"/>
          <p:cNvSpPr>
            <a:spLocks noGrp="1"/>
          </p:cNvSpPr>
          <p:nvPr>
            <p:ph type="ctrTitle"/>
          </p:nvPr>
        </p:nvSpPr>
        <p:spPr>
          <a:xfrm>
            <a:off x="2362200" y="4038600"/>
            <a:ext cx="6477000" cy="1828800"/>
          </a:xfrm>
        </p:spPr>
        <p:txBody>
          <a:bodyPr anchor="b"/>
          <a:lstStyle>
            <a:lvl1pPr>
              <a:defRPr cap="all" baseline="0"/>
            </a:lvl1pPr>
          </a:lstStyle>
          <a:p>
            <a:r>
              <a:rPr lang="en-US" smtClean="0"/>
              <a:t>Click to edit Master title style</a:t>
            </a:r>
            <a:endParaRPr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7" name="Date Placeholder 27"/>
          <p:cNvSpPr>
            <a:spLocks noGrp="1"/>
          </p:cNvSpPr>
          <p:nvPr>
            <p:ph type="dt" sz="half" idx="10"/>
          </p:nvPr>
        </p:nvSpPr>
        <p:spPr>
          <a:xfrm>
            <a:off x="76200" y="6069013"/>
            <a:ext cx="2057400" cy="685800"/>
          </a:xfrm>
        </p:spPr>
        <p:txBody>
          <a:bodyPr>
            <a:noAutofit/>
          </a:bodyPr>
          <a:lstStyle>
            <a:lvl1pPr algn="ctr">
              <a:defRPr sz="200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Tw Cen MT"/>
              <a:ea typeface="+mn-ea"/>
              <a:cs typeface="+mn-cs"/>
            </a:endParaRPr>
          </a:p>
        </p:txBody>
      </p:sp>
      <p:sp>
        <p:nvSpPr>
          <p:cNvPr id="10" name="Footer Placeholder 16"/>
          <p:cNvSpPr>
            <a:spLocks noGrp="1"/>
          </p:cNvSpPr>
          <p:nvPr>
            <p:ph type="ftr" sz="quarter" idx="11"/>
          </p:nvPr>
        </p:nvSpPr>
        <p:spPr>
          <a:xfrm>
            <a:off x="2085975" y="236538"/>
            <a:ext cx="5867400" cy="365125"/>
          </a:xfrm>
        </p:spPr>
        <p:txBody>
          <a:bodyPr/>
          <a:lstStyle>
            <a:lvl1pPr algn="r">
              <a:defRPr>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EBDDC3"/>
              </a:solidFill>
              <a:effectLst/>
              <a:uLnTx/>
              <a:uFillTx/>
              <a:latin typeface="Tw Cen MT"/>
              <a:ea typeface="+mn-ea"/>
              <a:cs typeface="+mn-cs"/>
            </a:endParaRPr>
          </a:p>
        </p:txBody>
      </p:sp>
      <p:sp>
        <p:nvSpPr>
          <p:cNvPr id="11" name="Slide Number Placeholder 28"/>
          <p:cNvSpPr>
            <a:spLocks noGrp="1"/>
          </p:cNvSpPr>
          <p:nvPr>
            <p:ph type="sldNum" sz="quarter" idx="12"/>
          </p:nvPr>
        </p:nvSpPr>
        <p:spPr>
          <a:xfrm>
            <a:off x="8001000" y="228600"/>
            <a:ext cx="838200" cy="381000"/>
          </a:xfrm>
        </p:spPr>
        <p:txBody>
          <a:bodyPr/>
          <a:lstStyle>
            <a:lvl1pPr>
              <a:defRPr smtClean="0">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692C81E3-6CF7-4314-AAAE-E6303F32B158}" type="slidenum">
              <a:rPr kumimoji="0" lang="ar-SA" sz="1400" b="1" i="0" u="none" strike="noStrike" kern="1200" cap="none" spc="0" normalizeH="0" baseline="0" noProof="0">
                <a:ln>
                  <a:noFill/>
                </a:ln>
                <a:solidFill>
                  <a:srgbClr val="EBDDC3"/>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EBDDC3"/>
              </a:solidFill>
              <a:effectLst/>
              <a:uLnTx/>
              <a:uFillTx/>
              <a:latin typeface="Tw Cen MT"/>
              <a:ea typeface="+mn-ea"/>
              <a:cs typeface="+mn-cs"/>
            </a:endParaRPr>
          </a:p>
        </p:txBody>
      </p:sp>
    </p:spTree>
    <p:extLst>
      <p:ext uri="{BB962C8B-B14F-4D97-AF65-F5344CB8AC3E}">
        <p14:creationId xmlns:p14="http://schemas.microsoft.com/office/powerpoint/2010/main" val="736860166"/>
      </p:ext>
    </p:extLst>
  </p:cSld>
  <p:clrMapOvr>
    <a:overrideClrMapping bg1="dk1" tx1="lt1" bg2="dk2" tx2="lt2" accent1="accent1" accent2="accent2" accent3="accent3" accent4="accent4" accent5="accent5" accent6="accent6" hlink="hlink" folHlink="folHlink"/>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8153400" cy="990600"/>
          </a:xfrm>
        </p:spPr>
        <p:txBody>
          <a:bodyPr/>
          <a:lstStyle/>
          <a:p>
            <a:r>
              <a:rPr lang="en-US" smtClean="0"/>
              <a:t>Click to edit Master title style</a:t>
            </a:r>
            <a:endParaRPr lang="en-US"/>
          </a:p>
        </p:txBody>
      </p:sp>
      <p:sp>
        <p:nvSpPr>
          <p:cNvPr id="8" name="Content Placeholder 7"/>
          <p:cNvSpPr>
            <a:spLocks noGrp="1"/>
          </p:cNvSpPr>
          <p:nvPr>
            <p:ph sz="quarter" idx="1"/>
          </p:nvPr>
        </p:nvSpPr>
        <p:spPr>
          <a:xfrm>
            <a:off x="612648" y="1600200"/>
            <a:ext cx="81534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5" name="Footer Placeholder 2"/>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6" name="Slide Number Placeholder 22"/>
          <p:cNvSpPr>
            <a:spLocks noGrp="1"/>
          </p:cNvSpPr>
          <p:nvPr>
            <p:ph type="sldNum" sz="quarter" idx="12"/>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3D9A6913-0D59-49A6-A3FE-8714250EC376}"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137872510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4" name="Rectangle 3"/>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5" name="Rectangle 4"/>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6" name="Rectangle 5"/>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3" name="Text Placeholder 2"/>
          <p:cNvSpPr>
            <a:spLocks noGrp="1"/>
          </p:cNvSpPr>
          <p:nvPr>
            <p:ph type="body" idx="1"/>
          </p:nvPr>
        </p:nvSpPr>
        <p:spPr>
          <a:xfrm>
            <a:off x="1371600" y="2743200"/>
            <a:ext cx="7123113" cy="1673225"/>
          </a:xfrm>
        </p:spPr>
        <p:txBody>
          <a:bodyPr/>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lang="en-US" smtClean="0"/>
              <a:t>Click to edit Master title style</a:t>
            </a:r>
            <a:endParaRPr lang="en-US"/>
          </a:p>
        </p:txBody>
      </p:sp>
      <p:sp>
        <p:nvSpPr>
          <p:cNvPr id="7" name="Date Placeholder 11"/>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8" name="Slide Number Placeholder 12"/>
          <p:cNvSpPr>
            <a:spLocks noGrp="1"/>
          </p:cNvSpPr>
          <p:nvPr>
            <p:ph type="sldNum" sz="quarter" idx="11"/>
          </p:nvPr>
        </p:nvSpPr>
        <p:spPr>
          <a:xfrm>
            <a:off x="0" y="1752600"/>
            <a:ext cx="1295400" cy="701675"/>
          </a:xfrm>
        </p:spPr>
        <p:txBody>
          <a:bodyPr>
            <a:noAutofit/>
          </a:bodyPr>
          <a:lstStyle>
            <a:lvl1pPr>
              <a:defRPr sz="2400" smtClean="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3BD5E903-FF7B-4CA4-8837-9EA06E802669}" type="slidenum">
              <a:rPr kumimoji="0" lang="ar-SA" sz="2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2400" b="1" i="0" u="none" strike="noStrike" kern="1200" cap="none" spc="0" normalizeH="0" baseline="0" noProof="0">
              <a:ln>
                <a:noFill/>
              </a:ln>
              <a:solidFill>
                <a:srgbClr val="FFFFFF"/>
              </a:solidFill>
              <a:effectLst/>
              <a:uLnTx/>
              <a:uFillTx/>
              <a:latin typeface="Tw Cen MT"/>
              <a:ea typeface="+mn-ea"/>
              <a:cs typeface="+mn-cs"/>
            </a:endParaRPr>
          </a:p>
        </p:txBody>
      </p:sp>
      <p:sp>
        <p:nvSpPr>
          <p:cNvPr id="9" name="Footer Placeholder 13"/>
          <p:cNvSpPr>
            <a:spLocks noGrp="1"/>
          </p:cNvSpPr>
          <p:nvPr>
            <p:ph type="ftr"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Tree>
    <p:extLst>
      <p:ext uri="{BB962C8B-B14F-4D97-AF65-F5344CB8AC3E}">
        <p14:creationId xmlns:p14="http://schemas.microsoft.com/office/powerpoint/2010/main" val="370679107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10"/>
          <p:cNvSpPr/>
          <p:nvPr/>
        </p:nvSpPr>
        <p:spPr bwMode="white">
          <a:xfrm>
            <a:off x="6096000" y="0"/>
            <a:ext cx="320675"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5" name="Rectangle 11"/>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6" name="Rectangle 14"/>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2" name="Vertical Title 1"/>
          <p:cNvSpPr>
            <a:spLocks noGrp="1"/>
          </p:cNvSpPr>
          <p:nvPr>
            <p:ph type="title" orient="vert"/>
          </p:nvPr>
        </p:nvSpPr>
        <p:spPr>
          <a:xfrm>
            <a:off x="6553200" y="609600"/>
            <a:ext cx="2057400" cy="55165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6553200" y="6248400"/>
            <a:ext cx="2209800" cy="365125"/>
          </a:xfrm>
        </p:spPr>
        <p:txBody>
          <a:bodyPr/>
          <a:lstStyle>
            <a:lvl1pPr>
              <a:defRPr/>
            </a:lvl1pPr>
          </a:lstStyle>
          <a:p>
            <a:pPr>
              <a:defRPr/>
            </a:pPr>
            <a:endParaRPr lang="en-US">
              <a:solidFill>
                <a:srgbClr val="775F55"/>
              </a:solidFill>
            </a:endParaRPr>
          </a:p>
        </p:txBody>
      </p:sp>
      <p:sp>
        <p:nvSpPr>
          <p:cNvPr id="8" name="Footer Placeholder 4"/>
          <p:cNvSpPr>
            <a:spLocks noGrp="1"/>
          </p:cNvSpPr>
          <p:nvPr>
            <p:ph type="ftr" sz="quarter" idx="11"/>
          </p:nvPr>
        </p:nvSpPr>
        <p:spPr>
          <a:xfrm>
            <a:off x="457200" y="6248400"/>
            <a:ext cx="5573713" cy="365125"/>
          </a:xfrm>
        </p:spPr>
        <p:txBody>
          <a:bodyPr/>
          <a:lstStyle>
            <a:lvl1pPr>
              <a:defRPr/>
            </a:lvl1pPr>
          </a:lstStyle>
          <a:p>
            <a:pPr>
              <a:defRPr/>
            </a:pPr>
            <a:endParaRPr lang="en-US">
              <a:solidFill>
                <a:srgbClr val="775F55"/>
              </a:solidFill>
            </a:endParaRPr>
          </a:p>
        </p:txBody>
      </p:sp>
      <p:sp>
        <p:nvSpPr>
          <p:cNvPr id="9" name="Slide Number Placeholder 5"/>
          <p:cNvSpPr>
            <a:spLocks noGrp="1"/>
          </p:cNvSpPr>
          <p:nvPr>
            <p:ph type="sldNum" sz="quarter" idx="12"/>
          </p:nvPr>
        </p:nvSpPr>
        <p:spPr>
          <a:xfrm rot="5400000">
            <a:off x="5989638" y="144462"/>
            <a:ext cx="533400" cy="244475"/>
          </a:xfrm>
        </p:spPr>
        <p:txBody>
          <a:bodyPr/>
          <a:lstStyle>
            <a:lvl1pPr>
              <a:defRPr/>
            </a:lvl1pPr>
          </a:lstStyle>
          <a:p>
            <a:pPr>
              <a:defRPr/>
            </a:pPr>
            <a:fld id="{ECCC41E0-386F-4B7C-87F2-5C1842C3DF8D}" type="slidenum">
              <a:rPr lang="en-US"/>
              <a:pPr>
                <a:defRPr/>
              </a:pPr>
              <a:t>‹#›</a:t>
            </a:fld>
            <a:endParaRPr lang="en-US"/>
          </a:p>
        </p:txBody>
      </p:sp>
    </p:spTree>
    <p:extLst>
      <p:ext uri="{BB962C8B-B14F-4D97-AF65-F5344CB8AC3E}">
        <p14:creationId xmlns:p14="http://schemas.microsoft.com/office/powerpoint/2010/main" val="1730774807"/>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
          </p:nvPr>
        </p:nvSpPr>
        <p:spPr>
          <a:xfrm>
            <a:off x="609600"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2"/>
          </p:nvPr>
        </p:nvSpPr>
        <p:spPr>
          <a:xfrm>
            <a:off x="4844901"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7"/>
          <p:cNvSpPr>
            <a:spLocks noGrp="1"/>
          </p:cNvSpPr>
          <p:nvPr>
            <p:ph type="dt" sz="half" idx="10"/>
          </p:nvPr>
        </p:nvSpPr>
        <p:spPr/>
        <p:txBody>
          <a:bodyPr rtlCol="0"/>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6" name="Slide Number Placeholder 9"/>
          <p:cNvSpPr>
            <a:spLocks noGrp="1"/>
          </p:cNvSpPr>
          <p:nvPr>
            <p:ph type="sldNum" sz="quarter" idx="11"/>
          </p:nvPr>
        </p:nvSpPr>
        <p:spPr/>
        <p:txBody>
          <a:bodyPr rtlCol="0"/>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DF947A6-0B2F-4649-A6E7-E43CEFB26D89}"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
        <p:nvSpPr>
          <p:cNvPr id="7" name="Footer Placeholder 11"/>
          <p:cNvSpPr>
            <a:spLocks noGrp="1"/>
          </p:cNvSpPr>
          <p:nvPr>
            <p:ph type="ftr" sz="quarter" idx="12"/>
          </p:nvPr>
        </p:nvSpPr>
        <p:spPr/>
        <p:txBody>
          <a:bodyPr rtlCol="0"/>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Tree>
    <p:extLst>
      <p:ext uri="{BB962C8B-B14F-4D97-AF65-F5344CB8AC3E}">
        <p14:creationId xmlns:p14="http://schemas.microsoft.com/office/powerpoint/2010/main" val="275136568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lstStyle>
            <a:lvl1pPr>
              <a:defRPr/>
            </a:lvl1pPr>
          </a:lstStyle>
          <a:p>
            <a:r>
              <a:rPr lang="en-US" smtClean="0"/>
              <a:t>Click to edit Master title style</a:t>
            </a:r>
            <a:endParaRPr lang="en-US"/>
          </a:p>
        </p:txBody>
      </p:sp>
      <p:sp>
        <p:nvSpPr>
          <p:cNvPr id="11" name="Content Placeholder 10"/>
          <p:cNvSpPr>
            <a:spLocks noGrp="1"/>
          </p:cNvSpPr>
          <p:nvPr>
            <p:ph sz="quarter" idx="2"/>
          </p:nvPr>
        </p:nvSpPr>
        <p:spPr>
          <a:xfrm>
            <a:off x="609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12"/>
          <p:cNvSpPr>
            <a:spLocks noGrp="1"/>
          </p:cNvSpPr>
          <p:nvPr>
            <p:ph sz="quarter" idx="4"/>
          </p:nvPr>
        </p:nvSpPr>
        <p:spPr>
          <a:xfrm>
            <a:off x="4800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7" name="Date Placeholder 9"/>
          <p:cNvSpPr>
            <a:spLocks noGrp="1"/>
          </p:cNvSpPr>
          <p:nvPr>
            <p:ph type="dt" sz="half" idx="10"/>
          </p:nvPr>
        </p:nvSpPr>
        <p:spPr/>
        <p:txBody>
          <a:bodyPr rtlCol="0"/>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8" name="Slide Number Placeholder 11"/>
          <p:cNvSpPr>
            <a:spLocks noGrp="1"/>
          </p:cNvSpPr>
          <p:nvPr>
            <p:ph type="sldNum" sz="quarter" idx="11"/>
          </p:nvPr>
        </p:nvSpPr>
        <p:spPr/>
        <p:txBody>
          <a:bodyPr rtlCol="0"/>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3EFB8E44-4269-4A09-A7B8-9309262BCEF0}"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
        <p:nvSpPr>
          <p:cNvPr id="9" name="Footer Placeholder 13"/>
          <p:cNvSpPr>
            <a:spLocks noGrp="1"/>
          </p:cNvSpPr>
          <p:nvPr>
            <p:ph type="ftr" sz="quarter" idx="12"/>
          </p:nvPr>
        </p:nvSpPr>
        <p:spPr/>
        <p:txBody>
          <a:bodyPr rtlCol="0"/>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Tree>
    <p:extLst>
      <p:ext uri="{BB962C8B-B14F-4D97-AF65-F5344CB8AC3E}">
        <p14:creationId xmlns:p14="http://schemas.microsoft.com/office/powerpoint/2010/main" val="421111962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1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4" name="Footer Placeholder 2"/>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5" name="Slide Number Placeholder 22"/>
          <p:cNvSpPr>
            <a:spLocks noGrp="1"/>
          </p:cNvSpPr>
          <p:nvPr>
            <p:ph type="sldNum" sz="quarter" idx="12"/>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841980C-ECE8-442B-B058-DD12A4A58520}"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322393093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3" name="Footer Placeholder 2"/>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4" name="Slide Number Placeholder 3"/>
          <p:cNvSpPr>
            <a:spLocks noGrp="1"/>
          </p:cNvSpPr>
          <p:nvPr>
            <p:ph type="sldNum" sz="quarter" idx="12"/>
          </p:nvPr>
        </p:nvSpPr>
        <p:spPr>
          <a:xfrm>
            <a:off x="0" y="6248400"/>
            <a:ext cx="533400" cy="381000"/>
          </a:xfrm>
        </p:spPr>
        <p:txBody>
          <a:bodyPr/>
          <a:lstStyle>
            <a:lvl1pPr>
              <a:defRPr smtClean="0">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11287FF1-DFB1-4D22-BC51-D7FC05F96716}" type="slidenum">
              <a:rPr kumimoji="0" lang="ar-SA" sz="1400" b="1" i="0" u="none" strike="noStrike" kern="1200" cap="none" spc="0" normalizeH="0" baseline="0" noProof="0">
                <a:ln>
                  <a:noFill/>
                </a:ln>
                <a:solidFill>
                  <a:srgbClr val="775F55"/>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775F55"/>
              </a:solidFill>
              <a:effectLst/>
              <a:uLnTx/>
              <a:uFillTx/>
              <a:latin typeface="Tw Cen MT"/>
              <a:ea typeface="+mn-ea"/>
              <a:cs typeface="+mn-cs"/>
            </a:endParaRPr>
          </a:p>
        </p:txBody>
      </p:sp>
    </p:spTree>
    <p:extLst>
      <p:ext uri="{BB962C8B-B14F-4D97-AF65-F5344CB8AC3E}">
        <p14:creationId xmlns:p14="http://schemas.microsoft.com/office/powerpoint/2010/main" val="20654855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lstStyle>
            <a:lvl1pPr algn="l">
              <a:buNone/>
              <a:defRPr sz="4400" b="0"/>
            </a:lvl1pPr>
          </a:lstStyle>
          <a:p>
            <a:r>
              <a:rPr lang="en-US" smtClean="0"/>
              <a:t>Click to edit Master title style</a:t>
            </a:r>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1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6" name="Footer Placeholder 2"/>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7" name="Slide Number Placeholder 22"/>
          <p:cNvSpPr>
            <a:spLocks noGrp="1"/>
          </p:cNvSpPr>
          <p:nvPr>
            <p:ph type="sldNum" sz="quarter" idx="12"/>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D5AC559F-E4AB-4FCB-BC91-CEE445637B5B}"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220495947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3">
        <a:schemeClr val="bg2"/>
      </p:bgRef>
    </p:bg>
    <p:spTree>
      <p:nvGrpSpPr>
        <p:cNvPr id="1" name=""/>
        <p:cNvGrpSpPr/>
        <p:nvPr/>
      </p:nvGrpSpPr>
      <p:grpSpPr>
        <a:xfrm>
          <a:off x="0" y="0"/>
          <a:ext cx="0" cy="0"/>
          <a:chOff x="0" y="0"/>
          <a:chExt cx="0" cy="0"/>
        </a:xfrm>
      </p:grpSpPr>
      <p:sp>
        <p:nvSpPr>
          <p:cNvPr id="5" name="Rectangle 4"/>
          <p:cNvSpPr/>
          <p:nvPr/>
        </p:nvSpPr>
        <p:spPr bwMode="white">
          <a:xfrm>
            <a:off x="-9525" y="4572000"/>
            <a:ext cx="9144000" cy="887413"/>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6" name="Rectangle 5"/>
          <p:cNvSpPr/>
          <p:nvPr/>
        </p:nvSpPr>
        <p:spPr>
          <a:xfrm>
            <a:off x="-9525" y="4664075"/>
            <a:ext cx="1463675" cy="712788"/>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7" name="Rectangle 6"/>
          <p:cNvSpPr/>
          <p:nvPr/>
        </p:nvSpPr>
        <p:spPr>
          <a:xfrm>
            <a:off x="1544638" y="4654550"/>
            <a:ext cx="7599362" cy="712788"/>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8" name="Rectangle 7"/>
          <p:cNvSpPr/>
          <p:nvPr/>
        </p:nvSpPr>
        <p:spPr bwMode="white">
          <a:xfrm>
            <a:off x="1447800" y="0"/>
            <a:ext cx="100013" cy="6867525"/>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a:r>
              <a:rPr lang="en-US" smtClean="0"/>
              <a:t>Click to edit Master text styles</a:t>
            </a:r>
          </a:p>
        </p:txBody>
      </p:sp>
      <p:sp>
        <p:nvSpPr>
          <p:cNvPr id="2" name="Title 1"/>
          <p:cNvSpPr>
            <a:spLocks noGrp="1"/>
          </p:cNvSpPr>
          <p:nvPr>
            <p:ph type="title"/>
          </p:nvPr>
        </p:nvSpPr>
        <p:spPr>
          <a:xfrm>
            <a:off x="1600200" y="4648200"/>
            <a:ext cx="7315200" cy="685800"/>
          </a:xfrm>
        </p:spPr>
        <p:txBody>
          <a:bodyPr/>
          <a:lstStyle>
            <a:lvl1pPr algn="l">
              <a:buNone/>
              <a:defRPr sz="2800" b="0">
                <a:solidFill>
                  <a:srgbClr val="FFFFFF"/>
                </a:solidFill>
              </a:defRPr>
            </a:lvl1pPr>
          </a:lstStyle>
          <a:p>
            <a:r>
              <a:rPr lang="en-US" smtClean="0"/>
              <a:t>Click to edit Master title style</a:t>
            </a:r>
            <a:endParaRPr lang="en-US"/>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normAutofit/>
          </a:bodyPr>
          <a:lstStyle>
            <a:lvl1pPr marL="0" indent="0">
              <a:buNone/>
              <a:defRPr sz="3200"/>
            </a:lvl1pPr>
          </a:lstStyle>
          <a:p>
            <a:pPr lvl="0"/>
            <a:r>
              <a:rPr lang="en-US" noProof="0" smtClean="0"/>
              <a:t>Click icon to add picture</a:t>
            </a:r>
            <a:endParaRPr lang="en-US" noProof="0" dirty="0"/>
          </a:p>
        </p:txBody>
      </p:sp>
      <p:sp>
        <p:nvSpPr>
          <p:cNvPr id="9" name="Date Placeholder 11"/>
          <p:cNvSpPr>
            <a:spLocks noGrp="1"/>
          </p:cNvSpPr>
          <p:nvPr>
            <p:ph type="dt" sz="half" idx="10"/>
          </p:nvPr>
        </p:nvSpPr>
        <p:spPr>
          <a:xfrm>
            <a:off x="6248400" y="6248400"/>
            <a:ext cx="2667000" cy="365125"/>
          </a:xfrm>
        </p:spPr>
        <p:txBody>
          <a:bodyPr rtlCol="0"/>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10" name="Slide Number Placeholder 12"/>
          <p:cNvSpPr>
            <a:spLocks noGrp="1"/>
          </p:cNvSpPr>
          <p:nvPr>
            <p:ph type="sldNum" sz="quarter" idx="11"/>
          </p:nvPr>
        </p:nvSpPr>
        <p:spPr>
          <a:xfrm>
            <a:off x="0" y="4667250"/>
            <a:ext cx="1447800" cy="663575"/>
          </a:xfrm>
        </p:spPr>
        <p:txBody>
          <a:bodyPr rtlCol="0"/>
          <a:lstStyle>
            <a:lvl1pPr>
              <a:defRPr sz="2800" smtClean="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F620F28-5AF5-423A-9ED3-6F2BC5961877}" type="slidenum">
              <a:rPr kumimoji="0" lang="ar-SA" sz="28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2800" b="1" i="0" u="none" strike="noStrike" kern="1200" cap="none" spc="0" normalizeH="0" baseline="0" noProof="0">
              <a:ln>
                <a:noFill/>
              </a:ln>
              <a:solidFill>
                <a:srgbClr val="FFFFFF"/>
              </a:solidFill>
              <a:effectLst/>
              <a:uLnTx/>
              <a:uFillTx/>
              <a:latin typeface="Tw Cen MT"/>
              <a:ea typeface="+mn-ea"/>
              <a:cs typeface="+mn-cs"/>
            </a:endParaRPr>
          </a:p>
        </p:txBody>
      </p:sp>
      <p:sp>
        <p:nvSpPr>
          <p:cNvPr id="11" name="Footer Placeholder 13"/>
          <p:cNvSpPr>
            <a:spLocks noGrp="1"/>
          </p:cNvSpPr>
          <p:nvPr>
            <p:ph type="ftr" sz="quarter" idx="12"/>
          </p:nvPr>
        </p:nvSpPr>
        <p:spPr>
          <a:xfrm>
            <a:off x="1600200" y="6248400"/>
            <a:ext cx="4572000" cy="365125"/>
          </a:xfrm>
        </p:spPr>
        <p:txBody>
          <a:bodyPr rtlCol="0"/>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Tree>
    <p:extLst>
      <p:ext uri="{BB962C8B-B14F-4D97-AF65-F5344CB8AC3E}">
        <p14:creationId xmlns:p14="http://schemas.microsoft.com/office/powerpoint/2010/main" val="2830554817"/>
      </p:ext>
    </p:extLst>
  </p:cSld>
  <p:clrMapOvr>
    <a:overrideClrMapping bg1="lt1" tx1="dk1" bg2="lt2" tx2="dk2" accent1="accent1" accent2="accent2" accent3="accent3" accent4="accent4" accent5="accent5" accent6="accent6" hlink="hlink" folHlink="folHlink"/>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5" name="Footer Placeholder 2"/>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6" name="Slide Number Placeholder 22"/>
          <p:cNvSpPr>
            <a:spLocks noGrp="1"/>
          </p:cNvSpPr>
          <p:nvPr>
            <p:ph type="sldNum" sz="quarter" idx="12"/>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DCACDC47-B24C-4D06-96A9-3EAEB60656C4}"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305134142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
          <p:cNvSpPr/>
          <p:nvPr/>
        </p:nvSpPr>
        <p:spPr bwMode="white">
          <a:xfrm>
            <a:off x="6096000" y="0"/>
            <a:ext cx="320675"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5" name="Rectangle 4"/>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6" name="Rectangle 5"/>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2" name="Vertical Title 1"/>
          <p:cNvSpPr>
            <a:spLocks noGrp="1"/>
          </p:cNvSpPr>
          <p:nvPr>
            <p:ph type="title" orient="vert"/>
          </p:nvPr>
        </p:nvSpPr>
        <p:spPr>
          <a:xfrm>
            <a:off x="6553200" y="609600"/>
            <a:ext cx="2057400" cy="55165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6553200" y="6248400"/>
            <a:ext cx="2209800" cy="365125"/>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8" name="Footer Placeholder 4"/>
          <p:cNvSpPr>
            <a:spLocks noGrp="1"/>
          </p:cNvSpPr>
          <p:nvPr>
            <p:ph type="ftr" sz="quarter" idx="11"/>
          </p:nvPr>
        </p:nvSpPr>
        <p:spPr>
          <a:xfrm>
            <a:off x="457200" y="6248400"/>
            <a:ext cx="5573713" cy="365125"/>
          </a:xfrm>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9" name="Slide Number Placeholder 5"/>
          <p:cNvSpPr>
            <a:spLocks noGrp="1"/>
          </p:cNvSpPr>
          <p:nvPr>
            <p:ph type="sldNum" sz="quarter" idx="12"/>
          </p:nvPr>
        </p:nvSpPr>
        <p:spPr>
          <a:xfrm rot="5400000">
            <a:off x="5989638" y="144462"/>
            <a:ext cx="533400" cy="244475"/>
          </a:xfrm>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6A37BA8B-D8BD-49F7-81D1-2775CD17BB01}"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1004567469"/>
      </p:ext>
    </p:extLst>
  </p:cSld>
  <p:clrMapOvr>
    <a:overrideClrMapping bg1="lt1" tx1="dk1" bg2="lt2" tx2="dk2" accent1="accent1" accent2="accent2" accent3="accent3" accent4="accent4" accent5="accent5" accent6="accent6" hlink="hlink" folHlink="folHlink"/>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4" name="Rectangle 3"/>
          <p:cNvSpPr/>
          <p:nvPr/>
        </p:nvSpPr>
        <p:spPr bwMode="white">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5" name="Rectangle 4"/>
          <p:cNvSpPr/>
          <p:nvPr/>
        </p:nvSpPr>
        <p:spPr>
          <a:xfrm>
            <a:off x="-9525" y="6053138"/>
            <a:ext cx="2249488" cy="712787"/>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6" name="Rectangle 5"/>
          <p:cNvSpPr/>
          <p:nvPr/>
        </p:nvSpPr>
        <p:spPr>
          <a:xfrm>
            <a:off x="2359025" y="6043613"/>
            <a:ext cx="6784975" cy="714375"/>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8" name="Title 7"/>
          <p:cNvSpPr>
            <a:spLocks noGrp="1"/>
          </p:cNvSpPr>
          <p:nvPr>
            <p:ph type="ctrTitle"/>
          </p:nvPr>
        </p:nvSpPr>
        <p:spPr>
          <a:xfrm>
            <a:off x="2362200" y="4038600"/>
            <a:ext cx="6477000" cy="1828800"/>
          </a:xfrm>
        </p:spPr>
        <p:txBody>
          <a:bodyPr anchor="b"/>
          <a:lstStyle>
            <a:lvl1pPr>
              <a:defRPr cap="all" baseline="0"/>
            </a:lvl1pPr>
          </a:lstStyle>
          <a:p>
            <a:r>
              <a:rPr lang="en-US" smtClean="0"/>
              <a:t>Click to edit Master title style</a:t>
            </a:r>
            <a:endParaRPr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7" name="Date Placeholder 27"/>
          <p:cNvSpPr>
            <a:spLocks noGrp="1"/>
          </p:cNvSpPr>
          <p:nvPr>
            <p:ph type="dt" sz="half" idx="10"/>
          </p:nvPr>
        </p:nvSpPr>
        <p:spPr>
          <a:xfrm>
            <a:off x="76200" y="6069013"/>
            <a:ext cx="2057400" cy="685800"/>
          </a:xfrm>
        </p:spPr>
        <p:txBody>
          <a:bodyPr>
            <a:noAutofit/>
          </a:bodyPr>
          <a:lstStyle>
            <a:lvl1pPr algn="ctr">
              <a:defRPr sz="200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Tw Cen MT"/>
              <a:ea typeface="+mn-ea"/>
              <a:cs typeface="+mn-cs"/>
            </a:endParaRPr>
          </a:p>
        </p:txBody>
      </p:sp>
      <p:sp>
        <p:nvSpPr>
          <p:cNvPr id="10" name="Footer Placeholder 16"/>
          <p:cNvSpPr>
            <a:spLocks noGrp="1"/>
          </p:cNvSpPr>
          <p:nvPr>
            <p:ph type="ftr" sz="quarter" idx="11"/>
          </p:nvPr>
        </p:nvSpPr>
        <p:spPr>
          <a:xfrm>
            <a:off x="2085975" y="236538"/>
            <a:ext cx="5867400" cy="365125"/>
          </a:xfrm>
        </p:spPr>
        <p:txBody>
          <a:bodyPr/>
          <a:lstStyle>
            <a:lvl1pPr algn="r">
              <a:defRPr>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EBDDC3"/>
              </a:solidFill>
              <a:effectLst/>
              <a:uLnTx/>
              <a:uFillTx/>
              <a:latin typeface="Tw Cen MT"/>
              <a:ea typeface="+mn-ea"/>
              <a:cs typeface="+mn-cs"/>
            </a:endParaRPr>
          </a:p>
        </p:txBody>
      </p:sp>
      <p:sp>
        <p:nvSpPr>
          <p:cNvPr id="11" name="Slide Number Placeholder 28"/>
          <p:cNvSpPr>
            <a:spLocks noGrp="1"/>
          </p:cNvSpPr>
          <p:nvPr>
            <p:ph type="sldNum" sz="quarter" idx="12"/>
          </p:nvPr>
        </p:nvSpPr>
        <p:spPr>
          <a:xfrm>
            <a:off x="8001000" y="228600"/>
            <a:ext cx="838200" cy="381000"/>
          </a:xfrm>
        </p:spPr>
        <p:txBody>
          <a:bodyPr/>
          <a:lstStyle>
            <a:lvl1pPr>
              <a:defRPr smtClean="0">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692C81E3-6CF7-4314-AAAE-E6303F32B158}" type="slidenum">
              <a:rPr kumimoji="0" lang="ar-SA" sz="1400" b="1" i="0" u="none" strike="noStrike" kern="1200" cap="none" spc="0" normalizeH="0" baseline="0" noProof="0">
                <a:ln>
                  <a:noFill/>
                </a:ln>
                <a:solidFill>
                  <a:srgbClr val="EBDDC3"/>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EBDDC3"/>
              </a:solidFill>
              <a:effectLst/>
              <a:uLnTx/>
              <a:uFillTx/>
              <a:latin typeface="Tw Cen MT"/>
              <a:ea typeface="+mn-ea"/>
              <a:cs typeface="+mn-cs"/>
            </a:endParaRPr>
          </a:p>
        </p:txBody>
      </p:sp>
    </p:spTree>
    <p:extLst>
      <p:ext uri="{BB962C8B-B14F-4D97-AF65-F5344CB8AC3E}">
        <p14:creationId xmlns:p14="http://schemas.microsoft.com/office/powerpoint/2010/main" val="3400777247"/>
      </p:ext>
    </p:extLst>
  </p:cSld>
  <p:clrMapOvr>
    <a:overrideClrMapping bg1="dk1" tx1="lt1" bg2="dk2" tx2="lt2" accent1="accent1" accent2="accent2" accent3="accent3" accent4="accent4" accent5="accent5" accent6="accent6" hlink="hlink" folHlink="folHlink"/>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8153400" cy="990600"/>
          </a:xfrm>
        </p:spPr>
        <p:txBody>
          <a:bodyPr/>
          <a:lstStyle/>
          <a:p>
            <a:r>
              <a:rPr lang="en-US" smtClean="0"/>
              <a:t>Click to edit Master title style</a:t>
            </a:r>
            <a:endParaRPr lang="en-US"/>
          </a:p>
        </p:txBody>
      </p:sp>
      <p:sp>
        <p:nvSpPr>
          <p:cNvPr id="8" name="Content Placeholder 7"/>
          <p:cNvSpPr>
            <a:spLocks noGrp="1"/>
          </p:cNvSpPr>
          <p:nvPr>
            <p:ph sz="quarter" idx="1"/>
          </p:nvPr>
        </p:nvSpPr>
        <p:spPr>
          <a:xfrm>
            <a:off x="612648" y="1600200"/>
            <a:ext cx="81534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5" name="Footer Placeholder 2"/>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6" name="Slide Number Placeholder 22"/>
          <p:cNvSpPr>
            <a:spLocks noGrp="1"/>
          </p:cNvSpPr>
          <p:nvPr>
            <p:ph type="sldNum" sz="quarter" idx="12"/>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3D9A6913-0D59-49A6-A3FE-8714250EC376}"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10775675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981200"/>
            <a:ext cx="3810000"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4114800"/>
            <a:ext cx="3810000"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dt" sz="half" idx="10"/>
          </p:nvPr>
        </p:nvSpPr>
        <p:spPr/>
        <p:txBody>
          <a:bodyPr/>
          <a:lstStyle>
            <a:lvl1pPr>
              <a:defRPr/>
            </a:lvl1pPr>
          </a:lstStyle>
          <a:p>
            <a:pPr>
              <a:defRPr/>
            </a:pPr>
            <a:endParaRPr lang="en-US">
              <a:solidFill>
                <a:srgbClr val="775F55"/>
              </a:solidFill>
            </a:endParaRPr>
          </a:p>
        </p:txBody>
      </p:sp>
      <p:sp>
        <p:nvSpPr>
          <p:cNvPr id="7" name="Rectangle 5"/>
          <p:cNvSpPr>
            <a:spLocks noGrp="1" noChangeArrowheads="1"/>
          </p:cNvSpPr>
          <p:nvPr>
            <p:ph type="ftr" sz="quarter" idx="11"/>
          </p:nvPr>
        </p:nvSpPr>
        <p:spPr/>
        <p:txBody>
          <a:bodyPr/>
          <a:lstStyle>
            <a:lvl1pPr>
              <a:defRPr/>
            </a:lvl1pPr>
          </a:lstStyle>
          <a:p>
            <a:pPr>
              <a:defRPr/>
            </a:pPr>
            <a:endParaRPr lang="en-US">
              <a:solidFill>
                <a:srgbClr val="775F55"/>
              </a:solidFill>
            </a:endParaRPr>
          </a:p>
        </p:txBody>
      </p:sp>
      <p:sp>
        <p:nvSpPr>
          <p:cNvPr id="8" name="Rectangle 6"/>
          <p:cNvSpPr>
            <a:spLocks noGrp="1" noChangeArrowheads="1"/>
          </p:cNvSpPr>
          <p:nvPr>
            <p:ph type="sldNum" sz="quarter" idx="12"/>
          </p:nvPr>
        </p:nvSpPr>
        <p:spPr/>
        <p:txBody>
          <a:bodyPr/>
          <a:lstStyle>
            <a:lvl1pPr>
              <a:defRPr/>
            </a:lvl1pPr>
          </a:lstStyle>
          <a:p>
            <a:pPr>
              <a:defRPr/>
            </a:pPr>
            <a:fld id="{09EBC750-631C-478F-A863-EE4119B40F11}" type="slidenum">
              <a:rPr lang="ar-SA"/>
              <a:pPr>
                <a:defRPr/>
              </a:pPr>
              <a:t>‹#›</a:t>
            </a:fld>
            <a:endParaRPr lang="en-US"/>
          </a:p>
        </p:txBody>
      </p:sp>
    </p:spTree>
    <p:extLst>
      <p:ext uri="{BB962C8B-B14F-4D97-AF65-F5344CB8AC3E}">
        <p14:creationId xmlns:p14="http://schemas.microsoft.com/office/powerpoint/2010/main" val="404559632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4" name="Rectangle 3"/>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5" name="Rectangle 4"/>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6" name="Rectangle 5"/>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3" name="Text Placeholder 2"/>
          <p:cNvSpPr>
            <a:spLocks noGrp="1"/>
          </p:cNvSpPr>
          <p:nvPr>
            <p:ph type="body" idx="1"/>
          </p:nvPr>
        </p:nvSpPr>
        <p:spPr>
          <a:xfrm>
            <a:off x="1371600" y="2743200"/>
            <a:ext cx="7123113" cy="1673225"/>
          </a:xfrm>
        </p:spPr>
        <p:txBody>
          <a:bodyPr/>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lang="en-US" smtClean="0"/>
              <a:t>Click to edit Master title style</a:t>
            </a:r>
            <a:endParaRPr lang="en-US"/>
          </a:p>
        </p:txBody>
      </p:sp>
      <p:sp>
        <p:nvSpPr>
          <p:cNvPr id="7" name="Date Placeholder 11"/>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8" name="Slide Number Placeholder 12"/>
          <p:cNvSpPr>
            <a:spLocks noGrp="1"/>
          </p:cNvSpPr>
          <p:nvPr>
            <p:ph type="sldNum" sz="quarter" idx="11"/>
          </p:nvPr>
        </p:nvSpPr>
        <p:spPr>
          <a:xfrm>
            <a:off x="0" y="1752600"/>
            <a:ext cx="1295400" cy="701675"/>
          </a:xfrm>
        </p:spPr>
        <p:txBody>
          <a:bodyPr>
            <a:noAutofit/>
          </a:bodyPr>
          <a:lstStyle>
            <a:lvl1pPr>
              <a:defRPr sz="2400" smtClean="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3BD5E903-FF7B-4CA4-8837-9EA06E802669}" type="slidenum">
              <a:rPr kumimoji="0" lang="ar-SA" sz="2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2400" b="1" i="0" u="none" strike="noStrike" kern="1200" cap="none" spc="0" normalizeH="0" baseline="0" noProof="0">
              <a:ln>
                <a:noFill/>
              </a:ln>
              <a:solidFill>
                <a:srgbClr val="FFFFFF"/>
              </a:solidFill>
              <a:effectLst/>
              <a:uLnTx/>
              <a:uFillTx/>
              <a:latin typeface="Tw Cen MT"/>
              <a:ea typeface="+mn-ea"/>
              <a:cs typeface="+mn-cs"/>
            </a:endParaRPr>
          </a:p>
        </p:txBody>
      </p:sp>
      <p:sp>
        <p:nvSpPr>
          <p:cNvPr id="9" name="Footer Placeholder 13"/>
          <p:cNvSpPr>
            <a:spLocks noGrp="1"/>
          </p:cNvSpPr>
          <p:nvPr>
            <p:ph type="ftr"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Tree>
    <p:extLst>
      <p:ext uri="{BB962C8B-B14F-4D97-AF65-F5344CB8AC3E}">
        <p14:creationId xmlns:p14="http://schemas.microsoft.com/office/powerpoint/2010/main" val="897874158"/>
      </p:ext>
    </p:extLst>
  </p:cSld>
  <p:clrMapOvr>
    <a:overrideClrMapping bg1="lt1" tx1="dk1" bg2="lt2" tx2="dk2" accent1="accent1" accent2="accent2" accent3="accent3" accent4="accent4" accent5="accent5" accent6="accent6" hlink="hlink" folHlink="folHlink"/>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
          </p:nvPr>
        </p:nvSpPr>
        <p:spPr>
          <a:xfrm>
            <a:off x="609600"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2"/>
          </p:nvPr>
        </p:nvSpPr>
        <p:spPr>
          <a:xfrm>
            <a:off x="4844901"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7"/>
          <p:cNvSpPr>
            <a:spLocks noGrp="1"/>
          </p:cNvSpPr>
          <p:nvPr>
            <p:ph type="dt" sz="half" idx="10"/>
          </p:nvPr>
        </p:nvSpPr>
        <p:spPr/>
        <p:txBody>
          <a:bodyPr rtlCol="0"/>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6" name="Slide Number Placeholder 9"/>
          <p:cNvSpPr>
            <a:spLocks noGrp="1"/>
          </p:cNvSpPr>
          <p:nvPr>
            <p:ph type="sldNum" sz="quarter" idx="11"/>
          </p:nvPr>
        </p:nvSpPr>
        <p:spPr/>
        <p:txBody>
          <a:bodyPr rtlCol="0"/>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DF947A6-0B2F-4649-A6E7-E43CEFB26D89}"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
        <p:nvSpPr>
          <p:cNvPr id="7" name="Footer Placeholder 11"/>
          <p:cNvSpPr>
            <a:spLocks noGrp="1"/>
          </p:cNvSpPr>
          <p:nvPr>
            <p:ph type="ftr" sz="quarter" idx="12"/>
          </p:nvPr>
        </p:nvSpPr>
        <p:spPr/>
        <p:txBody>
          <a:bodyPr rtlCol="0"/>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Tree>
    <p:extLst>
      <p:ext uri="{BB962C8B-B14F-4D97-AF65-F5344CB8AC3E}">
        <p14:creationId xmlns:p14="http://schemas.microsoft.com/office/powerpoint/2010/main" val="155298066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lstStyle>
            <a:lvl1pPr>
              <a:defRPr/>
            </a:lvl1pPr>
          </a:lstStyle>
          <a:p>
            <a:r>
              <a:rPr lang="en-US" smtClean="0"/>
              <a:t>Click to edit Master title style</a:t>
            </a:r>
            <a:endParaRPr lang="en-US"/>
          </a:p>
        </p:txBody>
      </p:sp>
      <p:sp>
        <p:nvSpPr>
          <p:cNvPr id="11" name="Content Placeholder 10"/>
          <p:cNvSpPr>
            <a:spLocks noGrp="1"/>
          </p:cNvSpPr>
          <p:nvPr>
            <p:ph sz="quarter" idx="2"/>
          </p:nvPr>
        </p:nvSpPr>
        <p:spPr>
          <a:xfrm>
            <a:off x="609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12"/>
          <p:cNvSpPr>
            <a:spLocks noGrp="1"/>
          </p:cNvSpPr>
          <p:nvPr>
            <p:ph sz="quarter" idx="4"/>
          </p:nvPr>
        </p:nvSpPr>
        <p:spPr>
          <a:xfrm>
            <a:off x="4800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7" name="Date Placeholder 9"/>
          <p:cNvSpPr>
            <a:spLocks noGrp="1"/>
          </p:cNvSpPr>
          <p:nvPr>
            <p:ph type="dt" sz="half" idx="10"/>
          </p:nvPr>
        </p:nvSpPr>
        <p:spPr/>
        <p:txBody>
          <a:bodyPr rtlCol="0"/>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8" name="Slide Number Placeholder 11"/>
          <p:cNvSpPr>
            <a:spLocks noGrp="1"/>
          </p:cNvSpPr>
          <p:nvPr>
            <p:ph type="sldNum" sz="quarter" idx="11"/>
          </p:nvPr>
        </p:nvSpPr>
        <p:spPr/>
        <p:txBody>
          <a:bodyPr rtlCol="0"/>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3EFB8E44-4269-4A09-A7B8-9309262BCEF0}"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
        <p:nvSpPr>
          <p:cNvPr id="9" name="Footer Placeholder 13"/>
          <p:cNvSpPr>
            <a:spLocks noGrp="1"/>
          </p:cNvSpPr>
          <p:nvPr>
            <p:ph type="ftr" sz="quarter" idx="12"/>
          </p:nvPr>
        </p:nvSpPr>
        <p:spPr/>
        <p:txBody>
          <a:bodyPr rtlCol="0"/>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Tree>
    <p:extLst>
      <p:ext uri="{BB962C8B-B14F-4D97-AF65-F5344CB8AC3E}">
        <p14:creationId xmlns:p14="http://schemas.microsoft.com/office/powerpoint/2010/main" val="325593902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1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4" name="Footer Placeholder 2"/>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5" name="Slide Number Placeholder 22"/>
          <p:cNvSpPr>
            <a:spLocks noGrp="1"/>
          </p:cNvSpPr>
          <p:nvPr>
            <p:ph type="sldNum" sz="quarter" idx="12"/>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841980C-ECE8-442B-B058-DD12A4A58520}"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164067353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3" name="Footer Placeholder 2"/>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4" name="Slide Number Placeholder 3"/>
          <p:cNvSpPr>
            <a:spLocks noGrp="1"/>
          </p:cNvSpPr>
          <p:nvPr>
            <p:ph type="sldNum" sz="quarter" idx="12"/>
          </p:nvPr>
        </p:nvSpPr>
        <p:spPr>
          <a:xfrm>
            <a:off x="0" y="6248400"/>
            <a:ext cx="533400" cy="381000"/>
          </a:xfrm>
        </p:spPr>
        <p:txBody>
          <a:bodyPr/>
          <a:lstStyle>
            <a:lvl1pPr>
              <a:defRPr smtClean="0">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11287FF1-DFB1-4D22-BC51-D7FC05F96716}" type="slidenum">
              <a:rPr kumimoji="0" lang="ar-SA" sz="1400" b="1" i="0" u="none" strike="noStrike" kern="1200" cap="none" spc="0" normalizeH="0" baseline="0" noProof="0">
                <a:ln>
                  <a:noFill/>
                </a:ln>
                <a:solidFill>
                  <a:srgbClr val="775F55"/>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775F55"/>
              </a:solidFill>
              <a:effectLst/>
              <a:uLnTx/>
              <a:uFillTx/>
              <a:latin typeface="Tw Cen MT"/>
              <a:ea typeface="+mn-ea"/>
              <a:cs typeface="+mn-cs"/>
            </a:endParaRPr>
          </a:p>
        </p:txBody>
      </p:sp>
    </p:spTree>
    <p:extLst>
      <p:ext uri="{BB962C8B-B14F-4D97-AF65-F5344CB8AC3E}">
        <p14:creationId xmlns:p14="http://schemas.microsoft.com/office/powerpoint/2010/main" val="251941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lstStyle>
            <a:lvl1pPr algn="l">
              <a:buNone/>
              <a:defRPr sz="4400" b="0"/>
            </a:lvl1pPr>
          </a:lstStyle>
          <a:p>
            <a:r>
              <a:rPr lang="en-US" smtClean="0"/>
              <a:t>Click to edit Master title style</a:t>
            </a:r>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1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6" name="Footer Placeholder 2"/>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7" name="Slide Number Placeholder 22"/>
          <p:cNvSpPr>
            <a:spLocks noGrp="1"/>
          </p:cNvSpPr>
          <p:nvPr>
            <p:ph type="sldNum" sz="quarter" idx="12"/>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D5AC559F-E4AB-4FCB-BC91-CEE445637B5B}"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198924981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3">
        <a:schemeClr val="bg2"/>
      </p:bgRef>
    </p:bg>
    <p:spTree>
      <p:nvGrpSpPr>
        <p:cNvPr id="1" name=""/>
        <p:cNvGrpSpPr/>
        <p:nvPr/>
      </p:nvGrpSpPr>
      <p:grpSpPr>
        <a:xfrm>
          <a:off x="0" y="0"/>
          <a:ext cx="0" cy="0"/>
          <a:chOff x="0" y="0"/>
          <a:chExt cx="0" cy="0"/>
        </a:xfrm>
      </p:grpSpPr>
      <p:sp>
        <p:nvSpPr>
          <p:cNvPr id="5" name="Rectangle 4"/>
          <p:cNvSpPr/>
          <p:nvPr/>
        </p:nvSpPr>
        <p:spPr bwMode="white">
          <a:xfrm>
            <a:off x="-9525" y="4572000"/>
            <a:ext cx="9144000" cy="887413"/>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6" name="Rectangle 5"/>
          <p:cNvSpPr/>
          <p:nvPr/>
        </p:nvSpPr>
        <p:spPr>
          <a:xfrm>
            <a:off x="-9525" y="4664075"/>
            <a:ext cx="1463675" cy="712788"/>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7" name="Rectangle 6"/>
          <p:cNvSpPr/>
          <p:nvPr/>
        </p:nvSpPr>
        <p:spPr>
          <a:xfrm>
            <a:off x="1544638" y="4654550"/>
            <a:ext cx="7599362" cy="712788"/>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8" name="Rectangle 7"/>
          <p:cNvSpPr/>
          <p:nvPr/>
        </p:nvSpPr>
        <p:spPr bwMode="white">
          <a:xfrm>
            <a:off x="1447800" y="0"/>
            <a:ext cx="100013" cy="6867525"/>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a:r>
              <a:rPr lang="en-US" smtClean="0"/>
              <a:t>Click to edit Master text styles</a:t>
            </a:r>
          </a:p>
        </p:txBody>
      </p:sp>
      <p:sp>
        <p:nvSpPr>
          <p:cNvPr id="2" name="Title 1"/>
          <p:cNvSpPr>
            <a:spLocks noGrp="1"/>
          </p:cNvSpPr>
          <p:nvPr>
            <p:ph type="title"/>
          </p:nvPr>
        </p:nvSpPr>
        <p:spPr>
          <a:xfrm>
            <a:off x="1600200" y="4648200"/>
            <a:ext cx="7315200" cy="685800"/>
          </a:xfrm>
        </p:spPr>
        <p:txBody>
          <a:bodyPr/>
          <a:lstStyle>
            <a:lvl1pPr algn="l">
              <a:buNone/>
              <a:defRPr sz="2800" b="0">
                <a:solidFill>
                  <a:srgbClr val="FFFFFF"/>
                </a:solidFill>
              </a:defRPr>
            </a:lvl1pPr>
          </a:lstStyle>
          <a:p>
            <a:r>
              <a:rPr lang="en-US" smtClean="0"/>
              <a:t>Click to edit Master title style</a:t>
            </a:r>
            <a:endParaRPr lang="en-US"/>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normAutofit/>
          </a:bodyPr>
          <a:lstStyle>
            <a:lvl1pPr marL="0" indent="0">
              <a:buNone/>
              <a:defRPr sz="3200"/>
            </a:lvl1pPr>
          </a:lstStyle>
          <a:p>
            <a:pPr lvl="0"/>
            <a:r>
              <a:rPr lang="en-US" noProof="0" smtClean="0"/>
              <a:t>Click icon to add picture</a:t>
            </a:r>
            <a:endParaRPr lang="en-US" noProof="0" dirty="0"/>
          </a:p>
        </p:txBody>
      </p:sp>
      <p:sp>
        <p:nvSpPr>
          <p:cNvPr id="9" name="Date Placeholder 11"/>
          <p:cNvSpPr>
            <a:spLocks noGrp="1"/>
          </p:cNvSpPr>
          <p:nvPr>
            <p:ph type="dt" sz="half" idx="10"/>
          </p:nvPr>
        </p:nvSpPr>
        <p:spPr>
          <a:xfrm>
            <a:off x="6248400" y="6248400"/>
            <a:ext cx="2667000" cy="365125"/>
          </a:xfrm>
        </p:spPr>
        <p:txBody>
          <a:bodyPr rtlCol="0"/>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10" name="Slide Number Placeholder 12"/>
          <p:cNvSpPr>
            <a:spLocks noGrp="1"/>
          </p:cNvSpPr>
          <p:nvPr>
            <p:ph type="sldNum" sz="quarter" idx="11"/>
          </p:nvPr>
        </p:nvSpPr>
        <p:spPr>
          <a:xfrm>
            <a:off x="0" y="4667250"/>
            <a:ext cx="1447800" cy="663575"/>
          </a:xfrm>
        </p:spPr>
        <p:txBody>
          <a:bodyPr rtlCol="0"/>
          <a:lstStyle>
            <a:lvl1pPr>
              <a:defRPr sz="2800" smtClean="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F620F28-5AF5-423A-9ED3-6F2BC5961877}" type="slidenum">
              <a:rPr kumimoji="0" lang="ar-SA" sz="28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2800" b="1" i="0" u="none" strike="noStrike" kern="1200" cap="none" spc="0" normalizeH="0" baseline="0" noProof="0">
              <a:ln>
                <a:noFill/>
              </a:ln>
              <a:solidFill>
                <a:srgbClr val="FFFFFF"/>
              </a:solidFill>
              <a:effectLst/>
              <a:uLnTx/>
              <a:uFillTx/>
              <a:latin typeface="Tw Cen MT"/>
              <a:ea typeface="+mn-ea"/>
              <a:cs typeface="+mn-cs"/>
            </a:endParaRPr>
          </a:p>
        </p:txBody>
      </p:sp>
      <p:sp>
        <p:nvSpPr>
          <p:cNvPr id="11" name="Footer Placeholder 13"/>
          <p:cNvSpPr>
            <a:spLocks noGrp="1"/>
          </p:cNvSpPr>
          <p:nvPr>
            <p:ph type="ftr" sz="quarter" idx="12"/>
          </p:nvPr>
        </p:nvSpPr>
        <p:spPr>
          <a:xfrm>
            <a:off x="1600200" y="6248400"/>
            <a:ext cx="4572000" cy="365125"/>
          </a:xfrm>
        </p:spPr>
        <p:txBody>
          <a:bodyPr rtlCol="0"/>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Tree>
    <p:extLst>
      <p:ext uri="{BB962C8B-B14F-4D97-AF65-F5344CB8AC3E}">
        <p14:creationId xmlns:p14="http://schemas.microsoft.com/office/powerpoint/2010/main" val="329314338"/>
      </p:ext>
    </p:extLst>
  </p:cSld>
  <p:clrMapOvr>
    <a:overrideClrMapping bg1="lt1" tx1="dk1" bg2="lt2" tx2="dk2" accent1="accent1" accent2="accent2" accent3="accent3" accent4="accent4" accent5="accent5" accent6="accent6" hlink="hlink" folHlink="folHlink"/>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5" name="Footer Placeholder 2"/>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6" name="Slide Number Placeholder 22"/>
          <p:cNvSpPr>
            <a:spLocks noGrp="1"/>
          </p:cNvSpPr>
          <p:nvPr>
            <p:ph type="sldNum" sz="quarter" idx="12"/>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DCACDC47-B24C-4D06-96A9-3EAEB60656C4}"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108980391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
          <p:cNvSpPr/>
          <p:nvPr/>
        </p:nvSpPr>
        <p:spPr bwMode="white">
          <a:xfrm>
            <a:off x="6096000" y="0"/>
            <a:ext cx="320675"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5" name="Rectangle 4"/>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6" name="Rectangle 5"/>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2" name="Vertical Title 1"/>
          <p:cNvSpPr>
            <a:spLocks noGrp="1"/>
          </p:cNvSpPr>
          <p:nvPr>
            <p:ph type="title" orient="vert"/>
          </p:nvPr>
        </p:nvSpPr>
        <p:spPr>
          <a:xfrm>
            <a:off x="6553200" y="609600"/>
            <a:ext cx="2057400" cy="55165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6553200" y="6248400"/>
            <a:ext cx="2209800" cy="365125"/>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8" name="Footer Placeholder 4"/>
          <p:cNvSpPr>
            <a:spLocks noGrp="1"/>
          </p:cNvSpPr>
          <p:nvPr>
            <p:ph type="ftr" sz="quarter" idx="11"/>
          </p:nvPr>
        </p:nvSpPr>
        <p:spPr>
          <a:xfrm>
            <a:off x="457200" y="6248400"/>
            <a:ext cx="5573713" cy="365125"/>
          </a:xfrm>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9" name="Slide Number Placeholder 5"/>
          <p:cNvSpPr>
            <a:spLocks noGrp="1"/>
          </p:cNvSpPr>
          <p:nvPr>
            <p:ph type="sldNum" sz="quarter" idx="12"/>
          </p:nvPr>
        </p:nvSpPr>
        <p:spPr>
          <a:xfrm rot="5400000">
            <a:off x="5989638" y="144462"/>
            <a:ext cx="533400" cy="244475"/>
          </a:xfrm>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6A37BA8B-D8BD-49F7-81D1-2775CD17BB01}"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747999475"/>
      </p:ext>
    </p:extLst>
  </p:cSld>
  <p:clrMapOvr>
    <a:overrideClrMapping bg1="lt1" tx1="dk1" bg2="lt2" tx2="dk2" accent1="accent1" accent2="accent2" accent3="accent3" accent4="accent4" accent5="accent5" accent6="accent6" hlink="hlink" folHlink="folHlink"/>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4" name="Rectangle 3"/>
          <p:cNvSpPr/>
          <p:nvPr/>
        </p:nvSpPr>
        <p:spPr bwMode="white">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5" name="Rectangle 4"/>
          <p:cNvSpPr/>
          <p:nvPr/>
        </p:nvSpPr>
        <p:spPr>
          <a:xfrm>
            <a:off x="-9525" y="6053138"/>
            <a:ext cx="2249488" cy="712787"/>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6" name="Rectangle 5"/>
          <p:cNvSpPr/>
          <p:nvPr/>
        </p:nvSpPr>
        <p:spPr>
          <a:xfrm>
            <a:off x="2359025" y="6043613"/>
            <a:ext cx="6784975" cy="714375"/>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8" name="Title 7"/>
          <p:cNvSpPr>
            <a:spLocks noGrp="1"/>
          </p:cNvSpPr>
          <p:nvPr>
            <p:ph type="ctrTitle"/>
          </p:nvPr>
        </p:nvSpPr>
        <p:spPr>
          <a:xfrm>
            <a:off x="2362200" y="4038600"/>
            <a:ext cx="6477000" cy="1828800"/>
          </a:xfrm>
        </p:spPr>
        <p:txBody>
          <a:bodyPr anchor="b"/>
          <a:lstStyle>
            <a:lvl1pPr>
              <a:defRPr cap="all" baseline="0"/>
            </a:lvl1pPr>
          </a:lstStyle>
          <a:p>
            <a:r>
              <a:rPr lang="en-US" smtClean="0"/>
              <a:t>Click to edit Master title style</a:t>
            </a:r>
            <a:endParaRPr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7" name="Date Placeholder 27"/>
          <p:cNvSpPr>
            <a:spLocks noGrp="1"/>
          </p:cNvSpPr>
          <p:nvPr>
            <p:ph type="dt" sz="half" idx="10"/>
          </p:nvPr>
        </p:nvSpPr>
        <p:spPr>
          <a:xfrm>
            <a:off x="76200" y="6069013"/>
            <a:ext cx="2057400" cy="685800"/>
          </a:xfrm>
        </p:spPr>
        <p:txBody>
          <a:bodyPr>
            <a:noAutofit/>
          </a:bodyPr>
          <a:lstStyle>
            <a:lvl1pPr algn="ctr">
              <a:defRPr sz="200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Tw Cen MT"/>
              <a:ea typeface="+mn-ea"/>
              <a:cs typeface="+mn-cs"/>
            </a:endParaRPr>
          </a:p>
        </p:txBody>
      </p:sp>
      <p:sp>
        <p:nvSpPr>
          <p:cNvPr id="10" name="Footer Placeholder 16"/>
          <p:cNvSpPr>
            <a:spLocks noGrp="1"/>
          </p:cNvSpPr>
          <p:nvPr>
            <p:ph type="ftr" sz="quarter" idx="11"/>
          </p:nvPr>
        </p:nvSpPr>
        <p:spPr>
          <a:xfrm>
            <a:off x="2085975" y="236538"/>
            <a:ext cx="5867400" cy="365125"/>
          </a:xfrm>
        </p:spPr>
        <p:txBody>
          <a:bodyPr/>
          <a:lstStyle>
            <a:lvl1pPr algn="r">
              <a:defRPr>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EBDDC3"/>
              </a:solidFill>
              <a:effectLst/>
              <a:uLnTx/>
              <a:uFillTx/>
              <a:latin typeface="Tw Cen MT"/>
              <a:ea typeface="+mn-ea"/>
              <a:cs typeface="+mn-cs"/>
            </a:endParaRPr>
          </a:p>
        </p:txBody>
      </p:sp>
      <p:sp>
        <p:nvSpPr>
          <p:cNvPr id="11" name="Slide Number Placeholder 28"/>
          <p:cNvSpPr>
            <a:spLocks noGrp="1"/>
          </p:cNvSpPr>
          <p:nvPr>
            <p:ph type="sldNum" sz="quarter" idx="12"/>
          </p:nvPr>
        </p:nvSpPr>
        <p:spPr>
          <a:xfrm>
            <a:off x="8001000" y="228600"/>
            <a:ext cx="838200" cy="381000"/>
          </a:xfrm>
        </p:spPr>
        <p:txBody>
          <a:bodyPr/>
          <a:lstStyle>
            <a:lvl1pPr>
              <a:defRPr smtClean="0">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692C81E3-6CF7-4314-AAAE-E6303F32B158}" type="slidenum">
              <a:rPr kumimoji="0" lang="ar-SA" sz="1400" b="1" i="0" u="none" strike="noStrike" kern="1200" cap="none" spc="0" normalizeH="0" baseline="0" noProof="0">
                <a:ln>
                  <a:noFill/>
                </a:ln>
                <a:solidFill>
                  <a:srgbClr val="EBDDC3"/>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EBDDC3"/>
              </a:solidFill>
              <a:effectLst/>
              <a:uLnTx/>
              <a:uFillTx/>
              <a:latin typeface="Tw Cen MT"/>
              <a:ea typeface="+mn-ea"/>
              <a:cs typeface="+mn-cs"/>
            </a:endParaRPr>
          </a:p>
        </p:txBody>
      </p:sp>
    </p:spTree>
    <p:extLst>
      <p:ext uri="{BB962C8B-B14F-4D97-AF65-F5344CB8AC3E}">
        <p14:creationId xmlns:p14="http://schemas.microsoft.com/office/powerpoint/2010/main" val="1641894253"/>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0"/>
          <p:cNvSpPr/>
          <p:nvPr/>
        </p:nvSpPr>
        <p:spPr bwMode="white">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5" name="Rectangle 11"/>
          <p:cNvSpPr/>
          <p:nvPr/>
        </p:nvSpPr>
        <p:spPr>
          <a:xfrm>
            <a:off x="-9525" y="6053138"/>
            <a:ext cx="2249488" cy="712787"/>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6" name="Rectangle 14"/>
          <p:cNvSpPr/>
          <p:nvPr/>
        </p:nvSpPr>
        <p:spPr>
          <a:xfrm>
            <a:off x="2359025" y="6043613"/>
            <a:ext cx="6784975" cy="714375"/>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pic>
        <p:nvPicPr>
          <p:cNvPr id="7" name="Picture 10" descr="C:\Documents and Settings\Bucky Boaz\My Documents\My Pictures\2002-03-16\x-ray-01.jp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ctrTitle"/>
          </p:nvPr>
        </p:nvSpPr>
        <p:spPr>
          <a:xfrm>
            <a:off x="2362200" y="4038600"/>
            <a:ext cx="6477000" cy="1828800"/>
          </a:xfrm>
        </p:spPr>
        <p:txBody>
          <a:bodyPr anchor="b"/>
          <a:lstStyle>
            <a:lvl1pPr>
              <a:defRPr cap="all" baseline="0"/>
            </a:lvl1pPr>
          </a:lstStyle>
          <a:p>
            <a:r>
              <a:rPr lang="en-US" smtClean="0"/>
              <a:t>Click to edit Master title style</a:t>
            </a:r>
            <a:endParaRPr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10" name="Date Placeholder 27"/>
          <p:cNvSpPr>
            <a:spLocks noGrp="1"/>
          </p:cNvSpPr>
          <p:nvPr>
            <p:ph type="dt" sz="half" idx="10"/>
          </p:nvPr>
        </p:nvSpPr>
        <p:spPr>
          <a:xfrm>
            <a:off x="76200" y="6069013"/>
            <a:ext cx="2057400" cy="685800"/>
          </a:xfrm>
        </p:spPr>
        <p:txBody>
          <a:bodyPr>
            <a:noAutofit/>
          </a:bodyPr>
          <a:lstStyle>
            <a:lvl1pPr algn="ctr">
              <a:defRPr sz="2000">
                <a:solidFill>
                  <a:srgbClr val="FFFFFF"/>
                </a:solidFill>
              </a:defRPr>
            </a:lvl1pPr>
          </a:lstStyle>
          <a:p>
            <a:pPr>
              <a:defRPr/>
            </a:pPr>
            <a:endParaRPr lang="en-US"/>
          </a:p>
        </p:txBody>
      </p:sp>
      <p:sp>
        <p:nvSpPr>
          <p:cNvPr id="11" name="Footer Placeholder 16"/>
          <p:cNvSpPr>
            <a:spLocks noGrp="1"/>
          </p:cNvSpPr>
          <p:nvPr>
            <p:ph type="ftr" sz="quarter" idx="11"/>
          </p:nvPr>
        </p:nvSpPr>
        <p:spPr>
          <a:xfrm>
            <a:off x="2085975" y="236538"/>
            <a:ext cx="5867400" cy="365125"/>
          </a:xfrm>
        </p:spPr>
        <p:txBody>
          <a:bodyPr/>
          <a:lstStyle>
            <a:lvl1pPr algn="r">
              <a:defRPr>
                <a:solidFill>
                  <a:schemeClr val="tx2"/>
                </a:solidFill>
              </a:defRPr>
            </a:lvl1pPr>
          </a:lstStyle>
          <a:p>
            <a:pPr>
              <a:defRPr/>
            </a:pPr>
            <a:endParaRPr lang="en-US">
              <a:solidFill>
                <a:srgbClr val="EBDDC3"/>
              </a:solidFill>
            </a:endParaRPr>
          </a:p>
        </p:txBody>
      </p:sp>
      <p:sp>
        <p:nvSpPr>
          <p:cNvPr id="12" name="Slide Number Placeholder 28"/>
          <p:cNvSpPr>
            <a:spLocks noGrp="1"/>
          </p:cNvSpPr>
          <p:nvPr>
            <p:ph type="sldNum" sz="quarter" idx="12"/>
          </p:nvPr>
        </p:nvSpPr>
        <p:spPr>
          <a:xfrm>
            <a:off x="8001000" y="228600"/>
            <a:ext cx="838200" cy="381000"/>
          </a:xfrm>
        </p:spPr>
        <p:txBody>
          <a:bodyPr/>
          <a:lstStyle>
            <a:lvl1pPr>
              <a:defRPr smtClean="0">
                <a:solidFill>
                  <a:schemeClr val="tx2"/>
                </a:solidFill>
              </a:defRPr>
            </a:lvl1pPr>
          </a:lstStyle>
          <a:p>
            <a:pPr>
              <a:defRPr/>
            </a:pPr>
            <a:fld id="{4AD75F4E-6B14-4496-B5DD-09469740E8DE}" type="slidenum">
              <a:rPr lang="en-US">
                <a:solidFill>
                  <a:srgbClr val="EBDDC3"/>
                </a:solidFill>
              </a:rPr>
              <a:pPr>
                <a:defRPr/>
              </a:pPr>
              <a:t>‹#›</a:t>
            </a:fld>
            <a:endParaRPr lang="en-US">
              <a:solidFill>
                <a:srgbClr val="EBDDC3"/>
              </a:solidFill>
            </a:endParaRPr>
          </a:p>
        </p:txBody>
      </p:sp>
    </p:spTree>
    <p:extLst>
      <p:ext uri="{BB962C8B-B14F-4D97-AF65-F5344CB8AC3E}">
        <p14:creationId xmlns:p14="http://schemas.microsoft.com/office/powerpoint/2010/main" val="1101793264"/>
      </p:ext>
    </p:extLst>
  </p:cSld>
  <p:clrMapOvr>
    <a:overrideClrMapping bg1="dk1" tx1="lt1" bg2="dk2" tx2="lt2" accent1="accent1" accent2="accent2" accent3="accent3" accent4="accent4" accent5="accent5" accent6="accent6" hlink="hlink" folHlink="folHlink"/>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8153400" cy="990600"/>
          </a:xfrm>
        </p:spPr>
        <p:txBody>
          <a:bodyPr/>
          <a:lstStyle/>
          <a:p>
            <a:r>
              <a:rPr lang="en-US" smtClean="0"/>
              <a:t>Click to edit Master title style</a:t>
            </a:r>
            <a:endParaRPr lang="en-US"/>
          </a:p>
        </p:txBody>
      </p:sp>
      <p:sp>
        <p:nvSpPr>
          <p:cNvPr id="8" name="Content Placeholder 7"/>
          <p:cNvSpPr>
            <a:spLocks noGrp="1"/>
          </p:cNvSpPr>
          <p:nvPr>
            <p:ph sz="quarter" idx="1"/>
          </p:nvPr>
        </p:nvSpPr>
        <p:spPr>
          <a:xfrm>
            <a:off x="612648" y="1600200"/>
            <a:ext cx="81534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5" name="Footer Placeholder 2"/>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6" name="Slide Number Placeholder 22"/>
          <p:cNvSpPr>
            <a:spLocks noGrp="1"/>
          </p:cNvSpPr>
          <p:nvPr>
            <p:ph type="sldNum" sz="quarter" idx="12"/>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3D9A6913-0D59-49A6-A3FE-8714250EC376}"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316827866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4" name="Rectangle 3"/>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5" name="Rectangle 4"/>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6" name="Rectangle 5"/>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3" name="Text Placeholder 2"/>
          <p:cNvSpPr>
            <a:spLocks noGrp="1"/>
          </p:cNvSpPr>
          <p:nvPr>
            <p:ph type="body" idx="1"/>
          </p:nvPr>
        </p:nvSpPr>
        <p:spPr>
          <a:xfrm>
            <a:off x="1371600" y="2743200"/>
            <a:ext cx="7123113" cy="1673225"/>
          </a:xfrm>
        </p:spPr>
        <p:txBody>
          <a:bodyPr/>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lang="en-US" smtClean="0"/>
              <a:t>Click to edit Master title style</a:t>
            </a:r>
            <a:endParaRPr lang="en-US"/>
          </a:p>
        </p:txBody>
      </p:sp>
      <p:sp>
        <p:nvSpPr>
          <p:cNvPr id="7" name="Date Placeholder 11"/>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8" name="Slide Number Placeholder 12"/>
          <p:cNvSpPr>
            <a:spLocks noGrp="1"/>
          </p:cNvSpPr>
          <p:nvPr>
            <p:ph type="sldNum" sz="quarter" idx="11"/>
          </p:nvPr>
        </p:nvSpPr>
        <p:spPr>
          <a:xfrm>
            <a:off x="0" y="1752600"/>
            <a:ext cx="1295400" cy="701675"/>
          </a:xfrm>
        </p:spPr>
        <p:txBody>
          <a:bodyPr>
            <a:noAutofit/>
          </a:bodyPr>
          <a:lstStyle>
            <a:lvl1pPr>
              <a:defRPr sz="2400" smtClean="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3BD5E903-FF7B-4CA4-8837-9EA06E802669}" type="slidenum">
              <a:rPr kumimoji="0" lang="ar-SA" sz="2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2400" b="1" i="0" u="none" strike="noStrike" kern="1200" cap="none" spc="0" normalizeH="0" baseline="0" noProof="0">
              <a:ln>
                <a:noFill/>
              </a:ln>
              <a:solidFill>
                <a:srgbClr val="FFFFFF"/>
              </a:solidFill>
              <a:effectLst/>
              <a:uLnTx/>
              <a:uFillTx/>
              <a:latin typeface="Tw Cen MT"/>
              <a:ea typeface="+mn-ea"/>
              <a:cs typeface="+mn-cs"/>
            </a:endParaRPr>
          </a:p>
        </p:txBody>
      </p:sp>
      <p:sp>
        <p:nvSpPr>
          <p:cNvPr id="9" name="Footer Placeholder 13"/>
          <p:cNvSpPr>
            <a:spLocks noGrp="1"/>
          </p:cNvSpPr>
          <p:nvPr>
            <p:ph type="ftr"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Tree>
    <p:extLst>
      <p:ext uri="{BB962C8B-B14F-4D97-AF65-F5344CB8AC3E}">
        <p14:creationId xmlns:p14="http://schemas.microsoft.com/office/powerpoint/2010/main" val="233963047"/>
      </p:ext>
    </p:extLst>
  </p:cSld>
  <p:clrMapOvr>
    <a:overrideClrMapping bg1="lt1" tx1="dk1" bg2="lt2" tx2="dk2" accent1="accent1" accent2="accent2" accent3="accent3" accent4="accent4" accent5="accent5" accent6="accent6" hlink="hlink" folHlink="folHlink"/>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
          </p:nvPr>
        </p:nvSpPr>
        <p:spPr>
          <a:xfrm>
            <a:off x="609600"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2"/>
          </p:nvPr>
        </p:nvSpPr>
        <p:spPr>
          <a:xfrm>
            <a:off x="4844901"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7"/>
          <p:cNvSpPr>
            <a:spLocks noGrp="1"/>
          </p:cNvSpPr>
          <p:nvPr>
            <p:ph type="dt" sz="half" idx="10"/>
          </p:nvPr>
        </p:nvSpPr>
        <p:spPr/>
        <p:txBody>
          <a:bodyPr rtlCol="0"/>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6" name="Slide Number Placeholder 9"/>
          <p:cNvSpPr>
            <a:spLocks noGrp="1"/>
          </p:cNvSpPr>
          <p:nvPr>
            <p:ph type="sldNum" sz="quarter" idx="11"/>
          </p:nvPr>
        </p:nvSpPr>
        <p:spPr/>
        <p:txBody>
          <a:bodyPr rtlCol="0"/>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DF947A6-0B2F-4649-A6E7-E43CEFB26D89}"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
        <p:nvSpPr>
          <p:cNvPr id="7" name="Footer Placeholder 11"/>
          <p:cNvSpPr>
            <a:spLocks noGrp="1"/>
          </p:cNvSpPr>
          <p:nvPr>
            <p:ph type="ftr" sz="quarter" idx="12"/>
          </p:nvPr>
        </p:nvSpPr>
        <p:spPr/>
        <p:txBody>
          <a:bodyPr rtlCol="0"/>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Tree>
    <p:extLst>
      <p:ext uri="{BB962C8B-B14F-4D97-AF65-F5344CB8AC3E}">
        <p14:creationId xmlns:p14="http://schemas.microsoft.com/office/powerpoint/2010/main" val="297265143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lstStyle>
            <a:lvl1pPr>
              <a:defRPr/>
            </a:lvl1pPr>
          </a:lstStyle>
          <a:p>
            <a:r>
              <a:rPr lang="en-US" smtClean="0"/>
              <a:t>Click to edit Master title style</a:t>
            </a:r>
            <a:endParaRPr lang="en-US"/>
          </a:p>
        </p:txBody>
      </p:sp>
      <p:sp>
        <p:nvSpPr>
          <p:cNvPr id="11" name="Content Placeholder 10"/>
          <p:cNvSpPr>
            <a:spLocks noGrp="1"/>
          </p:cNvSpPr>
          <p:nvPr>
            <p:ph sz="quarter" idx="2"/>
          </p:nvPr>
        </p:nvSpPr>
        <p:spPr>
          <a:xfrm>
            <a:off x="609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12"/>
          <p:cNvSpPr>
            <a:spLocks noGrp="1"/>
          </p:cNvSpPr>
          <p:nvPr>
            <p:ph sz="quarter" idx="4"/>
          </p:nvPr>
        </p:nvSpPr>
        <p:spPr>
          <a:xfrm>
            <a:off x="4800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7" name="Date Placeholder 9"/>
          <p:cNvSpPr>
            <a:spLocks noGrp="1"/>
          </p:cNvSpPr>
          <p:nvPr>
            <p:ph type="dt" sz="half" idx="10"/>
          </p:nvPr>
        </p:nvSpPr>
        <p:spPr/>
        <p:txBody>
          <a:bodyPr rtlCol="0"/>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8" name="Slide Number Placeholder 11"/>
          <p:cNvSpPr>
            <a:spLocks noGrp="1"/>
          </p:cNvSpPr>
          <p:nvPr>
            <p:ph type="sldNum" sz="quarter" idx="11"/>
          </p:nvPr>
        </p:nvSpPr>
        <p:spPr/>
        <p:txBody>
          <a:bodyPr rtlCol="0"/>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3EFB8E44-4269-4A09-A7B8-9309262BCEF0}"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
        <p:nvSpPr>
          <p:cNvPr id="9" name="Footer Placeholder 13"/>
          <p:cNvSpPr>
            <a:spLocks noGrp="1"/>
          </p:cNvSpPr>
          <p:nvPr>
            <p:ph type="ftr" sz="quarter" idx="12"/>
          </p:nvPr>
        </p:nvSpPr>
        <p:spPr/>
        <p:txBody>
          <a:bodyPr rtlCol="0"/>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Tree>
    <p:extLst>
      <p:ext uri="{BB962C8B-B14F-4D97-AF65-F5344CB8AC3E}">
        <p14:creationId xmlns:p14="http://schemas.microsoft.com/office/powerpoint/2010/main" val="22897675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1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4" name="Footer Placeholder 2"/>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5" name="Slide Number Placeholder 22"/>
          <p:cNvSpPr>
            <a:spLocks noGrp="1"/>
          </p:cNvSpPr>
          <p:nvPr>
            <p:ph type="sldNum" sz="quarter" idx="12"/>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841980C-ECE8-442B-B058-DD12A4A58520}"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3463286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3" name="Footer Placeholder 2"/>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4" name="Slide Number Placeholder 3"/>
          <p:cNvSpPr>
            <a:spLocks noGrp="1"/>
          </p:cNvSpPr>
          <p:nvPr>
            <p:ph type="sldNum" sz="quarter" idx="12"/>
          </p:nvPr>
        </p:nvSpPr>
        <p:spPr>
          <a:xfrm>
            <a:off x="0" y="6248400"/>
            <a:ext cx="533400" cy="381000"/>
          </a:xfrm>
        </p:spPr>
        <p:txBody>
          <a:bodyPr/>
          <a:lstStyle>
            <a:lvl1pPr>
              <a:defRPr smtClean="0">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11287FF1-DFB1-4D22-BC51-D7FC05F96716}" type="slidenum">
              <a:rPr kumimoji="0" lang="ar-SA" sz="1400" b="1" i="0" u="none" strike="noStrike" kern="1200" cap="none" spc="0" normalizeH="0" baseline="0" noProof="0">
                <a:ln>
                  <a:noFill/>
                </a:ln>
                <a:solidFill>
                  <a:srgbClr val="775F55"/>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775F55"/>
              </a:solidFill>
              <a:effectLst/>
              <a:uLnTx/>
              <a:uFillTx/>
              <a:latin typeface="Tw Cen MT"/>
              <a:ea typeface="+mn-ea"/>
              <a:cs typeface="+mn-cs"/>
            </a:endParaRPr>
          </a:p>
        </p:txBody>
      </p:sp>
    </p:spTree>
    <p:extLst>
      <p:ext uri="{BB962C8B-B14F-4D97-AF65-F5344CB8AC3E}">
        <p14:creationId xmlns:p14="http://schemas.microsoft.com/office/powerpoint/2010/main" val="344936241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lstStyle>
            <a:lvl1pPr algn="l">
              <a:buNone/>
              <a:defRPr sz="4400" b="0"/>
            </a:lvl1pPr>
          </a:lstStyle>
          <a:p>
            <a:r>
              <a:rPr lang="en-US" smtClean="0"/>
              <a:t>Click to edit Master title style</a:t>
            </a:r>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1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6" name="Footer Placeholder 2"/>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7" name="Slide Number Placeholder 22"/>
          <p:cNvSpPr>
            <a:spLocks noGrp="1"/>
          </p:cNvSpPr>
          <p:nvPr>
            <p:ph type="sldNum" sz="quarter" idx="12"/>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D5AC559F-E4AB-4FCB-BC91-CEE445637B5B}"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200767110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3">
        <a:schemeClr val="bg2"/>
      </p:bgRef>
    </p:bg>
    <p:spTree>
      <p:nvGrpSpPr>
        <p:cNvPr id="1" name=""/>
        <p:cNvGrpSpPr/>
        <p:nvPr/>
      </p:nvGrpSpPr>
      <p:grpSpPr>
        <a:xfrm>
          <a:off x="0" y="0"/>
          <a:ext cx="0" cy="0"/>
          <a:chOff x="0" y="0"/>
          <a:chExt cx="0" cy="0"/>
        </a:xfrm>
      </p:grpSpPr>
      <p:sp>
        <p:nvSpPr>
          <p:cNvPr id="5" name="Rectangle 4"/>
          <p:cNvSpPr/>
          <p:nvPr/>
        </p:nvSpPr>
        <p:spPr bwMode="white">
          <a:xfrm>
            <a:off x="-9525" y="4572000"/>
            <a:ext cx="9144000" cy="887413"/>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6" name="Rectangle 5"/>
          <p:cNvSpPr/>
          <p:nvPr/>
        </p:nvSpPr>
        <p:spPr>
          <a:xfrm>
            <a:off x="-9525" y="4664075"/>
            <a:ext cx="1463675" cy="712788"/>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7" name="Rectangle 6"/>
          <p:cNvSpPr/>
          <p:nvPr/>
        </p:nvSpPr>
        <p:spPr>
          <a:xfrm>
            <a:off x="1544638" y="4654550"/>
            <a:ext cx="7599362" cy="712788"/>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8" name="Rectangle 7"/>
          <p:cNvSpPr/>
          <p:nvPr/>
        </p:nvSpPr>
        <p:spPr bwMode="white">
          <a:xfrm>
            <a:off x="1447800" y="0"/>
            <a:ext cx="100013" cy="6867525"/>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a:r>
              <a:rPr lang="en-US" smtClean="0"/>
              <a:t>Click to edit Master text styles</a:t>
            </a:r>
          </a:p>
        </p:txBody>
      </p:sp>
      <p:sp>
        <p:nvSpPr>
          <p:cNvPr id="2" name="Title 1"/>
          <p:cNvSpPr>
            <a:spLocks noGrp="1"/>
          </p:cNvSpPr>
          <p:nvPr>
            <p:ph type="title"/>
          </p:nvPr>
        </p:nvSpPr>
        <p:spPr>
          <a:xfrm>
            <a:off x="1600200" y="4648200"/>
            <a:ext cx="7315200" cy="685800"/>
          </a:xfrm>
        </p:spPr>
        <p:txBody>
          <a:bodyPr/>
          <a:lstStyle>
            <a:lvl1pPr algn="l">
              <a:buNone/>
              <a:defRPr sz="2800" b="0">
                <a:solidFill>
                  <a:srgbClr val="FFFFFF"/>
                </a:solidFill>
              </a:defRPr>
            </a:lvl1pPr>
          </a:lstStyle>
          <a:p>
            <a:r>
              <a:rPr lang="en-US" smtClean="0"/>
              <a:t>Click to edit Master title style</a:t>
            </a:r>
            <a:endParaRPr lang="en-US"/>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normAutofit/>
          </a:bodyPr>
          <a:lstStyle>
            <a:lvl1pPr marL="0" indent="0">
              <a:buNone/>
              <a:defRPr sz="3200"/>
            </a:lvl1pPr>
          </a:lstStyle>
          <a:p>
            <a:pPr lvl="0"/>
            <a:r>
              <a:rPr lang="en-US" noProof="0" smtClean="0"/>
              <a:t>Click icon to add picture</a:t>
            </a:r>
            <a:endParaRPr lang="en-US" noProof="0" dirty="0"/>
          </a:p>
        </p:txBody>
      </p:sp>
      <p:sp>
        <p:nvSpPr>
          <p:cNvPr id="9" name="Date Placeholder 11"/>
          <p:cNvSpPr>
            <a:spLocks noGrp="1"/>
          </p:cNvSpPr>
          <p:nvPr>
            <p:ph type="dt" sz="half" idx="10"/>
          </p:nvPr>
        </p:nvSpPr>
        <p:spPr>
          <a:xfrm>
            <a:off x="6248400" y="6248400"/>
            <a:ext cx="2667000" cy="365125"/>
          </a:xfrm>
        </p:spPr>
        <p:txBody>
          <a:bodyPr rtlCol="0"/>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10" name="Slide Number Placeholder 12"/>
          <p:cNvSpPr>
            <a:spLocks noGrp="1"/>
          </p:cNvSpPr>
          <p:nvPr>
            <p:ph type="sldNum" sz="quarter" idx="11"/>
          </p:nvPr>
        </p:nvSpPr>
        <p:spPr>
          <a:xfrm>
            <a:off x="0" y="4667250"/>
            <a:ext cx="1447800" cy="663575"/>
          </a:xfrm>
        </p:spPr>
        <p:txBody>
          <a:bodyPr rtlCol="0"/>
          <a:lstStyle>
            <a:lvl1pPr>
              <a:defRPr sz="2800" smtClean="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F620F28-5AF5-423A-9ED3-6F2BC5961877}" type="slidenum">
              <a:rPr kumimoji="0" lang="ar-SA" sz="28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2800" b="1" i="0" u="none" strike="noStrike" kern="1200" cap="none" spc="0" normalizeH="0" baseline="0" noProof="0">
              <a:ln>
                <a:noFill/>
              </a:ln>
              <a:solidFill>
                <a:srgbClr val="FFFFFF"/>
              </a:solidFill>
              <a:effectLst/>
              <a:uLnTx/>
              <a:uFillTx/>
              <a:latin typeface="Tw Cen MT"/>
              <a:ea typeface="+mn-ea"/>
              <a:cs typeface="+mn-cs"/>
            </a:endParaRPr>
          </a:p>
        </p:txBody>
      </p:sp>
      <p:sp>
        <p:nvSpPr>
          <p:cNvPr id="11" name="Footer Placeholder 13"/>
          <p:cNvSpPr>
            <a:spLocks noGrp="1"/>
          </p:cNvSpPr>
          <p:nvPr>
            <p:ph type="ftr" sz="quarter" idx="12"/>
          </p:nvPr>
        </p:nvSpPr>
        <p:spPr>
          <a:xfrm>
            <a:off x="1600200" y="6248400"/>
            <a:ext cx="4572000" cy="365125"/>
          </a:xfrm>
        </p:spPr>
        <p:txBody>
          <a:bodyPr rtlCol="0"/>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Tree>
    <p:extLst>
      <p:ext uri="{BB962C8B-B14F-4D97-AF65-F5344CB8AC3E}">
        <p14:creationId xmlns:p14="http://schemas.microsoft.com/office/powerpoint/2010/main" val="1562141907"/>
      </p:ext>
    </p:extLst>
  </p:cSld>
  <p:clrMapOvr>
    <a:overrideClrMapping bg1="lt1" tx1="dk1" bg2="lt2" tx2="dk2" accent1="accent1" accent2="accent2" accent3="accent3" accent4="accent4" accent5="accent5" accent6="accent6" hlink="hlink" folHlink="folHlink"/>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5" name="Footer Placeholder 2"/>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6" name="Slide Number Placeholder 22"/>
          <p:cNvSpPr>
            <a:spLocks noGrp="1"/>
          </p:cNvSpPr>
          <p:nvPr>
            <p:ph type="sldNum" sz="quarter" idx="12"/>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DCACDC47-B24C-4D06-96A9-3EAEB60656C4}"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260519375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
          <p:cNvSpPr/>
          <p:nvPr/>
        </p:nvSpPr>
        <p:spPr bwMode="white">
          <a:xfrm>
            <a:off x="6096000" y="0"/>
            <a:ext cx="320675"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5" name="Rectangle 4"/>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6" name="Rectangle 5"/>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2" name="Vertical Title 1"/>
          <p:cNvSpPr>
            <a:spLocks noGrp="1"/>
          </p:cNvSpPr>
          <p:nvPr>
            <p:ph type="title" orient="vert"/>
          </p:nvPr>
        </p:nvSpPr>
        <p:spPr>
          <a:xfrm>
            <a:off x="6553200" y="609600"/>
            <a:ext cx="2057400" cy="55165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6553200" y="6248400"/>
            <a:ext cx="2209800" cy="365125"/>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8" name="Footer Placeholder 4"/>
          <p:cNvSpPr>
            <a:spLocks noGrp="1"/>
          </p:cNvSpPr>
          <p:nvPr>
            <p:ph type="ftr" sz="quarter" idx="11"/>
          </p:nvPr>
        </p:nvSpPr>
        <p:spPr>
          <a:xfrm>
            <a:off x="457200" y="6248400"/>
            <a:ext cx="5573713" cy="365125"/>
          </a:xfrm>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9" name="Slide Number Placeholder 5"/>
          <p:cNvSpPr>
            <a:spLocks noGrp="1"/>
          </p:cNvSpPr>
          <p:nvPr>
            <p:ph type="sldNum" sz="quarter" idx="12"/>
          </p:nvPr>
        </p:nvSpPr>
        <p:spPr>
          <a:xfrm rot="5400000">
            <a:off x="5989638" y="144462"/>
            <a:ext cx="533400" cy="244475"/>
          </a:xfrm>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6A37BA8B-D8BD-49F7-81D1-2775CD17BB01}"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2023736314"/>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8153400" cy="990600"/>
          </a:xfrm>
        </p:spPr>
        <p:txBody>
          <a:bodyPr/>
          <a:lstStyle/>
          <a:p>
            <a:r>
              <a:rPr lang="en-US" smtClean="0"/>
              <a:t>Click to edit Master title style</a:t>
            </a:r>
            <a:endParaRPr lang="en-US"/>
          </a:p>
        </p:txBody>
      </p:sp>
      <p:sp>
        <p:nvSpPr>
          <p:cNvPr id="8" name="Content Placeholder 7"/>
          <p:cNvSpPr>
            <a:spLocks noGrp="1"/>
          </p:cNvSpPr>
          <p:nvPr>
            <p:ph sz="quarter" idx="1"/>
          </p:nvPr>
        </p:nvSpPr>
        <p:spPr>
          <a:xfrm>
            <a:off x="612648" y="1600200"/>
            <a:ext cx="81534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a:defRPr/>
            </a:pPr>
            <a:endParaRPr lang="en-US">
              <a:solidFill>
                <a:srgbClr val="775F55"/>
              </a:solidFill>
            </a:endParaRPr>
          </a:p>
        </p:txBody>
      </p:sp>
      <p:sp>
        <p:nvSpPr>
          <p:cNvPr id="5" name="Footer Placeholder 2"/>
          <p:cNvSpPr>
            <a:spLocks noGrp="1"/>
          </p:cNvSpPr>
          <p:nvPr>
            <p:ph type="ftr" sz="quarter" idx="11"/>
          </p:nvPr>
        </p:nvSpPr>
        <p:spPr/>
        <p:txBody>
          <a:bodyPr/>
          <a:lstStyle>
            <a:lvl1pPr>
              <a:defRPr/>
            </a:lvl1pPr>
          </a:lstStyle>
          <a:p>
            <a:pPr>
              <a:defRPr/>
            </a:pPr>
            <a:endParaRPr lang="en-US">
              <a:solidFill>
                <a:srgbClr val="775F55"/>
              </a:solidFill>
            </a:endParaRPr>
          </a:p>
        </p:txBody>
      </p:sp>
      <p:sp>
        <p:nvSpPr>
          <p:cNvPr id="6" name="Slide Number Placeholder 22"/>
          <p:cNvSpPr>
            <a:spLocks noGrp="1"/>
          </p:cNvSpPr>
          <p:nvPr>
            <p:ph type="sldNum" sz="quarter" idx="12"/>
          </p:nvPr>
        </p:nvSpPr>
        <p:spPr/>
        <p:txBody>
          <a:bodyPr/>
          <a:lstStyle>
            <a:lvl1pPr>
              <a:defRPr/>
            </a:lvl1pPr>
          </a:lstStyle>
          <a:p>
            <a:pPr>
              <a:defRPr/>
            </a:pPr>
            <a:fld id="{4F95FE52-AB0C-4A90-BA34-DF619B443935}" type="slidenum">
              <a:rPr lang="en-US"/>
              <a:pPr>
                <a:defRPr/>
              </a:pPr>
              <a:t>‹#›</a:t>
            </a:fld>
            <a:endParaRPr lang="en-US"/>
          </a:p>
        </p:txBody>
      </p:sp>
    </p:spTree>
    <p:extLst>
      <p:ext uri="{BB962C8B-B14F-4D97-AF65-F5344CB8AC3E}">
        <p14:creationId xmlns:p14="http://schemas.microsoft.com/office/powerpoint/2010/main" val="327448715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657350" y="4464028"/>
            <a:ext cx="6858000" cy="1194650"/>
          </a:xfrm>
        </p:spPr>
        <p:txBody>
          <a:bodyPr wrap="none" anchor="t">
            <a:normAutofit/>
          </a:bodyPr>
          <a:lstStyle>
            <a:lvl1pPr algn="r">
              <a:defRPr sz="7200" b="0" spc="-225">
                <a:gradFill flip="none" rotWithShape="1">
                  <a:gsLst>
                    <a:gs pos="32000">
                      <a:schemeClr val="tx1">
                        <a:lumMod val="89000"/>
                      </a:schemeClr>
                    </a:gs>
                    <a:gs pos="1000">
                      <a:schemeClr val="bg1">
                        <a:lumMod val="41000"/>
                        <a:lumOff val="59000"/>
                      </a:schemeClr>
                    </a:gs>
                    <a:gs pos="100000">
                      <a:schemeClr val="tx2">
                        <a:lumMod val="0"/>
                        <a:lumOff val="100000"/>
                      </a:schemeClr>
                    </a:gs>
                  </a:gsLst>
                  <a:lin ang="8100000" scaled="1"/>
                  <a:tileRect/>
                </a:gradFill>
                <a:effectLst>
                  <a:outerShdw blurRad="469900" dist="342900" dir="5400000" sy="-20000" rotWithShape="0">
                    <a:prstClr val="black">
                      <a:alpha val="66000"/>
                    </a:prstClr>
                  </a:outerShdw>
                </a:effectLst>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1657349" y="3829878"/>
            <a:ext cx="6858000" cy="618523"/>
          </a:xfrm>
        </p:spPr>
        <p:txBody>
          <a:bodyPr anchor="b">
            <a:normAutofit/>
          </a:bodyPr>
          <a:lstStyle>
            <a:lvl1pPr marL="0" indent="0" algn="r">
              <a:buNone/>
              <a:defRPr sz="2400" b="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7" name="Date Placeholder 6"/>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ECD19FB2-3AAB-4D03-B13A-2960828C78E3}"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56945872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8"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99916976-5D93-46E4-A98A-FAD63E4D0EA8}"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420878557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Title 1"/>
          <p:cNvSpPr>
            <a:spLocks noGrp="1"/>
          </p:cNvSpPr>
          <p:nvPr>
            <p:ph type="ctrTitle"/>
          </p:nvPr>
        </p:nvSpPr>
        <p:spPr>
          <a:xfrm>
            <a:off x="640899" y="4464028"/>
            <a:ext cx="6858000" cy="1194650"/>
          </a:xfrm>
        </p:spPr>
        <p:txBody>
          <a:bodyPr wrap="none" anchor="t">
            <a:normAutofit/>
          </a:bodyPr>
          <a:lstStyle>
            <a:lvl1pPr algn="l">
              <a:defRPr sz="7200" b="0" spc="-225">
                <a:gradFill flip="none" rotWithShape="1">
                  <a:gsLst>
                    <a:gs pos="32000">
                      <a:schemeClr val="tx1">
                        <a:lumMod val="89000"/>
                      </a:schemeClr>
                    </a:gs>
                    <a:gs pos="0">
                      <a:schemeClr val="bg1">
                        <a:lumMod val="47000"/>
                        <a:lumOff val="53000"/>
                      </a:schemeClr>
                    </a:gs>
                    <a:gs pos="100000">
                      <a:schemeClr val="tx2">
                        <a:lumMod val="0"/>
                        <a:lumOff val="100000"/>
                      </a:schemeClr>
                    </a:gs>
                  </a:gsLst>
                  <a:lin ang="8100000" scaled="1"/>
                  <a:tileRect/>
                </a:gradFill>
                <a:effectLst>
                  <a:outerShdw blurRad="469900" dist="342900" dir="5400000" sy="-20000" rotWithShape="0">
                    <a:prstClr val="black">
                      <a:alpha val="66000"/>
                    </a:prstClr>
                  </a:outerShdw>
                </a:effectLst>
                <a:latin typeface="+mj-lt"/>
              </a:defRPr>
            </a:lvl1pPr>
          </a:lstStyle>
          <a:p>
            <a:r>
              <a:rPr lang="en-US" smtClean="0"/>
              <a:t>Click to edit Master title style</a:t>
            </a:r>
            <a:endParaRPr lang="en-US" dirty="0"/>
          </a:p>
        </p:txBody>
      </p:sp>
      <p:sp>
        <p:nvSpPr>
          <p:cNvPr id="8" name="Subtitle 2"/>
          <p:cNvSpPr>
            <a:spLocks noGrp="1"/>
          </p:cNvSpPr>
          <p:nvPr>
            <p:ph type="subTitle" idx="1"/>
          </p:nvPr>
        </p:nvSpPr>
        <p:spPr>
          <a:xfrm>
            <a:off x="640899" y="3829878"/>
            <a:ext cx="6858000" cy="617822"/>
          </a:xfrm>
        </p:spPr>
        <p:txBody>
          <a:bodyPr anchor="b">
            <a:normAutofit/>
          </a:bodyPr>
          <a:lstStyle>
            <a:lvl1pPr marL="0" indent="0" algn="l">
              <a:buNone/>
              <a:defRPr sz="2400" b="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0F39F4F5-F4D2-4D2A-AB60-88D37ADCB869}"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50347198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40000" y="1825625"/>
            <a:ext cx="3768912"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39880" y="1825625"/>
            <a:ext cx="377547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D23BC6CE-6D1E-47E5-8859-F31AC5380EB2}"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104047096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40000" y="1681163"/>
            <a:ext cx="3768912" cy="823912"/>
          </a:xfrm>
        </p:spPr>
        <p:txBody>
          <a:bodyPr anchor="b">
            <a:normAutofit/>
          </a:bodyPr>
          <a:lstStyle>
            <a:lvl1pPr marL="0" indent="0">
              <a:buNone/>
              <a:defRPr sz="20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4" name="Content Placeholder 3"/>
          <p:cNvSpPr>
            <a:spLocks noGrp="1"/>
          </p:cNvSpPr>
          <p:nvPr>
            <p:ph sz="half" idx="2"/>
          </p:nvPr>
        </p:nvSpPr>
        <p:spPr>
          <a:xfrm>
            <a:off x="840000" y="2505075"/>
            <a:ext cx="3768912"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39880" y="1681163"/>
            <a:ext cx="3776661" cy="823912"/>
          </a:xfrm>
        </p:spPr>
        <p:txBody>
          <a:bodyPr vert="horz" lIns="91440" tIns="45720" rIns="91440" bIns="45720" rtlCol="0" anchor="b">
            <a:normAutofit/>
          </a:bodyPr>
          <a:lstStyle>
            <a:lvl1pPr>
              <a:buNone/>
              <a:defRPr lang="en-US" sz="20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en-US" smtClean="0"/>
              <a:t>Edit Master text styles</a:t>
            </a:r>
          </a:p>
        </p:txBody>
      </p:sp>
      <p:sp>
        <p:nvSpPr>
          <p:cNvPr id="6" name="Content Placeholder 5"/>
          <p:cNvSpPr>
            <a:spLocks noGrp="1"/>
          </p:cNvSpPr>
          <p:nvPr>
            <p:ph sz="quarter" idx="4"/>
          </p:nvPr>
        </p:nvSpPr>
        <p:spPr>
          <a:xfrm>
            <a:off x="4739880" y="2505075"/>
            <a:ext cx="3776661"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B1B4E7C4-4DA4-404D-9965-B13F2DD7D8BF}"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292723885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476FB7AA-4A53-424F-AD41-70827B6504BA}"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297284663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E7884882-FB12-4BC8-9960-9AD8104D7FAE}"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351936464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40000" y="2057400"/>
            <a:ext cx="2739019" cy="3811588"/>
          </a:xfrm>
        </p:spPr>
        <p:txBody>
          <a:bodyPr>
            <a:normAutofit/>
          </a:bodyPr>
          <a:lstStyle>
            <a:lvl1pPr marL="0" indent="0">
              <a:buNone/>
              <a:defRPr sz="14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F7D1BD23-6E54-4D9D-AD88-A2813C73CC25}"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214073590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840000" y="2057400"/>
            <a:ext cx="2739019" cy="3811588"/>
          </a:xfrm>
        </p:spPr>
        <p:txBody>
          <a:bodyPr>
            <a:normAutofit/>
          </a:bodyPr>
          <a:lstStyle>
            <a:lvl1pPr marL="0" indent="0">
              <a:buNone/>
              <a:defRPr sz="14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1471A834-4F3C-4AF9-9C74-05EC35A0F292}"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64694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367161"/>
            <a:ext cx="7886700" cy="819355"/>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29841" y="987426"/>
            <a:ext cx="7886700" cy="337973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629841" y="5186516"/>
            <a:ext cx="7885509" cy="682472"/>
          </a:xfrm>
        </p:spPr>
        <p:txBody>
          <a:bodyPr/>
          <a:lstStyle>
            <a:lvl1pPr marL="0" indent="0">
              <a:buNone/>
              <a:defRPr sz="12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1B80C674-7DFC-42FE-B9CD-82963CDB1557}"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39001380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10"/>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5" name="Rectangle 11"/>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6" name="Rectangle 14"/>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3" name="Text Placeholder 2"/>
          <p:cNvSpPr>
            <a:spLocks noGrp="1"/>
          </p:cNvSpPr>
          <p:nvPr>
            <p:ph type="body" idx="1"/>
          </p:nvPr>
        </p:nvSpPr>
        <p:spPr>
          <a:xfrm>
            <a:off x="1371600" y="2743200"/>
            <a:ext cx="7123113" cy="1673225"/>
          </a:xfrm>
        </p:spPr>
        <p:txBody>
          <a:bodyPr/>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lang="en-US" smtClean="0"/>
              <a:t>Click to edit Master title style</a:t>
            </a:r>
            <a:endParaRPr lang="en-US"/>
          </a:p>
        </p:txBody>
      </p:sp>
      <p:sp>
        <p:nvSpPr>
          <p:cNvPr id="7" name="Date Placeholder 11"/>
          <p:cNvSpPr>
            <a:spLocks noGrp="1"/>
          </p:cNvSpPr>
          <p:nvPr>
            <p:ph type="dt" sz="half" idx="10"/>
          </p:nvPr>
        </p:nvSpPr>
        <p:spPr/>
        <p:txBody>
          <a:bodyPr/>
          <a:lstStyle>
            <a:lvl1pPr>
              <a:defRPr/>
            </a:lvl1pPr>
          </a:lstStyle>
          <a:p>
            <a:pPr>
              <a:defRPr/>
            </a:pPr>
            <a:endParaRPr lang="en-US">
              <a:solidFill>
                <a:srgbClr val="775F55"/>
              </a:solidFill>
            </a:endParaRPr>
          </a:p>
        </p:txBody>
      </p:sp>
      <p:sp>
        <p:nvSpPr>
          <p:cNvPr id="8" name="Slide Number Placeholder 12"/>
          <p:cNvSpPr>
            <a:spLocks noGrp="1"/>
          </p:cNvSpPr>
          <p:nvPr>
            <p:ph type="sldNum" sz="quarter" idx="11"/>
          </p:nvPr>
        </p:nvSpPr>
        <p:spPr>
          <a:xfrm>
            <a:off x="0" y="1752600"/>
            <a:ext cx="1295400" cy="701675"/>
          </a:xfrm>
        </p:spPr>
        <p:txBody>
          <a:bodyPr>
            <a:noAutofit/>
          </a:bodyPr>
          <a:lstStyle>
            <a:lvl1pPr>
              <a:defRPr sz="2400" smtClean="0">
                <a:solidFill>
                  <a:srgbClr val="FFFFFF"/>
                </a:solidFill>
              </a:defRPr>
            </a:lvl1pPr>
          </a:lstStyle>
          <a:p>
            <a:pPr>
              <a:defRPr/>
            </a:pPr>
            <a:fld id="{190AF9B6-44FD-4720-B8C6-8E2A6877A4A9}" type="slidenum">
              <a:rPr lang="en-US"/>
              <a:pPr>
                <a:defRPr/>
              </a:pPr>
              <a:t>‹#›</a:t>
            </a:fld>
            <a:endParaRPr lang="en-US"/>
          </a:p>
        </p:txBody>
      </p:sp>
      <p:sp>
        <p:nvSpPr>
          <p:cNvPr id="9" name="Footer Placeholder 13"/>
          <p:cNvSpPr>
            <a:spLocks noGrp="1"/>
          </p:cNvSpPr>
          <p:nvPr>
            <p:ph type="ftr" sz="quarter" idx="12"/>
          </p:nvPr>
        </p:nvSpPr>
        <p:spPr/>
        <p:txBody>
          <a:bodyPr/>
          <a:lstStyle>
            <a:lvl1pPr>
              <a:defRPr/>
            </a:lvl1pPr>
          </a:lstStyle>
          <a:p>
            <a:pPr>
              <a:defRPr/>
            </a:pPr>
            <a:endParaRPr lang="en-US">
              <a:solidFill>
                <a:srgbClr val="775F55"/>
              </a:solidFill>
            </a:endParaRPr>
          </a:p>
        </p:txBody>
      </p:sp>
    </p:spTree>
    <p:extLst>
      <p:ext uri="{BB962C8B-B14F-4D97-AF65-F5344CB8AC3E}">
        <p14:creationId xmlns:p14="http://schemas.microsoft.com/office/powerpoint/2010/main" val="2350889043"/>
      </p:ext>
    </p:extLst>
  </p:cSld>
  <p:clrMapOvr>
    <a:overrideClrMapping bg1="lt1" tx1="dk1" bg2="lt2" tx2="dk2" accent1="accent1" accent2="accent2" accent3="accent3" accent4="accent4" accent5="accent5" accent6="accent6" hlink="hlink" folHlink="folHlink"/>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5"/>
            <a:ext cx="7886700" cy="3534344"/>
          </a:xfrm>
        </p:spPr>
        <p:txBody>
          <a:bodyPr anchor="ctr"/>
          <a:lstStyle>
            <a:lvl1pPr>
              <a:defRPr sz="2400"/>
            </a:lvl1pPr>
          </a:lstStyle>
          <a:p>
            <a:r>
              <a:rPr lang="en-US" smtClean="0"/>
              <a:t>Click to edit Master title style</a:t>
            </a:r>
            <a:endParaRPr lang="en-US" dirty="0"/>
          </a:p>
        </p:txBody>
      </p:sp>
      <p:sp>
        <p:nvSpPr>
          <p:cNvPr id="4" name="Text Placeholder 3"/>
          <p:cNvSpPr>
            <a:spLocks noGrp="1"/>
          </p:cNvSpPr>
          <p:nvPr>
            <p:ph type="body" sz="half" idx="2"/>
          </p:nvPr>
        </p:nvSpPr>
        <p:spPr>
          <a:xfrm>
            <a:off x="629841" y="4489399"/>
            <a:ext cx="7885509" cy="1501826"/>
          </a:xfrm>
        </p:spPr>
        <p:txBody>
          <a:bodyPr anchor="ct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2076456F-F47D-4F25-8053-2A695DA0CA7D}"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278022752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84659" y="365125"/>
            <a:ext cx="6977064" cy="2992904"/>
          </a:xfrm>
        </p:spPr>
        <p:txBody>
          <a:bodyPr anchor="ctr"/>
          <a:lstStyle>
            <a:lvl1pPr>
              <a:defRPr sz="3300"/>
            </a:lvl1pPr>
          </a:lstStyle>
          <a:p>
            <a:r>
              <a:rPr lang="en-US" smtClean="0"/>
              <a:t>Click to edit Master title style</a:t>
            </a:r>
            <a:endParaRPr lang="en-US" dirty="0"/>
          </a:p>
        </p:txBody>
      </p:sp>
      <p:sp>
        <p:nvSpPr>
          <p:cNvPr id="12" name="Text Placeholder 3"/>
          <p:cNvSpPr>
            <a:spLocks noGrp="1"/>
          </p:cNvSpPr>
          <p:nvPr>
            <p:ph type="body" sz="half" idx="13"/>
          </p:nvPr>
        </p:nvSpPr>
        <p:spPr>
          <a:xfrm>
            <a:off x="1290484" y="3365557"/>
            <a:ext cx="6564224" cy="548968"/>
          </a:xfrm>
        </p:spPr>
        <p:txBody>
          <a:bodyPr anchor="t">
            <a:normAutofit/>
          </a:bodyPr>
          <a:lstStyle>
            <a:lvl1pPr marL="0" indent="0">
              <a:buNone/>
              <a:defRPr sz="105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4" name="Text Placeholder 3"/>
          <p:cNvSpPr>
            <a:spLocks noGrp="1"/>
          </p:cNvSpPr>
          <p:nvPr>
            <p:ph type="body" sz="half" idx="2"/>
          </p:nvPr>
        </p:nvSpPr>
        <p:spPr>
          <a:xfrm>
            <a:off x="628650" y="4501729"/>
            <a:ext cx="7884318" cy="1489496"/>
          </a:xfrm>
        </p:spPr>
        <p:txBody>
          <a:bodyPr anchor="ctr">
            <a:normAutofit/>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D6C7379-69CC-4837-9905-BEBA22830C8A}"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9" name="TextBox 8"/>
          <p:cNvSpPr txBox="1"/>
          <p:nvPr/>
        </p:nvSpPr>
        <p:spPr>
          <a:xfrm>
            <a:off x="833283" y="786824"/>
            <a:ext cx="457200" cy="584776"/>
          </a:xfrm>
          <a:prstGeom prst="rect">
            <a:avLst/>
          </a:prstGeom>
        </p:spPr>
        <p:txBody>
          <a:bodyPr vert="horz" lIns="68580" tIns="34290" rIns="68580" bIns="3429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6000" b="0" i="0" u="none" strike="noStrike" kern="1200" cap="all" spc="0" normalizeH="0" baseline="0" noProof="0" dirty="0">
                <a:ln w="3175" cmpd="sng">
                  <a:noFill/>
                </a:ln>
                <a:solidFill>
                  <a:prstClr val="white"/>
                </a:solidFill>
                <a:effectLst/>
                <a:uLnTx/>
                <a:uFillTx/>
                <a:latin typeface="Arial Black" panose="020B0A04020102020204" pitchFamily="34" charset="0"/>
                <a:ea typeface="+mn-ea"/>
                <a:cs typeface="+mn-cs"/>
              </a:rPr>
              <a:t>“</a:t>
            </a:r>
          </a:p>
        </p:txBody>
      </p:sp>
      <p:sp>
        <p:nvSpPr>
          <p:cNvPr id="10" name="TextBox 9"/>
          <p:cNvSpPr txBox="1"/>
          <p:nvPr/>
        </p:nvSpPr>
        <p:spPr>
          <a:xfrm>
            <a:off x="7828359" y="2743200"/>
            <a:ext cx="457200" cy="584776"/>
          </a:xfrm>
          <a:prstGeom prst="rect">
            <a:avLst/>
          </a:prstGeom>
        </p:spPr>
        <p:txBody>
          <a:bodyPr vert="horz" lIns="68580" tIns="34290" rIns="68580" bIns="3429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6000" b="0" i="0" u="none" strike="noStrike" kern="1200" cap="all" spc="0" normalizeH="0" baseline="0" noProof="0" dirty="0">
                <a:ln w="3175" cmpd="sng">
                  <a:noFill/>
                </a:ln>
                <a:solidFill>
                  <a:prstClr val="white"/>
                </a:solidFill>
                <a:effectLst/>
                <a:uLnTx/>
                <a:uFillTx/>
                <a:latin typeface="Arial Black" panose="020B0A04020102020204" pitchFamily="34" charset="0"/>
                <a:ea typeface="+mn-ea"/>
                <a:cs typeface="+mn-cs"/>
              </a:rPr>
              <a:t>”</a:t>
            </a:r>
          </a:p>
        </p:txBody>
      </p:sp>
    </p:spTree>
    <p:extLst>
      <p:ext uri="{BB962C8B-B14F-4D97-AF65-F5344CB8AC3E}">
        <p14:creationId xmlns:p14="http://schemas.microsoft.com/office/powerpoint/2010/main" val="288797904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29841" y="2326968"/>
            <a:ext cx="7886700" cy="2511835"/>
          </a:xfrm>
        </p:spPr>
        <p:txBody>
          <a:bodyPr anchor="b">
            <a:normAutofit/>
          </a:bodyPr>
          <a:lstStyle>
            <a:lvl1pPr>
              <a:defRPr sz="4050"/>
            </a:lvl1pPr>
          </a:lstStyle>
          <a:p>
            <a:r>
              <a:rPr lang="en-US" smtClean="0"/>
              <a:t>Click to edit Master title style</a:t>
            </a:r>
            <a:endParaRPr lang="en-US" dirty="0"/>
          </a:p>
        </p:txBody>
      </p:sp>
      <p:sp>
        <p:nvSpPr>
          <p:cNvPr id="4" name="Text Placeholder 3"/>
          <p:cNvSpPr>
            <a:spLocks noGrp="1"/>
          </p:cNvSpPr>
          <p:nvPr>
            <p:ph type="body" sz="half" idx="2"/>
          </p:nvPr>
        </p:nvSpPr>
        <p:spPr>
          <a:xfrm>
            <a:off x="629841" y="4850581"/>
            <a:ext cx="7885509" cy="1140644"/>
          </a:xfrm>
        </p:spPr>
        <p:txBody>
          <a:bodyPr anchor="t"/>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49EB8B7E-8AEE-4F10-BFEE-C999AD004D36}"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85193312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628650" y="365126"/>
            <a:ext cx="7886700" cy="1325563"/>
          </a:xfrm>
        </p:spPr>
        <p:txBody>
          <a:bodyPr/>
          <a:lstStyle/>
          <a:p>
            <a:r>
              <a:rPr lang="en-US" smtClean="0"/>
              <a:t>Click to edit Master title style</a:t>
            </a:r>
            <a:endParaRPr lang="en-US" dirty="0"/>
          </a:p>
        </p:txBody>
      </p:sp>
      <p:sp>
        <p:nvSpPr>
          <p:cNvPr id="7" name="Text Placeholder 2"/>
          <p:cNvSpPr>
            <a:spLocks noGrp="1"/>
          </p:cNvSpPr>
          <p:nvPr>
            <p:ph type="body" idx="1"/>
          </p:nvPr>
        </p:nvSpPr>
        <p:spPr>
          <a:xfrm>
            <a:off x="1002961" y="1885950"/>
            <a:ext cx="2210150" cy="576262"/>
          </a:xfrm>
        </p:spPr>
        <p:txBody>
          <a:bodyPr anchor="b">
            <a:noAutofit/>
          </a:bodyPr>
          <a:lstStyle>
            <a:lvl1pPr marL="0" indent="0">
              <a:buNone/>
              <a:defRPr sz="18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8" name="Text Placeholder 3"/>
          <p:cNvSpPr>
            <a:spLocks noGrp="1"/>
          </p:cNvSpPr>
          <p:nvPr>
            <p:ph type="body" sz="half" idx="15"/>
          </p:nvPr>
        </p:nvSpPr>
        <p:spPr>
          <a:xfrm>
            <a:off x="1017598" y="2571750"/>
            <a:ext cx="2195513" cy="3589338"/>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Edit Master text styles</a:t>
            </a:r>
          </a:p>
        </p:txBody>
      </p:sp>
      <p:sp>
        <p:nvSpPr>
          <p:cNvPr id="9" name="Text Placeholder 4"/>
          <p:cNvSpPr>
            <a:spLocks noGrp="1"/>
          </p:cNvSpPr>
          <p:nvPr>
            <p:ph type="body" sz="quarter" idx="3"/>
          </p:nvPr>
        </p:nvSpPr>
        <p:spPr>
          <a:xfrm>
            <a:off x="3440996" y="1885950"/>
            <a:ext cx="2202181" cy="576262"/>
          </a:xfrm>
        </p:spPr>
        <p:txBody>
          <a:bodyPr vert="horz" lIns="91440" tIns="45720" rIns="91440" bIns="45720" rtlCol="0" anchor="b">
            <a:noAutofit/>
          </a:bodyPr>
          <a:lstStyle>
            <a:lvl1pPr>
              <a:buNone/>
              <a:defRPr lang="en-US" sz="18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en-US" smtClean="0"/>
              <a:t>Edit Master text styles</a:t>
            </a:r>
          </a:p>
        </p:txBody>
      </p:sp>
      <p:sp>
        <p:nvSpPr>
          <p:cNvPr id="10" name="Text Placeholder 3"/>
          <p:cNvSpPr>
            <a:spLocks noGrp="1"/>
          </p:cNvSpPr>
          <p:nvPr>
            <p:ph type="body" sz="half" idx="16"/>
          </p:nvPr>
        </p:nvSpPr>
        <p:spPr>
          <a:xfrm>
            <a:off x="3433081" y="2571750"/>
            <a:ext cx="2210096" cy="3589338"/>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Edit Master text styles</a:t>
            </a:r>
          </a:p>
        </p:txBody>
      </p:sp>
      <p:sp>
        <p:nvSpPr>
          <p:cNvPr id="11" name="Text Placeholder 4"/>
          <p:cNvSpPr>
            <a:spLocks noGrp="1"/>
          </p:cNvSpPr>
          <p:nvPr>
            <p:ph type="body" sz="quarter" idx="13"/>
          </p:nvPr>
        </p:nvSpPr>
        <p:spPr>
          <a:xfrm>
            <a:off x="5871777" y="1885950"/>
            <a:ext cx="2199085" cy="576262"/>
          </a:xfrm>
        </p:spPr>
        <p:txBody>
          <a:bodyPr vert="horz" lIns="91440" tIns="45720" rIns="91440" bIns="45720" rtlCol="0" anchor="b">
            <a:noAutofit/>
          </a:bodyPr>
          <a:lstStyle>
            <a:lvl1pPr>
              <a:buNone/>
              <a:defRPr lang="en-US" sz="1800" b="0" dirty="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en-US" smtClean="0"/>
              <a:t>Edit Master text styles</a:t>
            </a:r>
          </a:p>
        </p:txBody>
      </p:sp>
      <p:sp>
        <p:nvSpPr>
          <p:cNvPr id="12" name="Text Placeholder 3"/>
          <p:cNvSpPr>
            <a:spLocks noGrp="1"/>
          </p:cNvSpPr>
          <p:nvPr>
            <p:ph type="body" sz="half" idx="17"/>
          </p:nvPr>
        </p:nvSpPr>
        <p:spPr>
          <a:xfrm>
            <a:off x="5871777" y="2571750"/>
            <a:ext cx="2199085" cy="3589338"/>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Edit Master text styles</a:t>
            </a:r>
          </a:p>
        </p:txBody>
      </p:sp>
      <p:sp>
        <p:nvSpPr>
          <p:cNvPr id="3" name="Date Placeholder 2"/>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8668F3F9-58BC-440B-B37B-805B9055EF92}"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243667523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628650" y="365126"/>
            <a:ext cx="7886700" cy="1325563"/>
          </a:xfrm>
        </p:spPr>
        <p:txBody>
          <a:bodyPr/>
          <a:lstStyle/>
          <a:p>
            <a:r>
              <a:rPr lang="en-US" smtClean="0"/>
              <a:t>Click to edit Master title style</a:t>
            </a:r>
            <a:endParaRPr lang="en-US" dirty="0"/>
          </a:p>
        </p:txBody>
      </p:sp>
      <p:sp>
        <p:nvSpPr>
          <p:cNvPr id="19" name="Text Placeholder 2"/>
          <p:cNvSpPr>
            <a:spLocks noGrp="1"/>
          </p:cNvSpPr>
          <p:nvPr>
            <p:ph type="body" idx="1"/>
          </p:nvPr>
        </p:nvSpPr>
        <p:spPr>
          <a:xfrm>
            <a:off x="999064" y="4297503"/>
            <a:ext cx="2205038" cy="576262"/>
          </a:xfrm>
        </p:spPr>
        <p:txBody>
          <a:bodyPr anchor="b">
            <a:noAutofit/>
          </a:bodyPr>
          <a:lstStyle>
            <a:lvl1pPr marL="0" indent="0">
              <a:buNone/>
              <a:defRPr sz="18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20" name="Picture Placeholder 2"/>
          <p:cNvSpPr>
            <a:spLocks noGrp="1" noChangeAspect="1"/>
          </p:cNvSpPr>
          <p:nvPr>
            <p:ph type="pic" idx="15"/>
          </p:nvPr>
        </p:nvSpPr>
        <p:spPr>
          <a:xfrm>
            <a:off x="999064" y="2256354"/>
            <a:ext cx="2205038"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21" name="Text Placeholder 3"/>
          <p:cNvSpPr>
            <a:spLocks noGrp="1"/>
          </p:cNvSpPr>
          <p:nvPr>
            <p:ph type="body" sz="half" idx="18"/>
          </p:nvPr>
        </p:nvSpPr>
        <p:spPr>
          <a:xfrm>
            <a:off x="999064" y="4873766"/>
            <a:ext cx="2205038" cy="659189"/>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Edit Master text styles</a:t>
            </a:r>
          </a:p>
        </p:txBody>
      </p:sp>
      <p:sp>
        <p:nvSpPr>
          <p:cNvPr id="22" name="Text Placeholder 4"/>
          <p:cNvSpPr>
            <a:spLocks noGrp="1"/>
          </p:cNvSpPr>
          <p:nvPr>
            <p:ph type="body" sz="quarter" idx="3"/>
          </p:nvPr>
        </p:nvSpPr>
        <p:spPr>
          <a:xfrm>
            <a:off x="3426748" y="4297503"/>
            <a:ext cx="2197894" cy="576262"/>
          </a:xfrm>
        </p:spPr>
        <p:txBody>
          <a:bodyPr anchor="b">
            <a:noAutofit/>
          </a:bodyPr>
          <a:lstStyle>
            <a:lvl1pPr marL="0" indent="0">
              <a:buNone/>
              <a:defRPr sz="18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23" name="Picture Placeholder 2"/>
          <p:cNvSpPr>
            <a:spLocks noGrp="1" noChangeAspect="1"/>
          </p:cNvSpPr>
          <p:nvPr>
            <p:ph type="pic" idx="21"/>
          </p:nvPr>
        </p:nvSpPr>
        <p:spPr>
          <a:xfrm>
            <a:off x="3426747" y="2256354"/>
            <a:ext cx="2197894"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24" name="Text Placeholder 3"/>
          <p:cNvSpPr>
            <a:spLocks noGrp="1"/>
          </p:cNvSpPr>
          <p:nvPr>
            <p:ph type="body" sz="half" idx="19"/>
          </p:nvPr>
        </p:nvSpPr>
        <p:spPr>
          <a:xfrm>
            <a:off x="3425733" y="4873765"/>
            <a:ext cx="2200805" cy="659189"/>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Edit Master text styles</a:t>
            </a:r>
          </a:p>
        </p:txBody>
      </p:sp>
      <p:sp>
        <p:nvSpPr>
          <p:cNvPr id="25" name="Text Placeholder 4"/>
          <p:cNvSpPr>
            <a:spLocks noGrp="1"/>
          </p:cNvSpPr>
          <p:nvPr>
            <p:ph type="body" sz="quarter" idx="13"/>
          </p:nvPr>
        </p:nvSpPr>
        <p:spPr>
          <a:xfrm>
            <a:off x="5853242" y="4297503"/>
            <a:ext cx="2199085" cy="576262"/>
          </a:xfrm>
        </p:spPr>
        <p:txBody>
          <a:bodyPr anchor="b">
            <a:noAutofit/>
          </a:bodyPr>
          <a:lstStyle>
            <a:lvl1pPr marL="0" indent="0">
              <a:buNone/>
              <a:defRPr sz="18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26" name="Picture Placeholder 2"/>
          <p:cNvSpPr>
            <a:spLocks noGrp="1" noChangeAspect="1"/>
          </p:cNvSpPr>
          <p:nvPr>
            <p:ph type="pic" idx="22"/>
          </p:nvPr>
        </p:nvSpPr>
        <p:spPr>
          <a:xfrm>
            <a:off x="5853241" y="2256354"/>
            <a:ext cx="219908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27" name="Text Placeholder 3"/>
          <p:cNvSpPr>
            <a:spLocks noGrp="1"/>
          </p:cNvSpPr>
          <p:nvPr>
            <p:ph type="body" sz="half" idx="20"/>
          </p:nvPr>
        </p:nvSpPr>
        <p:spPr>
          <a:xfrm>
            <a:off x="5853148" y="4873763"/>
            <a:ext cx="2201998" cy="659189"/>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Edit Master text styles</a:t>
            </a:r>
          </a:p>
        </p:txBody>
      </p:sp>
      <p:sp>
        <p:nvSpPr>
          <p:cNvPr id="3" name="Date Placeholder 2"/>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0D5A53AF-48EA-489D-8260-9DCAB666386A}"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334574678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0DED02AE-B9A4-47BD-AF8E-97E16144138B}"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399316064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CF0FD78B-DB02-4362-BCDC-98A55456977C}"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98916546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68313" y="527050"/>
            <a:ext cx="8135937" cy="1143000"/>
          </a:xfrm>
        </p:spPr>
        <p:txBody>
          <a:bodyPr/>
          <a:lstStyle/>
          <a:p>
            <a:r>
              <a:rPr lang="en-US"/>
              <a:t>Click to edit Master title style</a:t>
            </a:r>
          </a:p>
        </p:txBody>
      </p:sp>
      <p:sp>
        <p:nvSpPr>
          <p:cNvPr id="3" name="Content Placeholder 2"/>
          <p:cNvSpPr>
            <a:spLocks noGrp="1"/>
          </p:cNvSpPr>
          <p:nvPr>
            <p:ph sz="quarter" idx="1"/>
          </p:nvPr>
        </p:nvSpPr>
        <p:spPr>
          <a:xfrm>
            <a:off x="539750" y="1906588"/>
            <a:ext cx="3956050" cy="2160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906588"/>
            <a:ext cx="3956050" cy="2160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539750" y="4219575"/>
            <a:ext cx="3956050" cy="2162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648200" y="4219575"/>
            <a:ext cx="3956050" cy="2162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0545380"/>
      </p:ext>
    </p:extLst>
  </p:cSld>
  <p:clrMapOvr>
    <a:masterClrMapping/>
  </p:clrMapOvr>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eaLnBrk="0" hangingPunct="0">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07/25/2013</a:t>
            </a:r>
          </a:p>
        </p:txBody>
      </p:sp>
      <p:sp>
        <p:nvSpPr>
          <p:cNvPr id="5" name="Footer Placeholder 4"/>
          <p:cNvSpPr>
            <a:spLocks noGrp="1"/>
          </p:cNvSpPr>
          <p:nvPr>
            <p:ph type="ftr" sz="quarter" idx="11"/>
          </p:nvPr>
        </p:nvSpPr>
        <p:spPr/>
        <p:txBody>
          <a:bodyPr/>
          <a:lstStyle>
            <a:lvl1pPr eaLnBrk="0" hangingPunct="0">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How Do I Think About Pneumonia?</a:t>
            </a:r>
          </a:p>
        </p:txBody>
      </p:sp>
      <p:sp>
        <p:nvSpPr>
          <p:cNvPr id="6" name="Slide Number Placeholder 5"/>
          <p:cNvSpPr>
            <a:spLocks noGrp="1"/>
          </p:cNvSpPr>
          <p:nvPr>
            <p:ph type="sldNum" sz="quarter" idx="12"/>
          </p:nvPr>
        </p:nvSpPr>
        <p:spPr/>
        <p:txBody>
          <a:bodyPr/>
          <a:lstStyle>
            <a:lvl1pPr eaLnBrk="0" hangingPunc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6F9A4466-9C04-49B6-98D0-9B6FBEF6DB54}" type="slidenum">
              <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201218950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eaLnBrk="0" hangingPunct="0">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07/25/2013</a:t>
            </a:r>
          </a:p>
        </p:txBody>
      </p:sp>
      <p:sp>
        <p:nvSpPr>
          <p:cNvPr id="5" name="Footer Placeholder 4"/>
          <p:cNvSpPr>
            <a:spLocks noGrp="1"/>
          </p:cNvSpPr>
          <p:nvPr>
            <p:ph type="ftr" sz="quarter" idx="11"/>
          </p:nvPr>
        </p:nvSpPr>
        <p:spPr/>
        <p:txBody>
          <a:bodyPr/>
          <a:lstStyle>
            <a:lvl1pPr eaLnBrk="0" hangingPunct="0">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How Do I Think About Pneumonia?</a:t>
            </a:r>
          </a:p>
        </p:txBody>
      </p:sp>
      <p:sp>
        <p:nvSpPr>
          <p:cNvPr id="6" name="Slide Number Placeholder 5"/>
          <p:cNvSpPr>
            <a:spLocks noGrp="1"/>
          </p:cNvSpPr>
          <p:nvPr>
            <p:ph type="sldNum" sz="quarter" idx="12"/>
          </p:nvPr>
        </p:nvSpPr>
        <p:spPr/>
        <p:txBody>
          <a:bodyPr/>
          <a:lstStyle>
            <a:lvl1pPr eaLnBrk="0" hangingPunc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8E7CD9EB-1199-49B5-BA13-DE92AB7E6D5B}" type="slidenum">
              <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14156082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
          </p:nvPr>
        </p:nvSpPr>
        <p:spPr>
          <a:xfrm>
            <a:off x="609600"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2"/>
          </p:nvPr>
        </p:nvSpPr>
        <p:spPr>
          <a:xfrm>
            <a:off x="4844901"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7"/>
          <p:cNvSpPr>
            <a:spLocks noGrp="1"/>
          </p:cNvSpPr>
          <p:nvPr>
            <p:ph type="dt" sz="half" idx="10"/>
          </p:nvPr>
        </p:nvSpPr>
        <p:spPr/>
        <p:txBody>
          <a:bodyPr rtlCol="0"/>
          <a:lstStyle>
            <a:lvl1pPr>
              <a:defRPr/>
            </a:lvl1pPr>
          </a:lstStyle>
          <a:p>
            <a:pPr>
              <a:defRPr/>
            </a:pPr>
            <a:endParaRPr lang="en-US">
              <a:solidFill>
                <a:srgbClr val="775F55"/>
              </a:solidFill>
            </a:endParaRPr>
          </a:p>
        </p:txBody>
      </p:sp>
      <p:sp>
        <p:nvSpPr>
          <p:cNvPr id="6" name="Slide Number Placeholder 9"/>
          <p:cNvSpPr>
            <a:spLocks noGrp="1"/>
          </p:cNvSpPr>
          <p:nvPr>
            <p:ph type="sldNum" sz="quarter" idx="11"/>
          </p:nvPr>
        </p:nvSpPr>
        <p:spPr/>
        <p:txBody>
          <a:bodyPr rtlCol="0"/>
          <a:lstStyle>
            <a:lvl1pPr>
              <a:defRPr/>
            </a:lvl1pPr>
          </a:lstStyle>
          <a:p>
            <a:pPr>
              <a:defRPr/>
            </a:pPr>
            <a:fld id="{7E7CA001-53A7-49BA-8ABC-EE49306A4866}" type="slidenum">
              <a:rPr lang="en-US"/>
              <a:pPr>
                <a:defRPr/>
              </a:pPr>
              <a:t>‹#›</a:t>
            </a:fld>
            <a:endParaRPr lang="en-US"/>
          </a:p>
        </p:txBody>
      </p:sp>
      <p:sp>
        <p:nvSpPr>
          <p:cNvPr id="7" name="Footer Placeholder 11"/>
          <p:cNvSpPr>
            <a:spLocks noGrp="1"/>
          </p:cNvSpPr>
          <p:nvPr>
            <p:ph type="ftr" sz="quarter" idx="12"/>
          </p:nvPr>
        </p:nvSpPr>
        <p:spPr/>
        <p:txBody>
          <a:bodyPr rtlCol="0"/>
          <a:lstStyle>
            <a:lvl1pPr>
              <a:defRPr/>
            </a:lvl1pPr>
          </a:lstStyle>
          <a:p>
            <a:pPr>
              <a:defRPr/>
            </a:pPr>
            <a:endParaRPr lang="en-US">
              <a:solidFill>
                <a:srgbClr val="775F55"/>
              </a:solidFill>
            </a:endParaRPr>
          </a:p>
        </p:txBody>
      </p:sp>
    </p:spTree>
    <p:extLst>
      <p:ext uri="{BB962C8B-B14F-4D97-AF65-F5344CB8AC3E}">
        <p14:creationId xmlns:p14="http://schemas.microsoft.com/office/powerpoint/2010/main" val="2129364691"/>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eaLnBrk="0" hangingPunct="0">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07/25/2013</a:t>
            </a:r>
          </a:p>
        </p:txBody>
      </p:sp>
      <p:sp>
        <p:nvSpPr>
          <p:cNvPr id="5" name="Footer Placeholder 4"/>
          <p:cNvSpPr>
            <a:spLocks noGrp="1"/>
          </p:cNvSpPr>
          <p:nvPr>
            <p:ph type="ftr" sz="quarter" idx="11"/>
          </p:nvPr>
        </p:nvSpPr>
        <p:spPr/>
        <p:txBody>
          <a:bodyPr/>
          <a:lstStyle>
            <a:lvl1pPr eaLnBrk="0" hangingPunct="0">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How Do I Think About Pneumonia?</a:t>
            </a:r>
          </a:p>
        </p:txBody>
      </p:sp>
      <p:sp>
        <p:nvSpPr>
          <p:cNvPr id="6" name="Slide Number Placeholder 5"/>
          <p:cNvSpPr>
            <a:spLocks noGrp="1"/>
          </p:cNvSpPr>
          <p:nvPr>
            <p:ph type="sldNum" sz="quarter" idx="12"/>
          </p:nvPr>
        </p:nvSpPr>
        <p:spPr/>
        <p:txBody>
          <a:bodyPr/>
          <a:lstStyle>
            <a:lvl1pPr eaLnBrk="0" hangingPunc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A5442A2D-285A-43F7-90C9-444051FC0759}" type="slidenum">
              <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164597264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eaLnBrk="0" hangingPunct="0">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07/25/2013</a:t>
            </a:r>
          </a:p>
        </p:txBody>
      </p:sp>
      <p:sp>
        <p:nvSpPr>
          <p:cNvPr id="6" name="Footer Placeholder 4"/>
          <p:cNvSpPr>
            <a:spLocks noGrp="1"/>
          </p:cNvSpPr>
          <p:nvPr>
            <p:ph type="ftr" sz="quarter" idx="11"/>
          </p:nvPr>
        </p:nvSpPr>
        <p:spPr/>
        <p:txBody>
          <a:bodyPr/>
          <a:lstStyle>
            <a:lvl1pPr eaLnBrk="0" hangingPunct="0">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How Do I Think About Pneumonia?</a:t>
            </a:r>
          </a:p>
        </p:txBody>
      </p:sp>
      <p:sp>
        <p:nvSpPr>
          <p:cNvPr id="7" name="Slide Number Placeholder 5"/>
          <p:cNvSpPr>
            <a:spLocks noGrp="1"/>
          </p:cNvSpPr>
          <p:nvPr>
            <p:ph type="sldNum" sz="quarter" idx="12"/>
          </p:nvPr>
        </p:nvSpPr>
        <p:spPr/>
        <p:txBody>
          <a:bodyPr/>
          <a:lstStyle>
            <a:lvl1pPr eaLnBrk="0" hangingPunc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5E468A96-C537-4278-8C10-88E263C85FE3}" type="slidenum">
              <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47464459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eaLnBrk="0" hangingPunct="0">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07/25/2013</a:t>
            </a:r>
          </a:p>
        </p:txBody>
      </p:sp>
      <p:sp>
        <p:nvSpPr>
          <p:cNvPr id="8" name="Footer Placeholder 4"/>
          <p:cNvSpPr>
            <a:spLocks noGrp="1"/>
          </p:cNvSpPr>
          <p:nvPr>
            <p:ph type="ftr" sz="quarter" idx="11"/>
          </p:nvPr>
        </p:nvSpPr>
        <p:spPr/>
        <p:txBody>
          <a:bodyPr/>
          <a:lstStyle>
            <a:lvl1pPr eaLnBrk="0" hangingPunct="0">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How Do I Think About Pneumonia?</a:t>
            </a:r>
          </a:p>
        </p:txBody>
      </p:sp>
      <p:sp>
        <p:nvSpPr>
          <p:cNvPr id="9" name="Slide Number Placeholder 5"/>
          <p:cNvSpPr>
            <a:spLocks noGrp="1"/>
          </p:cNvSpPr>
          <p:nvPr>
            <p:ph type="sldNum" sz="quarter" idx="12"/>
          </p:nvPr>
        </p:nvSpPr>
        <p:spPr/>
        <p:txBody>
          <a:bodyPr/>
          <a:lstStyle>
            <a:lvl1pPr eaLnBrk="0" hangingPunc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38EE78DA-DAA0-4B2B-95C5-5F663397F768}" type="slidenum">
              <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372020771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eaLnBrk="0" hangingPunct="0">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07/25/2013</a:t>
            </a:r>
          </a:p>
        </p:txBody>
      </p:sp>
      <p:sp>
        <p:nvSpPr>
          <p:cNvPr id="4" name="Footer Placeholder 4"/>
          <p:cNvSpPr>
            <a:spLocks noGrp="1"/>
          </p:cNvSpPr>
          <p:nvPr>
            <p:ph type="ftr" sz="quarter" idx="11"/>
          </p:nvPr>
        </p:nvSpPr>
        <p:spPr/>
        <p:txBody>
          <a:bodyPr/>
          <a:lstStyle>
            <a:lvl1pPr eaLnBrk="0" hangingPunct="0">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How Do I Think About Pneumonia?</a:t>
            </a:r>
          </a:p>
        </p:txBody>
      </p:sp>
      <p:sp>
        <p:nvSpPr>
          <p:cNvPr id="5" name="Slide Number Placeholder 5"/>
          <p:cNvSpPr>
            <a:spLocks noGrp="1"/>
          </p:cNvSpPr>
          <p:nvPr>
            <p:ph type="sldNum" sz="quarter" idx="12"/>
          </p:nvPr>
        </p:nvSpPr>
        <p:spPr/>
        <p:txBody>
          <a:bodyPr/>
          <a:lstStyle>
            <a:lvl1pPr eaLnBrk="0" hangingPunc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CA78F8D1-372B-4EB4-9210-8CCB88DBB520}" type="slidenum">
              <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73281511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eaLnBrk="0" hangingPunct="0">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07/25/2013</a:t>
            </a:r>
          </a:p>
        </p:txBody>
      </p:sp>
      <p:sp>
        <p:nvSpPr>
          <p:cNvPr id="3" name="Footer Placeholder 4"/>
          <p:cNvSpPr>
            <a:spLocks noGrp="1"/>
          </p:cNvSpPr>
          <p:nvPr>
            <p:ph type="ftr" sz="quarter" idx="11"/>
          </p:nvPr>
        </p:nvSpPr>
        <p:spPr/>
        <p:txBody>
          <a:bodyPr/>
          <a:lstStyle>
            <a:lvl1pPr eaLnBrk="0" hangingPunct="0">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How Do I Think About Pneumonia?</a:t>
            </a:r>
          </a:p>
        </p:txBody>
      </p:sp>
      <p:sp>
        <p:nvSpPr>
          <p:cNvPr id="4" name="Slide Number Placeholder 5"/>
          <p:cNvSpPr>
            <a:spLocks noGrp="1"/>
          </p:cNvSpPr>
          <p:nvPr>
            <p:ph type="sldNum" sz="quarter" idx="12"/>
          </p:nvPr>
        </p:nvSpPr>
        <p:spPr/>
        <p:txBody>
          <a:bodyPr/>
          <a:lstStyle>
            <a:lvl1pPr eaLnBrk="0" hangingPunc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C43C7A9A-71BF-4F02-A5EE-5D8245460FB9}" type="slidenum">
              <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346892001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eaLnBrk="0" hangingPunct="0">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07/25/2013</a:t>
            </a:r>
          </a:p>
        </p:txBody>
      </p:sp>
      <p:sp>
        <p:nvSpPr>
          <p:cNvPr id="6" name="Footer Placeholder 4"/>
          <p:cNvSpPr>
            <a:spLocks noGrp="1"/>
          </p:cNvSpPr>
          <p:nvPr>
            <p:ph type="ftr" sz="quarter" idx="11"/>
          </p:nvPr>
        </p:nvSpPr>
        <p:spPr/>
        <p:txBody>
          <a:bodyPr/>
          <a:lstStyle>
            <a:lvl1pPr eaLnBrk="0" hangingPunct="0">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How Do I Think About Pneumonia?</a:t>
            </a:r>
          </a:p>
        </p:txBody>
      </p:sp>
      <p:sp>
        <p:nvSpPr>
          <p:cNvPr id="7" name="Slide Number Placeholder 5"/>
          <p:cNvSpPr>
            <a:spLocks noGrp="1"/>
          </p:cNvSpPr>
          <p:nvPr>
            <p:ph type="sldNum" sz="quarter" idx="12"/>
          </p:nvPr>
        </p:nvSpPr>
        <p:spPr/>
        <p:txBody>
          <a:bodyPr/>
          <a:lstStyle>
            <a:lvl1pPr eaLnBrk="0" hangingPunc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5F1DBDDE-EF8F-49C1-B001-C6BBDD8D1263}" type="slidenum">
              <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281300075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eaLnBrk="0" hangingPunct="0">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07/25/2013</a:t>
            </a:r>
          </a:p>
        </p:txBody>
      </p:sp>
      <p:sp>
        <p:nvSpPr>
          <p:cNvPr id="6" name="Footer Placeholder 4"/>
          <p:cNvSpPr>
            <a:spLocks noGrp="1"/>
          </p:cNvSpPr>
          <p:nvPr>
            <p:ph type="ftr" sz="quarter" idx="11"/>
          </p:nvPr>
        </p:nvSpPr>
        <p:spPr/>
        <p:txBody>
          <a:bodyPr/>
          <a:lstStyle>
            <a:lvl1pPr eaLnBrk="0" hangingPunct="0">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How Do I Think About Pneumonia?</a:t>
            </a:r>
          </a:p>
        </p:txBody>
      </p:sp>
      <p:sp>
        <p:nvSpPr>
          <p:cNvPr id="7" name="Slide Number Placeholder 5"/>
          <p:cNvSpPr>
            <a:spLocks noGrp="1"/>
          </p:cNvSpPr>
          <p:nvPr>
            <p:ph type="sldNum" sz="quarter" idx="12"/>
          </p:nvPr>
        </p:nvSpPr>
        <p:spPr/>
        <p:txBody>
          <a:bodyPr/>
          <a:lstStyle>
            <a:lvl1pPr eaLnBrk="0" hangingPunc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A93DEA38-C151-4B76-9451-EEA0BF9B0348}" type="slidenum">
              <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91384562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eaLnBrk="0" hangingPunct="0">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07/25/2013</a:t>
            </a:r>
          </a:p>
        </p:txBody>
      </p:sp>
      <p:sp>
        <p:nvSpPr>
          <p:cNvPr id="5" name="Footer Placeholder 4"/>
          <p:cNvSpPr>
            <a:spLocks noGrp="1"/>
          </p:cNvSpPr>
          <p:nvPr>
            <p:ph type="ftr" sz="quarter" idx="11"/>
          </p:nvPr>
        </p:nvSpPr>
        <p:spPr/>
        <p:txBody>
          <a:bodyPr/>
          <a:lstStyle>
            <a:lvl1pPr eaLnBrk="0" hangingPunct="0">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How Do I Think About Pneumonia?</a:t>
            </a:r>
          </a:p>
        </p:txBody>
      </p:sp>
      <p:sp>
        <p:nvSpPr>
          <p:cNvPr id="6" name="Slide Number Placeholder 5"/>
          <p:cNvSpPr>
            <a:spLocks noGrp="1"/>
          </p:cNvSpPr>
          <p:nvPr>
            <p:ph type="sldNum" sz="quarter" idx="12"/>
          </p:nvPr>
        </p:nvSpPr>
        <p:spPr/>
        <p:txBody>
          <a:bodyPr/>
          <a:lstStyle>
            <a:lvl1pPr eaLnBrk="0" hangingPunc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02F180C4-04EA-43D6-8AFF-C940CDF670DC}" type="slidenum">
              <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23235748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eaLnBrk="0" hangingPunct="0">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07/25/2013</a:t>
            </a:r>
          </a:p>
        </p:txBody>
      </p:sp>
      <p:sp>
        <p:nvSpPr>
          <p:cNvPr id="5" name="Footer Placeholder 4"/>
          <p:cNvSpPr>
            <a:spLocks noGrp="1"/>
          </p:cNvSpPr>
          <p:nvPr>
            <p:ph type="ftr" sz="quarter" idx="11"/>
          </p:nvPr>
        </p:nvSpPr>
        <p:spPr/>
        <p:txBody>
          <a:bodyPr/>
          <a:lstStyle>
            <a:lvl1pPr eaLnBrk="0" hangingPunct="0">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How Do I Think About Pneumonia?</a:t>
            </a:r>
          </a:p>
        </p:txBody>
      </p:sp>
      <p:sp>
        <p:nvSpPr>
          <p:cNvPr id="6" name="Slide Number Placeholder 5"/>
          <p:cNvSpPr>
            <a:spLocks noGrp="1"/>
          </p:cNvSpPr>
          <p:nvPr>
            <p:ph type="sldNum" sz="quarter" idx="12"/>
          </p:nvPr>
        </p:nvSpPr>
        <p:spPr/>
        <p:txBody>
          <a:bodyPr/>
          <a:lstStyle>
            <a:lvl1pPr eaLnBrk="0" hangingPunc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276DEDD5-5B62-4BF3-82C0-E87215D2B7CC}" type="slidenum">
              <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269483412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295400" y="241300"/>
            <a:ext cx="7620000" cy="9398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295400" y="1524000"/>
            <a:ext cx="7620000" cy="5105400"/>
          </a:xfrm>
        </p:spPr>
        <p:txBody>
          <a:bodyPr/>
          <a:lstStyle/>
          <a:p>
            <a:pPr lvl="0"/>
            <a:endParaRPr lang="en-US" noProof="0"/>
          </a:p>
        </p:txBody>
      </p:sp>
    </p:spTree>
    <p:extLst>
      <p:ext uri="{BB962C8B-B14F-4D97-AF65-F5344CB8AC3E}">
        <p14:creationId xmlns:p14="http://schemas.microsoft.com/office/powerpoint/2010/main" val="9515835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lstStyle>
            <a:lvl1pPr>
              <a:defRPr/>
            </a:lvl1pPr>
          </a:lstStyle>
          <a:p>
            <a:r>
              <a:rPr lang="en-US" smtClean="0"/>
              <a:t>Click to edit Master title style</a:t>
            </a:r>
            <a:endParaRPr lang="en-US"/>
          </a:p>
        </p:txBody>
      </p:sp>
      <p:sp>
        <p:nvSpPr>
          <p:cNvPr id="11" name="Content Placeholder 10"/>
          <p:cNvSpPr>
            <a:spLocks noGrp="1"/>
          </p:cNvSpPr>
          <p:nvPr>
            <p:ph sz="quarter" idx="2"/>
          </p:nvPr>
        </p:nvSpPr>
        <p:spPr>
          <a:xfrm>
            <a:off x="609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12"/>
          <p:cNvSpPr>
            <a:spLocks noGrp="1"/>
          </p:cNvSpPr>
          <p:nvPr>
            <p:ph sz="quarter" idx="4"/>
          </p:nvPr>
        </p:nvSpPr>
        <p:spPr>
          <a:xfrm>
            <a:off x="4800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7" name="Date Placeholder 9"/>
          <p:cNvSpPr>
            <a:spLocks noGrp="1"/>
          </p:cNvSpPr>
          <p:nvPr>
            <p:ph type="dt" sz="half" idx="10"/>
          </p:nvPr>
        </p:nvSpPr>
        <p:spPr/>
        <p:txBody>
          <a:bodyPr rtlCol="0"/>
          <a:lstStyle>
            <a:lvl1pPr>
              <a:defRPr/>
            </a:lvl1pPr>
          </a:lstStyle>
          <a:p>
            <a:pPr>
              <a:defRPr/>
            </a:pPr>
            <a:endParaRPr lang="en-US">
              <a:solidFill>
                <a:srgbClr val="775F55"/>
              </a:solidFill>
            </a:endParaRPr>
          </a:p>
        </p:txBody>
      </p:sp>
      <p:sp>
        <p:nvSpPr>
          <p:cNvPr id="8" name="Slide Number Placeholder 11"/>
          <p:cNvSpPr>
            <a:spLocks noGrp="1"/>
          </p:cNvSpPr>
          <p:nvPr>
            <p:ph type="sldNum" sz="quarter" idx="11"/>
          </p:nvPr>
        </p:nvSpPr>
        <p:spPr/>
        <p:txBody>
          <a:bodyPr rtlCol="0"/>
          <a:lstStyle>
            <a:lvl1pPr>
              <a:defRPr/>
            </a:lvl1pPr>
          </a:lstStyle>
          <a:p>
            <a:pPr>
              <a:defRPr/>
            </a:pPr>
            <a:fld id="{6A5D0C8C-DFEB-45A8-9EE0-05EADDB58FFC}" type="slidenum">
              <a:rPr lang="en-US"/>
              <a:pPr>
                <a:defRPr/>
              </a:pPr>
              <a:t>‹#›</a:t>
            </a:fld>
            <a:endParaRPr lang="en-US"/>
          </a:p>
        </p:txBody>
      </p:sp>
      <p:sp>
        <p:nvSpPr>
          <p:cNvPr id="9" name="Footer Placeholder 13"/>
          <p:cNvSpPr>
            <a:spLocks noGrp="1"/>
          </p:cNvSpPr>
          <p:nvPr>
            <p:ph type="ftr" sz="quarter" idx="12"/>
          </p:nvPr>
        </p:nvSpPr>
        <p:spPr/>
        <p:txBody>
          <a:bodyPr rtlCol="0"/>
          <a:lstStyle>
            <a:lvl1pPr>
              <a:defRPr/>
            </a:lvl1pPr>
          </a:lstStyle>
          <a:p>
            <a:pPr>
              <a:defRPr/>
            </a:pPr>
            <a:endParaRPr lang="en-US">
              <a:solidFill>
                <a:srgbClr val="775F55"/>
              </a:solidFill>
            </a:endParaRPr>
          </a:p>
        </p:txBody>
      </p:sp>
    </p:spTree>
    <p:extLst>
      <p:ext uri="{BB962C8B-B14F-4D97-AF65-F5344CB8AC3E}">
        <p14:creationId xmlns:p14="http://schemas.microsoft.com/office/powerpoint/2010/main" val="376805555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295400" y="241300"/>
            <a:ext cx="7620000" cy="93980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1295400" y="1524000"/>
            <a:ext cx="7620000" cy="5105400"/>
          </a:xfrm>
        </p:spPr>
        <p:txBody>
          <a:bodyPr/>
          <a:lstStyle/>
          <a:p>
            <a:pPr lvl="0"/>
            <a:endParaRPr lang="en-US" noProof="0"/>
          </a:p>
        </p:txBody>
      </p:sp>
    </p:spTree>
    <p:extLst>
      <p:ext uri="{BB962C8B-B14F-4D97-AF65-F5344CB8AC3E}">
        <p14:creationId xmlns:p14="http://schemas.microsoft.com/office/powerpoint/2010/main" val="97743514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7E2D701D-A80C-DA70-5D1C-A69D0355E29B}"/>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0E5A31A-5355-4487-9D28-FD7E2DE638CF}"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1C13EC87-2686-A617-59D6-0D746E25A4C6}"/>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6E259C64-B71A-2531-DE32-52D485396048}"/>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344C3AC3-1DE5-4CA6-B7DC-7724C5212AD9}"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26140157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A2E1B9-0720-2EEB-4E5B-B5C58F8B25E1}"/>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D7F50FF-4D00-40CA-A2A1-9F25103BC6A1}"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16DD6027-069C-1E37-7508-3D059A5ABEBE}"/>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6FFB2B07-9339-14AF-C549-4C6A3D5026E2}"/>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76A10902-4581-4466-A040-400166ACFA46}"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344441049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8"/>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DCB323-579D-B2B0-0EC0-8282A060EE5D}"/>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D2EF164-B7E1-4E75-BE15-26CF577729C0}"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1B1A0842-0677-473E-6472-73AC4F0F4BD8}"/>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EDE27F18-3E6A-23FD-2370-D979701F3367}"/>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3A15892-447C-483A-A009-AA608C5F9217}"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85758879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8D8058EA-00A7-E544-1DA3-C0E4CB77C3A2}"/>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3896A0F-1C12-4717-AB26-628D6503ADEC}"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Footer Placeholder 4">
            <a:extLst>
              <a:ext uri="{FF2B5EF4-FFF2-40B4-BE49-F238E27FC236}">
                <a16:creationId xmlns:a16="http://schemas.microsoft.com/office/drawing/2014/main" id="{3274D52A-61CB-B07B-ECEC-EFB4DC239C99}"/>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7" name="Slide Number Placeholder 5">
            <a:extLst>
              <a:ext uri="{FF2B5EF4-FFF2-40B4-BE49-F238E27FC236}">
                <a16:creationId xmlns:a16="http://schemas.microsoft.com/office/drawing/2014/main" id="{7959D501-3798-B666-47D0-5A5EAFD0988F}"/>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E8D92F1-E8D1-4355-B36E-3195C1045B16}"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76034550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4"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4"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9BB77253-28B2-8DC4-A772-D758B29E00F6}"/>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B76C5AF-6028-4253-ABFF-9A78AB70E26B}"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8" name="Footer Placeholder 4">
            <a:extLst>
              <a:ext uri="{FF2B5EF4-FFF2-40B4-BE49-F238E27FC236}">
                <a16:creationId xmlns:a16="http://schemas.microsoft.com/office/drawing/2014/main" id="{CEECCB7C-3AD2-F2DB-7C19-B53D76F22E76}"/>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9" name="Slide Number Placeholder 5">
            <a:extLst>
              <a:ext uri="{FF2B5EF4-FFF2-40B4-BE49-F238E27FC236}">
                <a16:creationId xmlns:a16="http://schemas.microsoft.com/office/drawing/2014/main" id="{AAEC791F-877F-F874-E1A8-57AE16426ECE}"/>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745C4F9-BFF9-46BA-B221-1A0AF76C2743}"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79581608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425D0691-BBE1-CE97-5961-6136622C14F3}"/>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CBB1E7F-B7D7-4589-9FB7-3BFF786342B3}"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4" name="Footer Placeholder 4">
            <a:extLst>
              <a:ext uri="{FF2B5EF4-FFF2-40B4-BE49-F238E27FC236}">
                <a16:creationId xmlns:a16="http://schemas.microsoft.com/office/drawing/2014/main" id="{04DDE9F5-BD53-D4E9-A358-32FC0B32E86D}"/>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Slide Number Placeholder 5">
            <a:extLst>
              <a:ext uri="{FF2B5EF4-FFF2-40B4-BE49-F238E27FC236}">
                <a16:creationId xmlns:a16="http://schemas.microsoft.com/office/drawing/2014/main" id="{FF5A31A8-695B-5CF3-884B-E8B49609DFBB}"/>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509F0B00-EFE7-4CA1-A9DD-59122AF3E44C}"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414919004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74D88FD3-538C-E712-9CE3-16F5325B3AC7}"/>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38ADCF7-A1F3-467B-9D83-FE21DD14A892}"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3" name="Footer Placeholder 4">
            <a:extLst>
              <a:ext uri="{FF2B5EF4-FFF2-40B4-BE49-F238E27FC236}">
                <a16:creationId xmlns:a16="http://schemas.microsoft.com/office/drawing/2014/main" id="{22495ACB-4430-9DF4-9DB1-05BB9CDF91F5}"/>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4" name="Slide Number Placeholder 5">
            <a:extLst>
              <a:ext uri="{FF2B5EF4-FFF2-40B4-BE49-F238E27FC236}">
                <a16:creationId xmlns:a16="http://schemas.microsoft.com/office/drawing/2014/main" id="{447C6CA7-7B6B-3878-9113-86CA2B52CFBB}"/>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FE2678E1-693E-4A95-BAD2-F8FFC30826A9}"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65291363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FD88D249-E77D-55B9-90AB-0CB4AC6C6A1A}"/>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5FFBA9C-9A44-4B85-8B20-5C7E9FC95DCA}"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Footer Placeholder 4">
            <a:extLst>
              <a:ext uri="{FF2B5EF4-FFF2-40B4-BE49-F238E27FC236}">
                <a16:creationId xmlns:a16="http://schemas.microsoft.com/office/drawing/2014/main" id="{F46A729B-3E6C-7DF2-3BDE-5B4C558F3CFE}"/>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7" name="Slide Number Placeholder 5">
            <a:extLst>
              <a:ext uri="{FF2B5EF4-FFF2-40B4-BE49-F238E27FC236}">
                <a16:creationId xmlns:a16="http://schemas.microsoft.com/office/drawing/2014/main" id="{C060E326-8CAD-4FCC-BEDC-E97F4920ABF0}"/>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724F8F8-43B2-4578-AF4E-BE31F7B747BB}"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90272003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9A240EED-0BCF-9890-DD7C-7427ABCECD9B}"/>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CF9A411-630B-430E-B0C1-A1EA1BABEF6A}"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Footer Placeholder 4">
            <a:extLst>
              <a:ext uri="{FF2B5EF4-FFF2-40B4-BE49-F238E27FC236}">
                <a16:creationId xmlns:a16="http://schemas.microsoft.com/office/drawing/2014/main" id="{0B8F5E76-FB5B-A470-0332-174F2844BB70}"/>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7" name="Slide Number Placeholder 5">
            <a:extLst>
              <a:ext uri="{FF2B5EF4-FFF2-40B4-BE49-F238E27FC236}">
                <a16:creationId xmlns:a16="http://schemas.microsoft.com/office/drawing/2014/main" id="{33B81A2D-EB77-5122-68E7-F042378827D0}"/>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97CCA52-00D1-428B-8230-810899CE78C6}"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0367391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10" name="Rounded Rectangle 9"/>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722313" y="952500"/>
            <a:ext cx="7772400" cy="1362075"/>
          </a:xfrm>
        </p:spPr>
        <p:txBody>
          <a:bodyPr anchor="b" anchorCtr="0"/>
          <a:lstStyle>
            <a:lvl1pPr algn="l">
              <a:buNone/>
              <a:defRPr sz="4000" b="0" cap="none"/>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722313" y="2547938"/>
            <a:ext cx="7772400" cy="1338262"/>
          </a:xfrm>
        </p:spPr>
        <p:txBody>
          <a:bodyPr anchor="t" anchorCtr="0"/>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5" name="Footer Placeholder 4"/>
          <p:cNvSpPr>
            <a:spLocks noGrp="1"/>
          </p:cNvSpPr>
          <p:nvPr>
            <p:ph type="ftr" sz="quarter" idx="11"/>
          </p:nvPr>
        </p:nvSpPr>
        <p:spPr>
          <a:xfrm>
            <a:off x="800100" y="6172200"/>
            <a:ext cx="4000500" cy="457200"/>
          </a:xfrm>
        </p:spPr>
        <p:txBody>
          <a:bodyPr/>
          <a:lstStyle/>
          <a:p>
            <a:endParaRPr lang="en-US"/>
          </a:p>
        </p:txBody>
      </p:sp>
      <p:sp>
        <p:nvSpPr>
          <p:cNvPr id="7" name="Rectangle 6"/>
          <p:cNvSpPr/>
          <p:nvPr/>
        </p:nvSpPr>
        <p:spPr>
          <a:xfrm flipV="1">
            <a:off x="69412" y="2376830"/>
            <a:ext cx="9013515"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69146" y="2341475"/>
            <a:ext cx="9013781"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68306" y="2468880"/>
            <a:ext cx="9014621" cy="45720"/>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6" name="Slide Number Placeholder 5"/>
          <p:cNvSpPr>
            <a:spLocks noGrp="1"/>
          </p:cNvSpPr>
          <p:nvPr>
            <p:ph type="sldNum" sz="quarter" idx="12"/>
          </p:nvPr>
        </p:nvSpPr>
        <p:spPr>
          <a:xfrm>
            <a:off x="146304" y="6208776"/>
            <a:ext cx="457200" cy="457200"/>
          </a:xfrm>
        </p:spPr>
        <p:txBody>
          <a:bodyPr/>
          <a:lstStyle/>
          <a:p>
            <a:fld id="{588F465F-DAF4-455E-950B-4E617B86F3AD}" type="slidenum">
              <a:rPr lang="en-US" smtClean="0"/>
              <a:pPr/>
              <a:t>‹#›</a:t>
            </a:fld>
            <a:endParaRPr lang="en-US"/>
          </a:p>
        </p:txBody>
      </p:sp>
    </p:spTree>
  </p:cSld>
  <p:clrMapOvr>
    <a:overrideClrMapping bg1="lt1" tx1="dk1" bg2="lt2" tx2="dk2" accent1="accent1" accent2="accent2" accent3="accent3" accent4="accent4" accent5="accent5" accent6="accent6" hlink="hlink" folHlink="folHlink"/>
  </p:clrMapOvr>
  <p:transition>
    <p:dissolve/>
    <p:sndAc>
      <p:stSnd>
        <p:snd r:embed="rId1" name="chimes.wav"/>
      </p:stSnd>
    </p:sndAc>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13"/>
          <p:cNvSpPr>
            <a:spLocks noGrp="1"/>
          </p:cNvSpPr>
          <p:nvPr>
            <p:ph type="dt" sz="half" idx="10"/>
          </p:nvPr>
        </p:nvSpPr>
        <p:spPr/>
        <p:txBody>
          <a:bodyPr/>
          <a:lstStyle>
            <a:lvl1pPr>
              <a:defRPr/>
            </a:lvl1pPr>
          </a:lstStyle>
          <a:p>
            <a:pPr>
              <a:defRPr/>
            </a:pPr>
            <a:endParaRPr lang="en-US">
              <a:solidFill>
                <a:srgbClr val="775F55"/>
              </a:solidFill>
            </a:endParaRPr>
          </a:p>
        </p:txBody>
      </p:sp>
      <p:sp>
        <p:nvSpPr>
          <p:cNvPr id="4" name="Footer Placeholder 2"/>
          <p:cNvSpPr>
            <a:spLocks noGrp="1"/>
          </p:cNvSpPr>
          <p:nvPr>
            <p:ph type="ftr" sz="quarter" idx="11"/>
          </p:nvPr>
        </p:nvSpPr>
        <p:spPr/>
        <p:txBody>
          <a:bodyPr/>
          <a:lstStyle>
            <a:lvl1pPr>
              <a:defRPr/>
            </a:lvl1pPr>
          </a:lstStyle>
          <a:p>
            <a:pPr>
              <a:defRPr/>
            </a:pPr>
            <a:endParaRPr lang="en-US">
              <a:solidFill>
                <a:srgbClr val="775F55"/>
              </a:solidFill>
            </a:endParaRPr>
          </a:p>
        </p:txBody>
      </p:sp>
      <p:sp>
        <p:nvSpPr>
          <p:cNvPr id="5" name="Slide Number Placeholder 22"/>
          <p:cNvSpPr>
            <a:spLocks noGrp="1"/>
          </p:cNvSpPr>
          <p:nvPr>
            <p:ph type="sldNum" sz="quarter" idx="12"/>
          </p:nvPr>
        </p:nvSpPr>
        <p:spPr/>
        <p:txBody>
          <a:bodyPr/>
          <a:lstStyle>
            <a:lvl1pPr>
              <a:defRPr/>
            </a:lvl1pPr>
          </a:lstStyle>
          <a:p>
            <a:pPr>
              <a:defRPr/>
            </a:pPr>
            <a:fld id="{ECEB31A6-AB3A-4F26-86FE-30F991127B13}" type="slidenum">
              <a:rPr lang="en-US"/>
              <a:pPr>
                <a:defRPr/>
              </a:pPr>
              <a:t>‹#›</a:t>
            </a:fld>
            <a:endParaRPr lang="en-US"/>
          </a:p>
        </p:txBody>
      </p:sp>
    </p:spTree>
    <p:extLst>
      <p:ext uri="{BB962C8B-B14F-4D97-AF65-F5344CB8AC3E}">
        <p14:creationId xmlns:p14="http://schemas.microsoft.com/office/powerpoint/2010/main" val="264929490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EC769C-EE72-9918-8B54-295A95F3ED05}"/>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172AC4C-0D08-4F4C-AFD3-8F9A6CCF7FBE}"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A5C58CF9-A8E4-F85C-376D-080B0600202A}"/>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81447AAC-AA31-55B5-DDB1-D88ABCE705D1}"/>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383064C-8F39-4FCE-BB71-D57E8AAFC75A}"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343557240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6"/>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56"/>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CD05FA-23F1-92A8-E89C-F5DF678D231D}"/>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523C604-0424-4E7E-8A2C-076572A8E495}"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598F20B3-ABD1-39C1-1EFF-9A37679577A6}"/>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D8597A83-9887-0F5B-E1EC-E178C8C7E782}"/>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8C75062-BF8B-4415-9CAF-7716E482BA4D}"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301299451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7E2D701D-A80C-DA70-5D1C-A69D0355E29B}"/>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0E5A31A-5355-4487-9D28-FD7E2DE638CF}"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1C13EC87-2686-A617-59D6-0D746E25A4C6}"/>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6E259C64-B71A-2531-DE32-52D485396048}"/>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344C3AC3-1DE5-4CA6-B7DC-7724C5212AD9}"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80463777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A2E1B9-0720-2EEB-4E5B-B5C58F8B25E1}"/>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D7F50FF-4D00-40CA-A2A1-9F25103BC6A1}"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16DD6027-069C-1E37-7508-3D059A5ABEBE}"/>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6FFB2B07-9339-14AF-C549-4C6A3D5026E2}"/>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76A10902-4581-4466-A040-400166ACFA46}"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199491615"/>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8"/>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DCB323-579D-B2B0-0EC0-8282A060EE5D}"/>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D2EF164-B7E1-4E75-BE15-26CF577729C0}"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1B1A0842-0677-473E-6472-73AC4F0F4BD8}"/>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EDE27F18-3E6A-23FD-2370-D979701F3367}"/>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3A15892-447C-483A-A009-AA608C5F9217}"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304802565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8D8058EA-00A7-E544-1DA3-C0E4CB77C3A2}"/>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3896A0F-1C12-4717-AB26-628D6503ADEC}"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Footer Placeholder 4">
            <a:extLst>
              <a:ext uri="{FF2B5EF4-FFF2-40B4-BE49-F238E27FC236}">
                <a16:creationId xmlns:a16="http://schemas.microsoft.com/office/drawing/2014/main" id="{3274D52A-61CB-B07B-ECEC-EFB4DC239C99}"/>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7" name="Slide Number Placeholder 5">
            <a:extLst>
              <a:ext uri="{FF2B5EF4-FFF2-40B4-BE49-F238E27FC236}">
                <a16:creationId xmlns:a16="http://schemas.microsoft.com/office/drawing/2014/main" id="{7959D501-3798-B666-47D0-5A5EAFD0988F}"/>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E8D92F1-E8D1-4355-B36E-3195C1045B16}"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5423952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4"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4"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9BB77253-28B2-8DC4-A772-D758B29E00F6}"/>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B76C5AF-6028-4253-ABFF-9A78AB70E26B}"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8" name="Footer Placeholder 4">
            <a:extLst>
              <a:ext uri="{FF2B5EF4-FFF2-40B4-BE49-F238E27FC236}">
                <a16:creationId xmlns:a16="http://schemas.microsoft.com/office/drawing/2014/main" id="{CEECCB7C-3AD2-F2DB-7C19-B53D76F22E76}"/>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9" name="Slide Number Placeholder 5">
            <a:extLst>
              <a:ext uri="{FF2B5EF4-FFF2-40B4-BE49-F238E27FC236}">
                <a16:creationId xmlns:a16="http://schemas.microsoft.com/office/drawing/2014/main" id="{AAEC791F-877F-F874-E1A8-57AE16426ECE}"/>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745C4F9-BFF9-46BA-B221-1A0AF76C2743}"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48813979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425D0691-BBE1-CE97-5961-6136622C14F3}"/>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CBB1E7F-B7D7-4589-9FB7-3BFF786342B3}"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4" name="Footer Placeholder 4">
            <a:extLst>
              <a:ext uri="{FF2B5EF4-FFF2-40B4-BE49-F238E27FC236}">
                <a16:creationId xmlns:a16="http://schemas.microsoft.com/office/drawing/2014/main" id="{04DDE9F5-BD53-D4E9-A358-32FC0B32E86D}"/>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Slide Number Placeholder 5">
            <a:extLst>
              <a:ext uri="{FF2B5EF4-FFF2-40B4-BE49-F238E27FC236}">
                <a16:creationId xmlns:a16="http://schemas.microsoft.com/office/drawing/2014/main" id="{FF5A31A8-695B-5CF3-884B-E8B49609DFBB}"/>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509F0B00-EFE7-4CA1-A9DD-59122AF3E44C}"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38604846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74D88FD3-538C-E712-9CE3-16F5325B3AC7}"/>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38ADCF7-A1F3-467B-9D83-FE21DD14A892}"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3" name="Footer Placeholder 4">
            <a:extLst>
              <a:ext uri="{FF2B5EF4-FFF2-40B4-BE49-F238E27FC236}">
                <a16:creationId xmlns:a16="http://schemas.microsoft.com/office/drawing/2014/main" id="{22495ACB-4430-9DF4-9DB1-05BB9CDF91F5}"/>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4" name="Slide Number Placeholder 5">
            <a:extLst>
              <a:ext uri="{FF2B5EF4-FFF2-40B4-BE49-F238E27FC236}">
                <a16:creationId xmlns:a16="http://schemas.microsoft.com/office/drawing/2014/main" id="{447C6CA7-7B6B-3878-9113-86CA2B52CFBB}"/>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FE2678E1-693E-4A95-BAD2-F8FFC30826A9}"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94868962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FD88D249-E77D-55B9-90AB-0CB4AC6C6A1A}"/>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5FFBA9C-9A44-4B85-8B20-5C7E9FC95DCA}"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Footer Placeholder 4">
            <a:extLst>
              <a:ext uri="{FF2B5EF4-FFF2-40B4-BE49-F238E27FC236}">
                <a16:creationId xmlns:a16="http://schemas.microsoft.com/office/drawing/2014/main" id="{F46A729B-3E6C-7DF2-3BDE-5B4C558F3CFE}"/>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7" name="Slide Number Placeholder 5">
            <a:extLst>
              <a:ext uri="{FF2B5EF4-FFF2-40B4-BE49-F238E27FC236}">
                <a16:creationId xmlns:a16="http://schemas.microsoft.com/office/drawing/2014/main" id="{C060E326-8CAD-4FCC-BEDC-E97F4920ABF0}"/>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724F8F8-43B2-4578-AF4E-BE31F7B747BB}"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6402516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US">
              <a:solidFill>
                <a:srgbClr val="775F55"/>
              </a:solidFill>
            </a:endParaRPr>
          </a:p>
        </p:txBody>
      </p:sp>
      <p:sp>
        <p:nvSpPr>
          <p:cNvPr id="3" name="Footer Placeholder 2"/>
          <p:cNvSpPr>
            <a:spLocks noGrp="1"/>
          </p:cNvSpPr>
          <p:nvPr>
            <p:ph type="ftr" sz="quarter" idx="11"/>
          </p:nvPr>
        </p:nvSpPr>
        <p:spPr/>
        <p:txBody>
          <a:bodyPr/>
          <a:lstStyle>
            <a:lvl1pPr>
              <a:defRPr/>
            </a:lvl1pPr>
          </a:lstStyle>
          <a:p>
            <a:pPr>
              <a:defRPr/>
            </a:pPr>
            <a:endParaRPr lang="en-US">
              <a:solidFill>
                <a:srgbClr val="775F55"/>
              </a:solidFill>
            </a:endParaRPr>
          </a:p>
        </p:txBody>
      </p:sp>
      <p:sp>
        <p:nvSpPr>
          <p:cNvPr id="4" name="Slide Number Placeholder 3"/>
          <p:cNvSpPr>
            <a:spLocks noGrp="1"/>
          </p:cNvSpPr>
          <p:nvPr>
            <p:ph type="sldNum" sz="quarter" idx="12"/>
          </p:nvPr>
        </p:nvSpPr>
        <p:spPr>
          <a:xfrm>
            <a:off x="0" y="6248400"/>
            <a:ext cx="533400" cy="381000"/>
          </a:xfrm>
        </p:spPr>
        <p:txBody>
          <a:bodyPr/>
          <a:lstStyle>
            <a:lvl1pPr>
              <a:defRPr smtClean="0">
                <a:solidFill>
                  <a:schemeClr val="tx2"/>
                </a:solidFill>
              </a:defRPr>
            </a:lvl1pPr>
          </a:lstStyle>
          <a:p>
            <a:pPr>
              <a:defRPr/>
            </a:pPr>
            <a:fld id="{EC55BF0B-B5CD-43F4-BBA4-58C0B6697152}" type="slidenum">
              <a:rPr lang="en-US">
                <a:solidFill>
                  <a:srgbClr val="775F55"/>
                </a:solidFill>
              </a:rPr>
              <a:pPr>
                <a:defRPr/>
              </a:pPr>
              <a:t>‹#›</a:t>
            </a:fld>
            <a:endParaRPr lang="en-US">
              <a:solidFill>
                <a:srgbClr val="775F55"/>
              </a:solidFill>
            </a:endParaRPr>
          </a:p>
        </p:txBody>
      </p:sp>
    </p:spTree>
    <p:extLst>
      <p:ext uri="{BB962C8B-B14F-4D97-AF65-F5344CB8AC3E}">
        <p14:creationId xmlns:p14="http://schemas.microsoft.com/office/powerpoint/2010/main" val="315256385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9A240EED-0BCF-9890-DD7C-7427ABCECD9B}"/>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CF9A411-630B-430E-B0C1-A1EA1BABEF6A}"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Footer Placeholder 4">
            <a:extLst>
              <a:ext uri="{FF2B5EF4-FFF2-40B4-BE49-F238E27FC236}">
                <a16:creationId xmlns:a16="http://schemas.microsoft.com/office/drawing/2014/main" id="{0B8F5E76-FB5B-A470-0332-174F2844BB70}"/>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7" name="Slide Number Placeholder 5">
            <a:extLst>
              <a:ext uri="{FF2B5EF4-FFF2-40B4-BE49-F238E27FC236}">
                <a16:creationId xmlns:a16="http://schemas.microsoft.com/office/drawing/2014/main" id="{33B81A2D-EB77-5122-68E7-F042378827D0}"/>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97CCA52-00D1-428B-8230-810899CE78C6}"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42610135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EC769C-EE72-9918-8B54-295A95F3ED05}"/>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172AC4C-0D08-4F4C-AFD3-8F9A6CCF7FBE}"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A5C58CF9-A8E4-F85C-376D-080B0600202A}"/>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81447AAC-AA31-55B5-DDB1-D88ABCE705D1}"/>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383064C-8F39-4FCE-BB71-D57E8AAFC75A}"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8485327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6"/>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56"/>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CD05FA-23F1-92A8-E89C-F5DF678D231D}"/>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523C604-0424-4E7E-8A2C-076572A8E495}"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598F20B3-ABD1-39C1-1EFF-9A37679577A6}"/>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D8597A83-9887-0F5B-E1EC-E178C8C7E782}"/>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8C75062-BF8B-4415-9CAF-7716E482BA4D}"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20478785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7E2D701D-A80C-DA70-5D1C-A69D0355E29B}"/>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0E5A31A-5355-4487-9D28-FD7E2DE638CF}"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1C13EC87-2686-A617-59D6-0D746E25A4C6}"/>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6E259C64-B71A-2531-DE32-52D485396048}"/>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344C3AC3-1DE5-4CA6-B7DC-7724C5212AD9}"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3969885518"/>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A2E1B9-0720-2EEB-4E5B-B5C58F8B25E1}"/>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D7F50FF-4D00-40CA-A2A1-9F25103BC6A1}"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16DD6027-069C-1E37-7508-3D059A5ABEBE}"/>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6FFB2B07-9339-14AF-C549-4C6A3D5026E2}"/>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76A10902-4581-4466-A040-400166ACFA46}"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86069317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8"/>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DCB323-579D-B2B0-0EC0-8282A060EE5D}"/>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D2EF164-B7E1-4E75-BE15-26CF577729C0}"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1B1A0842-0677-473E-6472-73AC4F0F4BD8}"/>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EDE27F18-3E6A-23FD-2370-D979701F3367}"/>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3A15892-447C-483A-A009-AA608C5F9217}"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3230253200"/>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8D8058EA-00A7-E544-1DA3-C0E4CB77C3A2}"/>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3896A0F-1C12-4717-AB26-628D6503ADEC}"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Footer Placeholder 4">
            <a:extLst>
              <a:ext uri="{FF2B5EF4-FFF2-40B4-BE49-F238E27FC236}">
                <a16:creationId xmlns:a16="http://schemas.microsoft.com/office/drawing/2014/main" id="{3274D52A-61CB-B07B-ECEC-EFB4DC239C99}"/>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7" name="Slide Number Placeholder 5">
            <a:extLst>
              <a:ext uri="{FF2B5EF4-FFF2-40B4-BE49-F238E27FC236}">
                <a16:creationId xmlns:a16="http://schemas.microsoft.com/office/drawing/2014/main" id="{7959D501-3798-B666-47D0-5A5EAFD0988F}"/>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E8D92F1-E8D1-4355-B36E-3195C1045B16}"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79521440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4"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4"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9BB77253-28B2-8DC4-A772-D758B29E00F6}"/>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B76C5AF-6028-4253-ABFF-9A78AB70E26B}"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8" name="Footer Placeholder 4">
            <a:extLst>
              <a:ext uri="{FF2B5EF4-FFF2-40B4-BE49-F238E27FC236}">
                <a16:creationId xmlns:a16="http://schemas.microsoft.com/office/drawing/2014/main" id="{CEECCB7C-3AD2-F2DB-7C19-B53D76F22E76}"/>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9" name="Slide Number Placeholder 5">
            <a:extLst>
              <a:ext uri="{FF2B5EF4-FFF2-40B4-BE49-F238E27FC236}">
                <a16:creationId xmlns:a16="http://schemas.microsoft.com/office/drawing/2014/main" id="{AAEC791F-877F-F874-E1A8-57AE16426ECE}"/>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745C4F9-BFF9-46BA-B221-1A0AF76C2743}"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45425999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425D0691-BBE1-CE97-5961-6136622C14F3}"/>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CBB1E7F-B7D7-4589-9FB7-3BFF786342B3}"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4" name="Footer Placeholder 4">
            <a:extLst>
              <a:ext uri="{FF2B5EF4-FFF2-40B4-BE49-F238E27FC236}">
                <a16:creationId xmlns:a16="http://schemas.microsoft.com/office/drawing/2014/main" id="{04DDE9F5-BD53-D4E9-A358-32FC0B32E86D}"/>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Slide Number Placeholder 5">
            <a:extLst>
              <a:ext uri="{FF2B5EF4-FFF2-40B4-BE49-F238E27FC236}">
                <a16:creationId xmlns:a16="http://schemas.microsoft.com/office/drawing/2014/main" id="{FF5A31A8-695B-5CF3-884B-E8B49609DFBB}"/>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509F0B00-EFE7-4CA1-A9DD-59122AF3E44C}"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418006661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74D88FD3-538C-E712-9CE3-16F5325B3AC7}"/>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38ADCF7-A1F3-467B-9D83-FE21DD14A892}"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3" name="Footer Placeholder 4">
            <a:extLst>
              <a:ext uri="{FF2B5EF4-FFF2-40B4-BE49-F238E27FC236}">
                <a16:creationId xmlns:a16="http://schemas.microsoft.com/office/drawing/2014/main" id="{22495ACB-4430-9DF4-9DB1-05BB9CDF91F5}"/>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4" name="Slide Number Placeholder 5">
            <a:extLst>
              <a:ext uri="{FF2B5EF4-FFF2-40B4-BE49-F238E27FC236}">
                <a16:creationId xmlns:a16="http://schemas.microsoft.com/office/drawing/2014/main" id="{447C6CA7-7B6B-3878-9113-86CA2B52CFBB}"/>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FE2678E1-693E-4A95-BAD2-F8FFC30826A9}"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0244919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lstStyle>
            <a:lvl1pPr algn="l">
              <a:buNone/>
              <a:defRPr sz="4400" b="0"/>
            </a:lvl1pPr>
          </a:lstStyle>
          <a:p>
            <a:r>
              <a:rPr lang="en-US" smtClean="0"/>
              <a:t>Click to edit Master title style</a:t>
            </a:r>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13"/>
          <p:cNvSpPr>
            <a:spLocks noGrp="1"/>
          </p:cNvSpPr>
          <p:nvPr>
            <p:ph type="dt" sz="half" idx="10"/>
          </p:nvPr>
        </p:nvSpPr>
        <p:spPr/>
        <p:txBody>
          <a:bodyPr/>
          <a:lstStyle>
            <a:lvl1pPr>
              <a:defRPr/>
            </a:lvl1pPr>
          </a:lstStyle>
          <a:p>
            <a:pPr>
              <a:defRPr/>
            </a:pPr>
            <a:endParaRPr lang="en-US">
              <a:solidFill>
                <a:srgbClr val="775F55"/>
              </a:solidFill>
            </a:endParaRPr>
          </a:p>
        </p:txBody>
      </p:sp>
      <p:sp>
        <p:nvSpPr>
          <p:cNvPr id="6" name="Footer Placeholder 2"/>
          <p:cNvSpPr>
            <a:spLocks noGrp="1"/>
          </p:cNvSpPr>
          <p:nvPr>
            <p:ph type="ftr" sz="quarter" idx="11"/>
          </p:nvPr>
        </p:nvSpPr>
        <p:spPr/>
        <p:txBody>
          <a:bodyPr/>
          <a:lstStyle>
            <a:lvl1pPr>
              <a:defRPr/>
            </a:lvl1pPr>
          </a:lstStyle>
          <a:p>
            <a:pPr>
              <a:defRPr/>
            </a:pPr>
            <a:endParaRPr lang="en-US">
              <a:solidFill>
                <a:srgbClr val="775F55"/>
              </a:solidFill>
            </a:endParaRPr>
          </a:p>
        </p:txBody>
      </p:sp>
      <p:sp>
        <p:nvSpPr>
          <p:cNvPr id="7" name="Slide Number Placeholder 22"/>
          <p:cNvSpPr>
            <a:spLocks noGrp="1"/>
          </p:cNvSpPr>
          <p:nvPr>
            <p:ph type="sldNum" sz="quarter" idx="12"/>
          </p:nvPr>
        </p:nvSpPr>
        <p:spPr/>
        <p:txBody>
          <a:bodyPr/>
          <a:lstStyle>
            <a:lvl1pPr>
              <a:defRPr/>
            </a:lvl1pPr>
          </a:lstStyle>
          <a:p>
            <a:pPr>
              <a:defRPr/>
            </a:pPr>
            <a:fld id="{F2D48FF0-548D-4E86-801F-837EF1D773D4}" type="slidenum">
              <a:rPr lang="en-US"/>
              <a:pPr>
                <a:defRPr/>
              </a:pPr>
              <a:t>‹#›</a:t>
            </a:fld>
            <a:endParaRPr lang="en-US"/>
          </a:p>
        </p:txBody>
      </p:sp>
    </p:spTree>
    <p:extLst>
      <p:ext uri="{BB962C8B-B14F-4D97-AF65-F5344CB8AC3E}">
        <p14:creationId xmlns:p14="http://schemas.microsoft.com/office/powerpoint/2010/main" val="350800702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FD88D249-E77D-55B9-90AB-0CB4AC6C6A1A}"/>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5FFBA9C-9A44-4B85-8B20-5C7E9FC95DCA}"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Footer Placeholder 4">
            <a:extLst>
              <a:ext uri="{FF2B5EF4-FFF2-40B4-BE49-F238E27FC236}">
                <a16:creationId xmlns:a16="http://schemas.microsoft.com/office/drawing/2014/main" id="{F46A729B-3E6C-7DF2-3BDE-5B4C558F3CFE}"/>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7" name="Slide Number Placeholder 5">
            <a:extLst>
              <a:ext uri="{FF2B5EF4-FFF2-40B4-BE49-F238E27FC236}">
                <a16:creationId xmlns:a16="http://schemas.microsoft.com/office/drawing/2014/main" id="{C060E326-8CAD-4FCC-BEDC-E97F4920ABF0}"/>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724F8F8-43B2-4578-AF4E-BE31F7B747BB}"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72784145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9A240EED-0BCF-9890-DD7C-7427ABCECD9B}"/>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CF9A411-630B-430E-B0C1-A1EA1BABEF6A}"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Footer Placeholder 4">
            <a:extLst>
              <a:ext uri="{FF2B5EF4-FFF2-40B4-BE49-F238E27FC236}">
                <a16:creationId xmlns:a16="http://schemas.microsoft.com/office/drawing/2014/main" id="{0B8F5E76-FB5B-A470-0332-174F2844BB70}"/>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7" name="Slide Number Placeholder 5">
            <a:extLst>
              <a:ext uri="{FF2B5EF4-FFF2-40B4-BE49-F238E27FC236}">
                <a16:creationId xmlns:a16="http://schemas.microsoft.com/office/drawing/2014/main" id="{33B81A2D-EB77-5122-68E7-F042378827D0}"/>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97CCA52-00D1-428B-8230-810899CE78C6}"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7071995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EC769C-EE72-9918-8B54-295A95F3ED05}"/>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172AC4C-0D08-4F4C-AFD3-8F9A6CCF7FBE}"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A5C58CF9-A8E4-F85C-376D-080B0600202A}"/>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81447AAC-AA31-55B5-DDB1-D88ABCE705D1}"/>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383064C-8F39-4FCE-BB71-D57E8AAFC75A}"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10082806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6"/>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56"/>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CD05FA-23F1-92A8-E89C-F5DF678D231D}"/>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523C604-0424-4E7E-8A2C-076572A8E495}"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598F20B3-ABD1-39C1-1EFF-9A37679577A6}"/>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D8597A83-9887-0F5B-E1EC-E178C8C7E782}"/>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8C75062-BF8B-4415-9CAF-7716E482BA4D}"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68653198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7410" name="Rectangle 2"/>
          <p:cNvSpPr>
            <a:spLocks noChangeArrowheads="1"/>
          </p:cNvSpPr>
          <p:nvPr/>
        </p:nvSpPr>
        <p:spPr bwMode="invGray">
          <a:xfrm>
            <a:off x="8809038" y="0"/>
            <a:ext cx="334962" cy="6858000"/>
          </a:xfrm>
          <a:prstGeom prst="rect">
            <a:avLst/>
          </a:prstGeom>
          <a:gradFill rotWithShape="0">
            <a:gsLst>
              <a:gs pos="0">
                <a:schemeClr val="accent2"/>
              </a:gs>
              <a:gs pos="50000">
                <a:schemeClr val="hlink"/>
              </a:gs>
              <a:gs pos="100000">
                <a:schemeClr val="accent2"/>
              </a:gs>
            </a:gsLst>
            <a:lin ang="0" scaled="1"/>
          </a:gra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7411" name="Freeform 3"/>
          <p:cNvSpPr>
            <a:spLocks/>
          </p:cNvSpPr>
          <p:nvPr/>
        </p:nvSpPr>
        <p:spPr bwMode="white">
          <a:xfrm>
            <a:off x="-9525" y="4489450"/>
            <a:ext cx="5754688" cy="2368550"/>
          </a:xfrm>
          <a:custGeom>
            <a:avLst/>
            <a:gdLst>
              <a:gd name="T0" fmla="*/ 0 w 3625"/>
              <a:gd name="T1" fmla="*/ 1491 h 1492"/>
              <a:gd name="T2" fmla="*/ 0 w 3625"/>
              <a:gd name="T3" fmla="*/ 0 h 1492"/>
              <a:gd name="T4" fmla="*/ 171 w 3625"/>
              <a:gd name="T5" fmla="*/ 3 h 1492"/>
              <a:gd name="T6" fmla="*/ 355 w 3625"/>
              <a:gd name="T7" fmla="*/ 9 h 1492"/>
              <a:gd name="T8" fmla="*/ 499 w 3625"/>
              <a:gd name="T9" fmla="*/ 21 h 1492"/>
              <a:gd name="T10" fmla="*/ 650 w 3625"/>
              <a:gd name="T11" fmla="*/ 36 h 1492"/>
              <a:gd name="T12" fmla="*/ 809 w 3625"/>
              <a:gd name="T13" fmla="*/ 54 h 1492"/>
              <a:gd name="T14" fmla="*/ 957 w 3625"/>
              <a:gd name="T15" fmla="*/ 78 h 1492"/>
              <a:gd name="T16" fmla="*/ 1119 w 3625"/>
              <a:gd name="T17" fmla="*/ 105 h 1492"/>
              <a:gd name="T18" fmla="*/ 1261 w 3625"/>
              <a:gd name="T19" fmla="*/ 133 h 1492"/>
              <a:gd name="T20" fmla="*/ 1441 w 3625"/>
              <a:gd name="T21" fmla="*/ 175 h 1492"/>
              <a:gd name="T22" fmla="*/ 1598 w 3625"/>
              <a:gd name="T23" fmla="*/ 217 h 1492"/>
              <a:gd name="T24" fmla="*/ 1763 w 3625"/>
              <a:gd name="T25" fmla="*/ 269 h 1492"/>
              <a:gd name="T26" fmla="*/ 1887 w 3625"/>
              <a:gd name="T27" fmla="*/ 308 h 1492"/>
              <a:gd name="T28" fmla="*/ 2085 w 3625"/>
              <a:gd name="T29" fmla="*/ 384 h 1492"/>
              <a:gd name="T30" fmla="*/ 2230 w 3625"/>
              <a:gd name="T31" fmla="*/ 444 h 1492"/>
              <a:gd name="T32" fmla="*/ 2456 w 3625"/>
              <a:gd name="T33" fmla="*/ 547 h 1492"/>
              <a:gd name="T34" fmla="*/ 2666 w 3625"/>
              <a:gd name="T35" fmla="*/ 662 h 1492"/>
              <a:gd name="T36" fmla="*/ 2859 w 3625"/>
              <a:gd name="T37" fmla="*/ 786 h 1492"/>
              <a:gd name="T38" fmla="*/ 3046 w 3625"/>
              <a:gd name="T39" fmla="*/ 920 h 1492"/>
              <a:gd name="T40" fmla="*/ 3193 w 3625"/>
              <a:gd name="T41" fmla="*/ 1038 h 1492"/>
              <a:gd name="T42" fmla="*/ 3332 w 3625"/>
              <a:gd name="T43" fmla="*/ 1168 h 1492"/>
              <a:gd name="T44" fmla="*/ 3440 w 3625"/>
              <a:gd name="T45" fmla="*/ 1280 h 1492"/>
              <a:gd name="T46" fmla="*/ 3524 w 3625"/>
              <a:gd name="T47" fmla="*/ 1380 h 1492"/>
              <a:gd name="T48" fmla="*/ 3624 w 3625"/>
              <a:gd name="T49" fmla="*/ 1491 h 1492"/>
              <a:gd name="T50" fmla="*/ 3608 w 3625"/>
              <a:gd name="T51" fmla="*/ 1491 h 1492"/>
              <a:gd name="T52" fmla="*/ 0 w 3625"/>
              <a:gd name="T53" fmla="*/ 1491 h 1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25" h="1492">
                <a:moveTo>
                  <a:pt x="0" y="1491"/>
                </a:moveTo>
                <a:lnTo>
                  <a:pt x="0" y="0"/>
                </a:lnTo>
                <a:lnTo>
                  <a:pt x="171" y="3"/>
                </a:lnTo>
                <a:lnTo>
                  <a:pt x="355" y="9"/>
                </a:lnTo>
                <a:lnTo>
                  <a:pt x="499" y="21"/>
                </a:lnTo>
                <a:lnTo>
                  <a:pt x="650" y="36"/>
                </a:lnTo>
                <a:lnTo>
                  <a:pt x="809" y="54"/>
                </a:lnTo>
                <a:lnTo>
                  <a:pt x="957" y="78"/>
                </a:lnTo>
                <a:lnTo>
                  <a:pt x="1119" y="105"/>
                </a:lnTo>
                <a:lnTo>
                  <a:pt x="1261" y="133"/>
                </a:lnTo>
                <a:lnTo>
                  <a:pt x="1441" y="175"/>
                </a:lnTo>
                <a:lnTo>
                  <a:pt x="1598" y="217"/>
                </a:lnTo>
                <a:lnTo>
                  <a:pt x="1763" y="269"/>
                </a:lnTo>
                <a:lnTo>
                  <a:pt x="1887" y="308"/>
                </a:lnTo>
                <a:lnTo>
                  <a:pt x="2085" y="384"/>
                </a:lnTo>
                <a:lnTo>
                  <a:pt x="2230" y="444"/>
                </a:lnTo>
                <a:lnTo>
                  <a:pt x="2456" y="547"/>
                </a:lnTo>
                <a:lnTo>
                  <a:pt x="2666" y="662"/>
                </a:lnTo>
                <a:lnTo>
                  <a:pt x="2859" y="786"/>
                </a:lnTo>
                <a:lnTo>
                  <a:pt x="3046" y="920"/>
                </a:lnTo>
                <a:lnTo>
                  <a:pt x="3193" y="1038"/>
                </a:lnTo>
                <a:lnTo>
                  <a:pt x="3332" y="1168"/>
                </a:lnTo>
                <a:lnTo>
                  <a:pt x="3440" y="1280"/>
                </a:lnTo>
                <a:lnTo>
                  <a:pt x="3524" y="1380"/>
                </a:lnTo>
                <a:lnTo>
                  <a:pt x="3624" y="1491"/>
                </a:lnTo>
                <a:lnTo>
                  <a:pt x="3608" y="1491"/>
                </a:lnTo>
                <a:lnTo>
                  <a:pt x="0" y="1491"/>
                </a:lnTo>
              </a:path>
            </a:pathLst>
          </a:custGeom>
          <a:gradFill rotWithShape="0">
            <a:gsLst>
              <a:gs pos="0">
                <a:schemeClr val="bg2"/>
              </a:gs>
              <a:gs pos="100000">
                <a:schemeClr val="bg1"/>
              </a:gs>
            </a:gsLst>
            <a:lin ang="5400000" scaled="1"/>
          </a:gradFill>
          <a:ln>
            <a:noFill/>
          </a:ln>
          <a:effectLst/>
          <a:extLst>
            <a:ext uri="{91240B29-F687-4F45-9708-019B960494DF}">
              <a14:hiddenLine xmlns:a14="http://schemas.microsoft.com/office/drawing/2010/main" w="9525" cap="flat" cmpd="sng">
                <a:solidFill>
                  <a:schemeClr val="tx1"/>
                </a:solidFill>
                <a:prstDash val="solid"/>
                <a:miter lim="800000"/>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7412" name="Freeform 4"/>
          <p:cNvSpPr>
            <a:spLocks/>
          </p:cNvSpPr>
          <p:nvPr/>
        </p:nvSpPr>
        <p:spPr bwMode="white">
          <a:xfrm>
            <a:off x="0" y="3817938"/>
            <a:ext cx="8164513" cy="3019425"/>
          </a:xfrm>
          <a:custGeom>
            <a:avLst/>
            <a:gdLst>
              <a:gd name="T0" fmla="*/ 2718 w 5143"/>
              <a:gd name="T1" fmla="*/ 405 h 1902"/>
              <a:gd name="T2" fmla="*/ 2466 w 5143"/>
              <a:gd name="T3" fmla="*/ 333 h 1902"/>
              <a:gd name="T4" fmla="*/ 2202 w 5143"/>
              <a:gd name="T5" fmla="*/ 261 h 1902"/>
              <a:gd name="T6" fmla="*/ 1929 w 5143"/>
              <a:gd name="T7" fmla="*/ 198 h 1902"/>
              <a:gd name="T8" fmla="*/ 1695 w 5143"/>
              <a:gd name="T9" fmla="*/ 153 h 1902"/>
              <a:gd name="T10" fmla="*/ 1434 w 5143"/>
              <a:gd name="T11" fmla="*/ 111 h 1902"/>
              <a:gd name="T12" fmla="*/ 1188 w 5143"/>
              <a:gd name="T13" fmla="*/ 75 h 1902"/>
              <a:gd name="T14" fmla="*/ 957 w 5143"/>
              <a:gd name="T15" fmla="*/ 48 h 1902"/>
              <a:gd name="T16" fmla="*/ 747 w 5143"/>
              <a:gd name="T17" fmla="*/ 30 h 1902"/>
              <a:gd name="T18" fmla="*/ 501 w 5143"/>
              <a:gd name="T19" fmla="*/ 15 h 1902"/>
              <a:gd name="T20" fmla="*/ 246 w 5143"/>
              <a:gd name="T21" fmla="*/ 3 h 1902"/>
              <a:gd name="T22" fmla="*/ 0 w 5143"/>
              <a:gd name="T23" fmla="*/ 0 h 1902"/>
              <a:gd name="T24" fmla="*/ 0 w 5143"/>
              <a:gd name="T25" fmla="*/ 275 h 1902"/>
              <a:gd name="T26" fmla="*/ 0 w 5143"/>
              <a:gd name="T27" fmla="*/ 345 h 1902"/>
              <a:gd name="T28" fmla="*/ 0 w 5143"/>
              <a:gd name="T29" fmla="*/ 275 h 1902"/>
              <a:gd name="T30" fmla="*/ 0 w 5143"/>
              <a:gd name="T31" fmla="*/ 342 h 1902"/>
              <a:gd name="T32" fmla="*/ 339 w 5143"/>
              <a:gd name="T33" fmla="*/ 351 h 1902"/>
              <a:gd name="T34" fmla="*/ 606 w 5143"/>
              <a:gd name="T35" fmla="*/ 372 h 1902"/>
              <a:gd name="T36" fmla="*/ 852 w 5143"/>
              <a:gd name="T37" fmla="*/ 399 h 1902"/>
              <a:gd name="T38" fmla="*/ 1068 w 5143"/>
              <a:gd name="T39" fmla="*/ 435 h 1902"/>
              <a:gd name="T40" fmla="*/ 1275 w 5143"/>
              <a:gd name="T41" fmla="*/ 474 h 1902"/>
              <a:gd name="T42" fmla="*/ 1545 w 5143"/>
              <a:gd name="T43" fmla="*/ 540 h 1902"/>
              <a:gd name="T44" fmla="*/ 1761 w 5143"/>
              <a:gd name="T45" fmla="*/ 603 h 1902"/>
              <a:gd name="T46" fmla="*/ 1971 w 5143"/>
              <a:gd name="T47" fmla="*/ 678 h 1902"/>
              <a:gd name="T48" fmla="*/ 2166 w 5143"/>
              <a:gd name="T49" fmla="*/ 747 h 1902"/>
              <a:gd name="T50" fmla="*/ 2397 w 5143"/>
              <a:gd name="T51" fmla="*/ 852 h 1902"/>
              <a:gd name="T52" fmla="*/ 2613 w 5143"/>
              <a:gd name="T53" fmla="*/ 960 h 1902"/>
              <a:gd name="T54" fmla="*/ 2832 w 5143"/>
              <a:gd name="T55" fmla="*/ 1095 h 1902"/>
              <a:gd name="T56" fmla="*/ 3012 w 5143"/>
              <a:gd name="T57" fmla="*/ 1212 h 1902"/>
              <a:gd name="T58" fmla="*/ 3186 w 5143"/>
              <a:gd name="T59" fmla="*/ 1347 h 1902"/>
              <a:gd name="T60" fmla="*/ 3351 w 5143"/>
              <a:gd name="T61" fmla="*/ 1497 h 1902"/>
              <a:gd name="T62" fmla="*/ 3480 w 5143"/>
              <a:gd name="T63" fmla="*/ 1629 h 1902"/>
              <a:gd name="T64" fmla="*/ 3612 w 5143"/>
              <a:gd name="T65" fmla="*/ 1785 h 1902"/>
              <a:gd name="T66" fmla="*/ 3699 w 5143"/>
              <a:gd name="T67" fmla="*/ 1901 h 1902"/>
              <a:gd name="T68" fmla="*/ 5142 w 5143"/>
              <a:gd name="T69" fmla="*/ 1901 h 1902"/>
              <a:gd name="T70" fmla="*/ 5076 w 5143"/>
              <a:gd name="T71" fmla="*/ 1827 h 1902"/>
              <a:gd name="T72" fmla="*/ 4968 w 5143"/>
              <a:gd name="T73" fmla="*/ 1707 h 1902"/>
              <a:gd name="T74" fmla="*/ 4797 w 5143"/>
              <a:gd name="T75" fmla="*/ 1539 h 1902"/>
              <a:gd name="T76" fmla="*/ 4617 w 5143"/>
              <a:gd name="T77" fmla="*/ 1383 h 1902"/>
              <a:gd name="T78" fmla="*/ 4410 w 5143"/>
              <a:gd name="T79" fmla="*/ 1221 h 1902"/>
              <a:gd name="T80" fmla="*/ 4185 w 5143"/>
              <a:gd name="T81" fmla="*/ 1071 h 1902"/>
              <a:gd name="T82" fmla="*/ 3960 w 5143"/>
              <a:gd name="T83" fmla="*/ 939 h 1902"/>
              <a:gd name="T84" fmla="*/ 3708 w 5143"/>
              <a:gd name="T85" fmla="*/ 801 h 1902"/>
              <a:gd name="T86" fmla="*/ 3492 w 5143"/>
              <a:gd name="T87" fmla="*/ 702 h 1902"/>
              <a:gd name="T88" fmla="*/ 3231 w 5143"/>
              <a:gd name="T89" fmla="*/ 588 h 1902"/>
              <a:gd name="T90" fmla="*/ 2964 w 5143"/>
              <a:gd name="T91" fmla="*/ 489 h 1902"/>
              <a:gd name="T92" fmla="*/ 2718 w 5143"/>
              <a:gd name="T93" fmla="*/ 405 h 1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43" h="1902">
                <a:moveTo>
                  <a:pt x="2718" y="405"/>
                </a:moveTo>
                <a:lnTo>
                  <a:pt x="2466" y="333"/>
                </a:lnTo>
                <a:lnTo>
                  <a:pt x="2202" y="261"/>
                </a:lnTo>
                <a:lnTo>
                  <a:pt x="1929" y="198"/>
                </a:lnTo>
                <a:lnTo>
                  <a:pt x="1695" y="153"/>
                </a:lnTo>
                <a:lnTo>
                  <a:pt x="1434" y="111"/>
                </a:lnTo>
                <a:lnTo>
                  <a:pt x="1188" y="75"/>
                </a:lnTo>
                <a:lnTo>
                  <a:pt x="957" y="48"/>
                </a:lnTo>
                <a:lnTo>
                  <a:pt x="747" y="30"/>
                </a:lnTo>
                <a:lnTo>
                  <a:pt x="501" y="15"/>
                </a:lnTo>
                <a:lnTo>
                  <a:pt x="246" y="3"/>
                </a:lnTo>
                <a:lnTo>
                  <a:pt x="0" y="0"/>
                </a:lnTo>
                <a:lnTo>
                  <a:pt x="0" y="275"/>
                </a:lnTo>
                <a:lnTo>
                  <a:pt x="0" y="345"/>
                </a:lnTo>
                <a:lnTo>
                  <a:pt x="0" y="275"/>
                </a:lnTo>
                <a:lnTo>
                  <a:pt x="0" y="342"/>
                </a:lnTo>
                <a:lnTo>
                  <a:pt x="339" y="351"/>
                </a:lnTo>
                <a:lnTo>
                  <a:pt x="606" y="372"/>
                </a:lnTo>
                <a:lnTo>
                  <a:pt x="852" y="399"/>
                </a:lnTo>
                <a:lnTo>
                  <a:pt x="1068" y="435"/>
                </a:lnTo>
                <a:lnTo>
                  <a:pt x="1275" y="474"/>
                </a:lnTo>
                <a:lnTo>
                  <a:pt x="1545" y="540"/>
                </a:lnTo>
                <a:lnTo>
                  <a:pt x="1761" y="603"/>
                </a:lnTo>
                <a:lnTo>
                  <a:pt x="1971" y="678"/>
                </a:lnTo>
                <a:lnTo>
                  <a:pt x="2166" y="747"/>
                </a:lnTo>
                <a:lnTo>
                  <a:pt x="2397" y="852"/>
                </a:lnTo>
                <a:lnTo>
                  <a:pt x="2613" y="960"/>
                </a:lnTo>
                <a:lnTo>
                  <a:pt x="2832" y="1095"/>
                </a:lnTo>
                <a:lnTo>
                  <a:pt x="3012" y="1212"/>
                </a:lnTo>
                <a:lnTo>
                  <a:pt x="3186" y="1347"/>
                </a:lnTo>
                <a:lnTo>
                  <a:pt x="3351" y="1497"/>
                </a:lnTo>
                <a:lnTo>
                  <a:pt x="3480" y="1629"/>
                </a:lnTo>
                <a:lnTo>
                  <a:pt x="3612" y="1785"/>
                </a:lnTo>
                <a:lnTo>
                  <a:pt x="3699" y="1901"/>
                </a:lnTo>
                <a:lnTo>
                  <a:pt x="5142" y="1901"/>
                </a:lnTo>
                <a:lnTo>
                  <a:pt x="5076" y="1827"/>
                </a:lnTo>
                <a:lnTo>
                  <a:pt x="4968" y="1707"/>
                </a:lnTo>
                <a:lnTo>
                  <a:pt x="4797" y="1539"/>
                </a:lnTo>
                <a:lnTo>
                  <a:pt x="4617" y="1383"/>
                </a:lnTo>
                <a:lnTo>
                  <a:pt x="4410" y="1221"/>
                </a:lnTo>
                <a:lnTo>
                  <a:pt x="4185" y="1071"/>
                </a:lnTo>
                <a:lnTo>
                  <a:pt x="3960" y="939"/>
                </a:lnTo>
                <a:lnTo>
                  <a:pt x="3708" y="801"/>
                </a:lnTo>
                <a:lnTo>
                  <a:pt x="3492" y="702"/>
                </a:lnTo>
                <a:lnTo>
                  <a:pt x="3231" y="588"/>
                </a:lnTo>
                <a:lnTo>
                  <a:pt x="2964" y="489"/>
                </a:lnTo>
                <a:lnTo>
                  <a:pt x="2718" y="405"/>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7413" name="Freeform 5"/>
          <p:cNvSpPr>
            <a:spLocks/>
          </p:cNvSpPr>
          <p:nvPr/>
        </p:nvSpPr>
        <p:spPr bwMode="white">
          <a:xfrm>
            <a:off x="0" y="3146425"/>
            <a:ext cx="9144000" cy="3690938"/>
          </a:xfrm>
          <a:custGeom>
            <a:avLst/>
            <a:gdLst>
              <a:gd name="T0" fmla="*/ 0 w 5760"/>
              <a:gd name="T1" fmla="*/ 0 h 2325"/>
              <a:gd name="T2" fmla="*/ 0 w 5760"/>
              <a:gd name="T3" fmla="*/ 339 h 2325"/>
              <a:gd name="T4" fmla="*/ 558 w 5760"/>
              <a:gd name="T5" fmla="*/ 357 h 2325"/>
              <a:gd name="T6" fmla="*/ 807 w 5760"/>
              <a:gd name="T7" fmla="*/ 375 h 2325"/>
              <a:gd name="T8" fmla="*/ 1056 w 5760"/>
              <a:gd name="T9" fmla="*/ 399 h 2325"/>
              <a:gd name="T10" fmla="*/ 1272 w 5760"/>
              <a:gd name="T11" fmla="*/ 426 h 2325"/>
              <a:gd name="T12" fmla="*/ 1539 w 5760"/>
              <a:gd name="T13" fmla="*/ 465 h 2325"/>
              <a:gd name="T14" fmla="*/ 1791 w 5760"/>
              <a:gd name="T15" fmla="*/ 510 h 2325"/>
              <a:gd name="T16" fmla="*/ 2076 w 5760"/>
              <a:gd name="T17" fmla="*/ 570 h 2325"/>
              <a:gd name="T18" fmla="*/ 2334 w 5760"/>
              <a:gd name="T19" fmla="*/ 630 h 2325"/>
              <a:gd name="T20" fmla="*/ 2544 w 5760"/>
              <a:gd name="T21" fmla="*/ 687 h 2325"/>
              <a:gd name="T22" fmla="*/ 2775 w 5760"/>
              <a:gd name="T23" fmla="*/ 759 h 2325"/>
              <a:gd name="T24" fmla="*/ 3003 w 5760"/>
              <a:gd name="T25" fmla="*/ 837 h 2325"/>
              <a:gd name="T26" fmla="*/ 3231 w 5760"/>
              <a:gd name="T27" fmla="*/ 924 h 2325"/>
              <a:gd name="T28" fmla="*/ 3438 w 5760"/>
              <a:gd name="T29" fmla="*/ 1005 h 2325"/>
              <a:gd name="T30" fmla="*/ 3663 w 5760"/>
              <a:gd name="T31" fmla="*/ 1110 h 2325"/>
              <a:gd name="T32" fmla="*/ 3903 w 5760"/>
              <a:gd name="T33" fmla="*/ 1233 h 2325"/>
              <a:gd name="T34" fmla="*/ 4149 w 5760"/>
              <a:gd name="T35" fmla="*/ 1374 h 2325"/>
              <a:gd name="T36" fmla="*/ 4353 w 5760"/>
              <a:gd name="T37" fmla="*/ 1506 h 2325"/>
              <a:gd name="T38" fmla="*/ 4491 w 5760"/>
              <a:gd name="T39" fmla="*/ 1602 h 2325"/>
              <a:gd name="T40" fmla="*/ 4668 w 5760"/>
              <a:gd name="T41" fmla="*/ 1740 h 2325"/>
              <a:gd name="T42" fmla="*/ 4824 w 5760"/>
              <a:gd name="T43" fmla="*/ 1875 h 2325"/>
              <a:gd name="T44" fmla="*/ 4968 w 5760"/>
              <a:gd name="T45" fmla="*/ 2016 h 2325"/>
              <a:gd name="T46" fmla="*/ 5100 w 5760"/>
              <a:gd name="T47" fmla="*/ 2154 h 2325"/>
              <a:gd name="T48" fmla="*/ 5238 w 5760"/>
              <a:gd name="T49" fmla="*/ 2324 h 2325"/>
              <a:gd name="T50" fmla="*/ 5759 w 5760"/>
              <a:gd name="T51" fmla="*/ 2324 h 2325"/>
              <a:gd name="T52" fmla="*/ 5759 w 5760"/>
              <a:gd name="T53" fmla="*/ 1245 h 2325"/>
              <a:gd name="T54" fmla="*/ 5580 w 5760"/>
              <a:gd name="T55" fmla="*/ 1119 h 2325"/>
              <a:gd name="T56" fmla="*/ 5400 w 5760"/>
              <a:gd name="T57" fmla="*/ 1020 h 2325"/>
              <a:gd name="T58" fmla="*/ 5205 w 5760"/>
              <a:gd name="T59" fmla="*/ 918 h 2325"/>
              <a:gd name="T60" fmla="*/ 5031 w 5760"/>
              <a:gd name="T61" fmla="*/ 837 h 2325"/>
              <a:gd name="T62" fmla="*/ 4866 w 5760"/>
              <a:gd name="T63" fmla="*/ 771 h 2325"/>
              <a:gd name="T64" fmla="*/ 4710 w 5760"/>
              <a:gd name="T65" fmla="*/ 711 h 2325"/>
              <a:gd name="T66" fmla="*/ 4545 w 5760"/>
              <a:gd name="T67" fmla="*/ 651 h 2325"/>
              <a:gd name="T68" fmla="*/ 4386 w 5760"/>
              <a:gd name="T69" fmla="*/ 600 h 2325"/>
              <a:gd name="T70" fmla="*/ 4248 w 5760"/>
              <a:gd name="T71" fmla="*/ 552 h 2325"/>
              <a:gd name="T72" fmla="*/ 3993 w 5760"/>
              <a:gd name="T73" fmla="*/ 483 h 2325"/>
              <a:gd name="T74" fmla="*/ 3777 w 5760"/>
              <a:gd name="T75" fmla="*/ 423 h 2325"/>
              <a:gd name="T76" fmla="*/ 3564 w 5760"/>
              <a:gd name="T77" fmla="*/ 375 h 2325"/>
              <a:gd name="T78" fmla="*/ 3282 w 5760"/>
              <a:gd name="T79" fmla="*/ 312 h 2325"/>
              <a:gd name="T80" fmla="*/ 3003 w 5760"/>
              <a:gd name="T81" fmla="*/ 261 h 2325"/>
              <a:gd name="T82" fmla="*/ 2733 w 5760"/>
              <a:gd name="T83" fmla="*/ 213 h 2325"/>
              <a:gd name="T84" fmla="*/ 2451 w 5760"/>
              <a:gd name="T85" fmla="*/ 171 h 2325"/>
              <a:gd name="T86" fmla="*/ 2211 w 5760"/>
              <a:gd name="T87" fmla="*/ 138 h 2325"/>
              <a:gd name="T88" fmla="*/ 1974 w 5760"/>
              <a:gd name="T89" fmla="*/ 108 h 2325"/>
              <a:gd name="T90" fmla="*/ 1665 w 5760"/>
              <a:gd name="T91" fmla="*/ 81 h 2325"/>
              <a:gd name="T92" fmla="*/ 1437 w 5760"/>
              <a:gd name="T93" fmla="*/ 60 h 2325"/>
              <a:gd name="T94" fmla="*/ 1125 w 5760"/>
              <a:gd name="T95" fmla="*/ 36 h 2325"/>
              <a:gd name="T96" fmla="*/ 828 w 5760"/>
              <a:gd name="T97" fmla="*/ 21 h 2325"/>
              <a:gd name="T98" fmla="*/ 558 w 5760"/>
              <a:gd name="T99" fmla="*/ 12 h 2325"/>
              <a:gd name="T100" fmla="*/ 282 w 5760"/>
              <a:gd name="T101" fmla="*/ 3 h 2325"/>
              <a:gd name="T102" fmla="*/ 0 w 5760"/>
              <a:gd name="T103" fmla="*/ 0 h 2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2325">
                <a:moveTo>
                  <a:pt x="0" y="0"/>
                </a:moveTo>
                <a:lnTo>
                  <a:pt x="0" y="339"/>
                </a:lnTo>
                <a:lnTo>
                  <a:pt x="558" y="357"/>
                </a:lnTo>
                <a:lnTo>
                  <a:pt x="807" y="375"/>
                </a:lnTo>
                <a:lnTo>
                  <a:pt x="1056" y="399"/>
                </a:lnTo>
                <a:lnTo>
                  <a:pt x="1272" y="426"/>
                </a:lnTo>
                <a:lnTo>
                  <a:pt x="1539" y="465"/>
                </a:lnTo>
                <a:lnTo>
                  <a:pt x="1791" y="510"/>
                </a:lnTo>
                <a:lnTo>
                  <a:pt x="2076" y="570"/>
                </a:lnTo>
                <a:lnTo>
                  <a:pt x="2334" y="630"/>
                </a:lnTo>
                <a:lnTo>
                  <a:pt x="2544" y="687"/>
                </a:lnTo>
                <a:lnTo>
                  <a:pt x="2775" y="759"/>
                </a:lnTo>
                <a:lnTo>
                  <a:pt x="3003" y="837"/>
                </a:lnTo>
                <a:lnTo>
                  <a:pt x="3231" y="924"/>
                </a:lnTo>
                <a:lnTo>
                  <a:pt x="3438" y="1005"/>
                </a:lnTo>
                <a:lnTo>
                  <a:pt x="3663" y="1110"/>
                </a:lnTo>
                <a:lnTo>
                  <a:pt x="3903" y="1233"/>
                </a:lnTo>
                <a:lnTo>
                  <a:pt x="4149" y="1374"/>
                </a:lnTo>
                <a:lnTo>
                  <a:pt x="4353" y="1506"/>
                </a:lnTo>
                <a:lnTo>
                  <a:pt x="4491" y="1602"/>
                </a:lnTo>
                <a:lnTo>
                  <a:pt x="4668" y="1740"/>
                </a:lnTo>
                <a:lnTo>
                  <a:pt x="4824" y="1875"/>
                </a:lnTo>
                <a:lnTo>
                  <a:pt x="4968" y="2016"/>
                </a:lnTo>
                <a:lnTo>
                  <a:pt x="5100" y="2154"/>
                </a:lnTo>
                <a:lnTo>
                  <a:pt x="5238" y="2324"/>
                </a:lnTo>
                <a:lnTo>
                  <a:pt x="5759" y="2324"/>
                </a:lnTo>
                <a:lnTo>
                  <a:pt x="5759" y="1245"/>
                </a:lnTo>
                <a:lnTo>
                  <a:pt x="5580" y="1119"/>
                </a:lnTo>
                <a:lnTo>
                  <a:pt x="5400" y="1020"/>
                </a:lnTo>
                <a:lnTo>
                  <a:pt x="5205" y="918"/>
                </a:lnTo>
                <a:lnTo>
                  <a:pt x="5031" y="837"/>
                </a:lnTo>
                <a:lnTo>
                  <a:pt x="4866" y="771"/>
                </a:lnTo>
                <a:lnTo>
                  <a:pt x="4710" y="711"/>
                </a:lnTo>
                <a:lnTo>
                  <a:pt x="4545" y="651"/>
                </a:lnTo>
                <a:lnTo>
                  <a:pt x="4386" y="600"/>
                </a:lnTo>
                <a:lnTo>
                  <a:pt x="4248" y="552"/>
                </a:lnTo>
                <a:lnTo>
                  <a:pt x="3993" y="483"/>
                </a:lnTo>
                <a:lnTo>
                  <a:pt x="3777" y="423"/>
                </a:lnTo>
                <a:lnTo>
                  <a:pt x="3564" y="375"/>
                </a:lnTo>
                <a:lnTo>
                  <a:pt x="3282" y="312"/>
                </a:lnTo>
                <a:lnTo>
                  <a:pt x="3003" y="261"/>
                </a:lnTo>
                <a:lnTo>
                  <a:pt x="2733" y="213"/>
                </a:lnTo>
                <a:lnTo>
                  <a:pt x="2451" y="171"/>
                </a:lnTo>
                <a:lnTo>
                  <a:pt x="2211" y="138"/>
                </a:lnTo>
                <a:lnTo>
                  <a:pt x="1974" y="108"/>
                </a:lnTo>
                <a:lnTo>
                  <a:pt x="1665" y="81"/>
                </a:lnTo>
                <a:lnTo>
                  <a:pt x="1437" y="60"/>
                </a:lnTo>
                <a:lnTo>
                  <a:pt x="1125" y="36"/>
                </a:lnTo>
                <a:lnTo>
                  <a:pt x="828" y="21"/>
                </a:lnTo>
                <a:lnTo>
                  <a:pt x="558" y="12"/>
                </a:lnTo>
                <a:lnTo>
                  <a:pt x="282" y="3"/>
                </a:lnTo>
                <a:lnTo>
                  <a:pt x="0" y="0"/>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7414" name="Freeform 6"/>
          <p:cNvSpPr>
            <a:spLocks/>
          </p:cNvSpPr>
          <p:nvPr/>
        </p:nvSpPr>
        <p:spPr bwMode="white">
          <a:xfrm>
            <a:off x="0" y="2460625"/>
            <a:ext cx="9144000" cy="2497138"/>
          </a:xfrm>
          <a:custGeom>
            <a:avLst/>
            <a:gdLst>
              <a:gd name="T0" fmla="*/ 0 w 5760"/>
              <a:gd name="T1" fmla="*/ 0 h 1573"/>
              <a:gd name="T2" fmla="*/ 0 w 5760"/>
              <a:gd name="T3" fmla="*/ 351 h 1573"/>
              <a:gd name="T4" fmla="*/ 282 w 5760"/>
              <a:gd name="T5" fmla="*/ 357 h 1573"/>
              <a:gd name="T6" fmla="*/ 627 w 5760"/>
              <a:gd name="T7" fmla="*/ 363 h 1573"/>
              <a:gd name="T8" fmla="*/ 960 w 5760"/>
              <a:gd name="T9" fmla="*/ 375 h 1573"/>
              <a:gd name="T10" fmla="*/ 1218 w 5760"/>
              <a:gd name="T11" fmla="*/ 393 h 1573"/>
              <a:gd name="T12" fmla="*/ 1470 w 5760"/>
              <a:gd name="T13" fmla="*/ 411 h 1573"/>
              <a:gd name="T14" fmla="*/ 1746 w 5760"/>
              <a:gd name="T15" fmla="*/ 435 h 1573"/>
              <a:gd name="T16" fmla="*/ 2022 w 5760"/>
              <a:gd name="T17" fmla="*/ 462 h 1573"/>
              <a:gd name="T18" fmla="*/ 2340 w 5760"/>
              <a:gd name="T19" fmla="*/ 504 h 1573"/>
              <a:gd name="T20" fmla="*/ 2664 w 5760"/>
              <a:gd name="T21" fmla="*/ 549 h 1573"/>
              <a:gd name="T22" fmla="*/ 2952 w 5760"/>
              <a:gd name="T23" fmla="*/ 597 h 1573"/>
              <a:gd name="T24" fmla="*/ 3225 w 5760"/>
              <a:gd name="T25" fmla="*/ 648 h 1573"/>
              <a:gd name="T26" fmla="*/ 3513 w 5760"/>
              <a:gd name="T27" fmla="*/ 708 h 1573"/>
              <a:gd name="T28" fmla="*/ 3693 w 5760"/>
              <a:gd name="T29" fmla="*/ 750 h 1573"/>
              <a:gd name="T30" fmla="*/ 3936 w 5760"/>
              <a:gd name="T31" fmla="*/ 810 h 1573"/>
              <a:gd name="T32" fmla="*/ 4095 w 5760"/>
              <a:gd name="T33" fmla="*/ 855 h 1573"/>
              <a:gd name="T34" fmla="*/ 4281 w 5760"/>
              <a:gd name="T35" fmla="*/ 909 h 1573"/>
              <a:gd name="T36" fmla="*/ 4503 w 5760"/>
              <a:gd name="T37" fmla="*/ 981 h 1573"/>
              <a:gd name="T38" fmla="*/ 4704 w 5760"/>
              <a:gd name="T39" fmla="*/ 1053 h 1573"/>
              <a:gd name="T40" fmla="*/ 4911 w 5760"/>
              <a:gd name="T41" fmla="*/ 1131 h 1573"/>
              <a:gd name="T42" fmla="*/ 5073 w 5760"/>
              <a:gd name="T43" fmla="*/ 1197 h 1573"/>
              <a:gd name="T44" fmla="*/ 5256 w 5760"/>
              <a:gd name="T45" fmla="*/ 1281 h 1573"/>
              <a:gd name="T46" fmla="*/ 5475 w 5760"/>
              <a:gd name="T47" fmla="*/ 1401 h 1573"/>
              <a:gd name="T48" fmla="*/ 5628 w 5760"/>
              <a:gd name="T49" fmla="*/ 1482 h 1573"/>
              <a:gd name="T50" fmla="*/ 5759 w 5760"/>
              <a:gd name="T51" fmla="*/ 1572 h 1573"/>
              <a:gd name="T52" fmla="*/ 5759 w 5760"/>
              <a:gd name="T53" fmla="*/ 633 h 1573"/>
              <a:gd name="T54" fmla="*/ 5493 w 5760"/>
              <a:gd name="T55" fmla="*/ 570 h 1573"/>
              <a:gd name="T56" fmla="*/ 5214 w 5760"/>
              <a:gd name="T57" fmla="*/ 501 h 1573"/>
              <a:gd name="T58" fmla="*/ 4950 w 5760"/>
              <a:gd name="T59" fmla="*/ 444 h 1573"/>
              <a:gd name="T60" fmla="*/ 4701 w 5760"/>
              <a:gd name="T61" fmla="*/ 396 h 1573"/>
              <a:gd name="T62" fmla="*/ 4425 w 5760"/>
              <a:gd name="T63" fmla="*/ 348 h 1573"/>
              <a:gd name="T64" fmla="*/ 4110 w 5760"/>
              <a:gd name="T65" fmla="*/ 294 h 1573"/>
              <a:gd name="T66" fmla="*/ 3813 w 5760"/>
              <a:gd name="T67" fmla="*/ 252 h 1573"/>
              <a:gd name="T68" fmla="*/ 3549 w 5760"/>
              <a:gd name="T69" fmla="*/ 213 h 1573"/>
              <a:gd name="T70" fmla="*/ 3261 w 5760"/>
              <a:gd name="T71" fmla="*/ 183 h 1573"/>
              <a:gd name="T72" fmla="*/ 3015 w 5760"/>
              <a:gd name="T73" fmla="*/ 153 h 1573"/>
              <a:gd name="T74" fmla="*/ 2757 w 5760"/>
              <a:gd name="T75" fmla="*/ 129 h 1573"/>
              <a:gd name="T76" fmla="*/ 2520 w 5760"/>
              <a:gd name="T77" fmla="*/ 105 h 1573"/>
              <a:gd name="T78" fmla="*/ 2301 w 5760"/>
              <a:gd name="T79" fmla="*/ 87 h 1573"/>
              <a:gd name="T80" fmla="*/ 2013 w 5760"/>
              <a:gd name="T81" fmla="*/ 66 h 1573"/>
              <a:gd name="T82" fmla="*/ 1731 w 5760"/>
              <a:gd name="T83" fmla="*/ 48 h 1573"/>
              <a:gd name="T84" fmla="*/ 1524 w 5760"/>
              <a:gd name="T85" fmla="*/ 39 h 1573"/>
              <a:gd name="T86" fmla="*/ 1260 w 5760"/>
              <a:gd name="T87" fmla="*/ 27 h 1573"/>
              <a:gd name="T88" fmla="*/ 966 w 5760"/>
              <a:gd name="T89" fmla="*/ 15 h 1573"/>
              <a:gd name="T90" fmla="*/ 714 w 5760"/>
              <a:gd name="T91" fmla="*/ 12 h 1573"/>
              <a:gd name="T92" fmla="*/ 510 w 5760"/>
              <a:gd name="T93" fmla="*/ 6 h 1573"/>
              <a:gd name="T94" fmla="*/ 243 w 5760"/>
              <a:gd name="T95" fmla="*/ 0 h 1573"/>
              <a:gd name="T96" fmla="*/ 0 w 5760"/>
              <a:gd name="T97" fmla="*/ 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0" h="1573">
                <a:moveTo>
                  <a:pt x="0" y="0"/>
                </a:moveTo>
                <a:lnTo>
                  <a:pt x="0" y="351"/>
                </a:lnTo>
                <a:lnTo>
                  <a:pt x="282" y="357"/>
                </a:lnTo>
                <a:lnTo>
                  <a:pt x="627" y="363"/>
                </a:lnTo>
                <a:lnTo>
                  <a:pt x="960" y="375"/>
                </a:lnTo>
                <a:lnTo>
                  <a:pt x="1218" y="393"/>
                </a:lnTo>
                <a:lnTo>
                  <a:pt x="1470" y="411"/>
                </a:lnTo>
                <a:lnTo>
                  <a:pt x="1746" y="435"/>
                </a:lnTo>
                <a:lnTo>
                  <a:pt x="2022" y="462"/>
                </a:lnTo>
                <a:lnTo>
                  <a:pt x="2340" y="504"/>
                </a:lnTo>
                <a:lnTo>
                  <a:pt x="2664" y="549"/>
                </a:lnTo>
                <a:lnTo>
                  <a:pt x="2952" y="597"/>
                </a:lnTo>
                <a:lnTo>
                  <a:pt x="3225" y="648"/>
                </a:lnTo>
                <a:lnTo>
                  <a:pt x="3513" y="708"/>
                </a:lnTo>
                <a:lnTo>
                  <a:pt x="3693" y="750"/>
                </a:lnTo>
                <a:lnTo>
                  <a:pt x="3936" y="810"/>
                </a:lnTo>
                <a:lnTo>
                  <a:pt x="4095" y="855"/>
                </a:lnTo>
                <a:lnTo>
                  <a:pt x="4281" y="909"/>
                </a:lnTo>
                <a:lnTo>
                  <a:pt x="4503" y="981"/>
                </a:lnTo>
                <a:lnTo>
                  <a:pt x="4704" y="1053"/>
                </a:lnTo>
                <a:lnTo>
                  <a:pt x="4911" y="1131"/>
                </a:lnTo>
                <a:lnTo>
                  <a:pt x="5073" y="1197"/>
                </a:lnTo>
                <a:lnTo>
                  <a:pt x="5256" y="1281"/>
                </a:lnTo>
                <a:lnTo>
                  <a:pt x="5475" y="1401"/>
                </a:lnTo>
                <a:lnTo>
                  <a:pt x="5628" y="1482"/>
                </a:lnTo>
                <a:lnTo>
                  <a:pt x="5759" y="1572"/>
                </a:lnTo>
                <a:lnTo>
                  <a:pt x="5759" y="633"/>
                </a:lnTo>
                <a:lnTo>
                  <a:pt x="5493" y="570"/>
                </a:lnTo>
                <a:lnTo>
                  <a:pt x="5214" y="501"/>
                </a:lnTo>
                <a:lnTo>
                  <a:pt x="4950" y="444"/>
                </a:lnTo>
                <a:lnTo>
                  <a:pt x="4701" y="396"/>
                </a:lnTo>
                <a:lnTo>
                  <a:pt x="4425" y="348"/>
                </a:lnTo>
                <a:lnTo>
                  <a:pt x="4110" y="294"/>
                </a:lnTo>
                <a:lnTo>
                  <a:pt x="3813" y="252"/>
                </a:lnTo>
                <a:lnTo>
                  <a:pt x="3549" y="213"/>
                </a:lnTo>
                <a:lnTo>
                  <a:pt x="3261" y="183"/>
                </a:lnTo>
                <a:lnTo>
                  <a:pt x="3015" y="153"/>
                </a:lnTo>
                <a:lnTo>
                  <a:pt x="2757" y="129"/>
                </a:lnTo>
                <a:lnTo>
                  <a:pt x="2520" y="105"/>
                </a:lnTo>
                <a:lnTo>
                  <a:pt x="2301" y="87"/>
                </a:lnTo>
                <a:lnTo>
                  <a:pt x="2013" y="66"/>
                </a:lnTo>
                <a:lnTo>
                  <a:pt x="1731" y="48"/>
                </a:lnTo>
                <a:lnTo>
                  <a:pt x="1524" y="39"/>
                </a:lnTo>
                <a:lnTo>
                  <a:pt x="1260" y="27"/>
                </a:lnTo>
                <a:lnTo>
                  <a:pt x="966" y="15"/>
                </a:lnTo>
                <a:lnTo>
                  <a:pt x="714" y="12"/>
                </a:lnTo>
                <a:lnTo>
                  <a:pt x="510" y="6"/>
                </a:lnTo>
                <a:lnTo>
                  <a:pt x="243" y="0"/>
                </a:lnTo>
                <a:lnTo>
                  <a:pt x="0" y="0"/>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7415" name="Freeform 7"/>
          <p:cNvSpPr>
            <a:spLocks/>
          </p:cNvSpPr>
          <p:nvPr/>
        </p:nvSpPr>
        <p:spPr bwMode="white">
          <a:xfrm>
            <a:off x="0" y="1793875"/>
            <a:ext cx="9144000" cy="1539875"/>
          </a:xfrm>
          <a:custGeom>
            <a:avLst/>
            <a:gdLst>
              <a:gd name="T0" fmla="*/ 0 w 5760"/>
              <a:gd name="T1" fmla="*/ 0 h 970"/>
              <a:gd name="T2" fmla="*/ 0 w 5760"/>
              <a:gd name="T3" fmla="*/ 339 h 970"/>
              <a:gd name="T4" fmla="*/ 318 w 5760"/>
              <a:gd name="T5" fmla="*/ 342 h 970"/>
              <a:gd name="T6" fmla="*/ 591 w 5760"/>
              <a:gd name="T7" fmla="*/ 348 h 970"/>
              <a:gd name="T8" fmla="*/ 846 w 5760"/>
              <a:gd name="T9" fmla="*/ 354 h 970"/>
              <a:gd name="T10" fmla="*/ 1074 w 5760"/>
              <a:gd name="T11" fmla="*/ 360 h 970"/>
              <a:gd name="T12" fmla="*/ 1314 w 5760"/>
              <a:gd name="T13" fmla="*/ 366 h 970"/>
              <a:gd name="T14" fmla="*/ 1599 w 5760"/>
              <a:gd name="T15" fmla="*/ 381 h 970"/>
              <a:gd name="T16" fmla="*/ 1911 w 5760"/>
              <a:gd name="T17" fmla="*/ 399 h 970"/>
              <a:gd name="T18" fmla="*/ 2241 w 5760"/>
              <a:gd name="T19" fmla="*/ 420 h 970"/>
              <a:gd name="T20" fmla="*/ 2619 w 5760"/>
              <a:gd name="T21" fmla="*/ 453 h 970"/>
              <a:gd name="T22" fmla="*/ 2889 w 5760"/>
              <a:gd name="T23" fmla="*/ 477 h 970"/>
              <a:gd name="T24" fmla="*/ 3177 w 5760"/>
              <a:gd name="T25" fmla="*/ 507 h 970"/>
              <a:gd name="T26" fmla="*/ 3498 w 5760"/>
              <a:gd name="T27" fmla="*/ 543 h 970"/>
              <a:gd name="T28" fmla="*/ 3813 w 5760"/>
              <a:gd name="T29" fmla="*/ 585 h 970"/>
              <a:gd name="T30" fmla="*/ 4044 w 5760"/>
              <a:gd name="T31" fmla="*/ 618 h 970"/>
              <a:gd name="T32" fmla="*/ 4365 w 5760"/>
              <a:gd name="T33" fmla="*/ 669 h 970"/>
              <a:gd name="T34" fmla="*/ 4683 w 5760"/>
              <a:gd name="T35" fmla="*/ 726 h 970"/>
              <a:gd name="T36" fmla="*/ 4980 w 5760"/>
              <a:gd name="T37" fmla="*/ 786 h 970"/>
              <a:gd name="T38" fmla="*/ 5268 w 5760"/>
              <a:gd name="T39" fmla="*/ 846 h 970"/>
              <a:gd name="T40" fmla="*/ 5646 w 5760"/>
              <a:gd name="T41" fmla="*/ 942 h 970"/>
              <a:gd name="T42" fmla="*/ 5759 w 5760"/>
              <a:gd name="T43" fmla="*/ 969 h 970"/>
              <a:gd name="T44" fmla="*/ 5759 w 5760"/>
              <a:gd name="T45" fmla="*/ 0 h 970"/>
              <a:gd name="T46" fmla="*/ 0 w 5760"/>
              <a:gd name="T47" fmla="*/ 0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760" h="970">
                <a:moveTo>
                  <a:pt x="0" y="0"/>
                </a:moveTo>
                <a:lnTo>
                  <a:pt x="0" y="339"/>
                </a:lnTo>
                <a:lnTo>
                  <a:pt x="318" y="342"/>
                </a:lnTo>
                <a:lnTo>
                  <a:pt x="591" y="348"/>
                </a:lnTo>
                <a:lnTo>
                  <a:pt x="846" y="354"/>
                </a:lnTo>
                <a:lnTo>
                  <a:pt x="1074" y="360"/>
                </a:lnTo>
                <a:lnTo>
                  <a:pt x="1314" y="366"/>
                </a:lnTo>
                <a:lnTo>
                  <a:pt x="1599" y="381"/>
                </a:lnTo>
                <a:lnTo>
                  <a:pt x="1911" y="399"/>
                </a:lnTo>
                <a:lnTo>
                  <a:pt x="2241" y="420"/>
                </a:lnTo>
                <a:lnTo>
                  <a:pt x="2619" y="453"/>
                </a:lnTo>
                <a:lnTo>
                  <a:pt x="2889" y="477"/>
                </a:lnTo>
                <a:lnTo>
                  <a:pt x="3177" y="507"/>
                </a:lnTo>
                <a:lnTo>
                  <a:pt x="3498" y="543"/>
                </a:lnTo>
                <a:lnTo>
                  <a:pt x="3813" y="585"/>
                </a:lnTo>
                <a:lnTo>
                  <a:pt x="4044" y="618"/>
                </a:lnTo>
                <a:lnTo>
                  <a:pt x="4365" y="669"/>
                </a:lnTo>
                <a:lnTo>
                  <a:pt x="4683" y="726"/>
                </a:lnTo>
                <a:lnTo>
                  <a:pt x="4980" y="786"/>
                </a:lnTo>
                <a:lnTo>
                  <a:pt x="5268" y="846"/>
                </a:lnTo>
                <a:lnTo>
                  <a:pt x="5646" y="942"/>
                </a:lnTo>
                <a:lnTo>
                  <a:pt x="5759" y="969"/>
                </a:lnTo>
                <a:lnTo>
                  <a:pt x="5759" y="0"/>
                </a:lnTo>
                <a:lnTo>
                  <a:pt x="0" y="0"/>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7416" name="Freeform 8"/>
          <p:cNvSpPr>
            <a:spLocks/>
          </p:cNvSpPr>
          <p:nvPr/>
        </p:nvSpPr>
        <p:spPr bwMode="white">
          <a:xfrm>
            <a:off x="0" y="-20638"/>
            <a:ext cx="9144000" cy="1682751"/>
          </a:xfrm>
          <a:custGeom>
            <a:avLst/>
            <a:gdLst>
              <a:gd name="T0" fmla="*/ 0 w 5760"/>
              <a:gd name="T1" fmla="*/ 753 h 1060"/>
              <a:gd name="T2" fmla="*/ 0 w 5760"/>
              <a:gd name="T3" fmla="*/ 1059 h 1060"/>
              <a:gd name="T4" fmla="*/ 5759 w 5760"/>
              <a:gd name="T5" fmla="*/ 1059 h 1060"/>
              <a:gd name="T6" fmla="*/ 5759 w 5760"/>
              <a:gd name="T7" fmla="*/ 0 h 1060"/>
              <a:gd name="T8" fmla="*/ 5430 w 5760"/>
              <a:gd name="T9" fmla="*/ 0 h 1060"/>
              <a:gd name="T10" fmla="*/ 5298 w 5760"/>
              <a:gd name="T11" fmla="*/ 84 h 1060"/>
              <a:gd name="T12" fmla="*/ 5136 w 5760"/>
              <a:gd name="T13" fmla="*/ 159 h 1060"/>
              <a:gd name="T14" fmla="*/ 4968 w 5760"/>
              <a:gd name="T15" fmla="*/ 222 h 1060"/>
              <a:gd name="T16" fmla="*/ 4812 w 5760"/>
              <a:gd name="T17" fmla="*/ 267 h 1060"/>
              <a:gd name="T18" fmla="*/ 4626 w 5760"/>
              <a:gd name="T19" fmla="*/ 324 h 1060"/>
              <a:gd name="T20" fmla="*/ 4440 w 5760"/>
              <a:gd name="T21" fmla="*/ 366 h 1060"/>
              <a:gd name="T22" fmla="*/ 4230 w 5760"/>
              <a:gd name="T23" fmla="*/ 414 h 1060"/>
              <a:gd name="T24" fmla="*/ 3939 w 5760"/>
              <a:gd name="T25" fmla="*/ 468 h 1060"/>
              <a:gd name="T26" fmla="*/ 3711 w 5760"/>
              <a:gd name="T27" fmla="*/ 504 h 1060"/>
              <a:gd name="T28" fmla="*/ 3441 w 5760"/>
              <a:gd name="T29" fmla="*/ 543 h 1060"/>
              <a:gd name="T30" fmla="*/ 3189 w 5760"/>
              <a:gd name="T31" fmla="*/ 579 h 1060"/>
              <a:gd name="T32" fmla="*/ 2925 w 5760"/>
              <a:gd name="T33" fmla="*/ 606 h 1060"/>
              <a:gd name="T34" fmla="*/ 2679 w 5760"/>
              <a:gd name="T35" fmla="*/ 633 h 1060"/>
              <a:gd name="T36" fmla="*/ 2418 w 5760"/>
              <a:gd name="T37" fmla="*/ 654 h 1060"/>
              <a:gd name="T38" fmla="*/ 2142 w 5760"/>
              <a:gd name="T39" fmla="*/ 675 h 1060"/>
              <a:gd name="T40" fmla="*/ 1896 w 5760"/>
              <a:gd name="T41" fmla="*/ 693 h 1060"/>
              <a:gd name="T42" fmla="*/ 1647 w 5760"/>
              <a:gd name="T43" fmla="*/ 708 h 1060"/>
              <a:gd name="T44" fmla="*/ 1404 w 5760"/>
              <a:gd name="T45" fmla="*/ 720 h 1060"/>
              <a:gd name="T46" fmla="*/ 1170 w 5760"/>
              <a:gd name="T47" fmla="*/ 732 h 1060"/>
              <a:gd name="T48" fmla="*/ 906 w 5760"/>
              <a:gd name="T49" fmla="*/ 738 h 1060"/>
              <a:gd name="T50" fmla="*/ 534 w 5760"/>
              <a:gd name="T51" fmla="*/ 747 h 1060"/>
              <a:gd name="T52" fmla="*/ 201 w 5760"/>
              <a:gd name="T53" fmla="*/ 753 h 1060"/>
              <a:gd name="T54" fmla="*/ 0 w 5760"/>
              <a:gd name="T55" fmla="*/ 753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60" h="1060">
                <a:moveTo>
                  <a:pt x="0" y="753"/>
                </a:moveTo>
                <a:lnTo>
                  <a:pt x="0" y="1059"/>
                </a:lnTo>
                <a:lnTo>
                  <a:pt x="5759" y="1059"/>
                </a:lnTo>
                <a:lnTo>
                  <a:pt x="5759" y="0"/>
                </a:lnTo>
                <a:lnTo>
                  <a:pt x="5430" y="0"/>
                </a:lnTo>
                <a:lnTo>
                  <a:pt x="5298" y="84"/>
                </a:lnTo>
                <a:lnTo>
                  <a:pt x="5136" y="159"/>
                </a:lnTo>
                <a:lnTo>
                  <a:pt x="4968" y="222"/>
                </a:lnTo>
                <a:lnTo>
                  <a:pt x="4812" y="267"/>
                </a:lnTo>
                <a:lnTo>
                  <a:pt x="4626" y="324"/>
                </a:lnTo>
                <a:lnTo>
                  <a:pt x="4440" y="366"/>
                </a:lnTo>
                <a:lnTo>
                  <a:pt x="4230" y="414"/>
                </a:lnTo>
                <a:lnTo>
                  <a:pt x="3939" y="468"/>
                </a:lnTo>
                <a:lnTo>
                  <a:pt x="3711" y="504"/>
                </a:lnTo>
                <a:lnTo>
                  <a:pt x="3441" y="543"/>
                </a:lnTo>
                <a:lnTo>
                  <a:pt x="3189" y="579"/>
                </a:lnTo>
                <a:lnTo>
                  <a:pt x="2925" y="606"/>
                </a:lnTo>
                <a:lnTo>
                  <a:pt x="2679" y="633"/>
                </a:lnTo>
                <a:lnTo>
                  <a:pt x="2418" y="654"/>
                </a:lnTo>
                <a:lnTo>
                  <a:pt x="2142" y="675"/>
                </a:lnTo>
                <a:lnTo>
                  <a:pt x="1896" y="693"/>
                </a:lnTo>
                <a:lnTo>
                  <a:pt x="1647" y="708"/>
                </a:lnTo>
                <a:lnTo>
                  <a:pt x="1404" y="720"/>
                </a:lnTo>
                <a:lnTo>
                  <a:pt x="1170" y="732"/>
                </a:lnTo>
                <a:lnTo>
                  <a:pt x="906" y="738"/>
                </a:lnTo>
                <a:lnTo>
                  <a:pt x="534" y="747"/>
                </a:lnTo>
                <a:lnTo>
                  <a:pt x="201" y="753"/>
                </a:lnTo>
                <a:lnTo>
                  <a:pt x="0" y="753"/>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7417" name="Freeform 9"/>
          <p:cNvSpPr>
            <a:spLocks/>
          </p:cNvSpPr>
          <p:nvPr/>
        </p:nvSpPr>
        <p:spPr bwMode="white">
          <a:xfrm>
            <a:off x="0" y="-20638"/>
            <a:ext cx="8388350" cy="1068388"/>
          </a:xfrm>
          <a:custGeom>
            <a:avLst/>
            <a:gdLst>
              <a:gd name="T0" fmla="*/ 0 w 5284"/>
              <a:gd name="T1" fmla="*/ 366 h 673"/>
              <a:gd name="T2" fmla="*/ 0 w 5284"/>
              <a:gd name="T3" fmla="*/ 672 h 673"/>
              <a:gd name="T4" fmla="*/ 303 w 5284"/>
              <a:gd name="T5" fmla="*/ 672 h 673"/>
              <a:gd name="T6" fmla="*/ 723 w 5284"/>
              <a:gd name="T7" fmla="*/ 663 h 673"/>
              <a:gd name="T8" fmla="*/ 1020 w 5284"/>
              <a:gd name="T9" fmla="*/ 654 h 673"/>
              <a:gd name="T10" fmla="*/ 1302 w 5284"/>
              <a:gd name="T11" fmla="*/ 642 h 673"/>
              <a:gd name="T12" fmla="*/ 1554 w 5284"/>
              <a:gd name="T13" fmla="*/ 630 h 673"/>
              <a:gd name="T14" fmla="*/ 1779 w 5284"/>
              <a:gd name="T15" fmla="*/ 615 h 673"/>
              <a:gd name="T16" fmla="*/ 1962 w 5284"/>
              <a:gd name="T17" fmla="*/ 606 h 673"/>
              <a:gd name="T18" fmla="*/ 2193 w 5284"/>
              <a:gd name="T19" fmla="*/ 588 h 673"/>
              <a:gd name="T20" fmla="*/ 2448 w 5284"/>
              <a:gd name="T21" fmla="*/ 570 h 673"/>
              <a:gd name="T22" fmla="*/ 2700 w 5284"/>
              <a:gd name="T23" fmla="*/ 546 h 673"/>
              <a:gd name="T24" fmla="*/ 2904 w 5284"/>
              <a:gd name="T25" fmla="*/ 528 h 673"/>
              <a:gd name="T26" fmla="*/ 3138 w 5284"/>
              <a:gd name="T27" fmla="*/ 498 h 673"/>
              <a:gd name="T28" fmla="*/ 3324 w 5284"/>
              <a:gd name="T29" fmla="*/ 474 h 673"/>
              <a:gd name="T30" fmla="*/ 3534 w 5284"/>
              <a:gd name="T31" fmla="*/ 447 h 673"/>
              <a:gd name="T32" fmla="*/ 3735 w 5284"/>
              <a:gd name="T33" fmla="*/ 420 h 673"/>
              <a:gd name="T34" fmla="*/ 3933 w 5284"/>
              <a:gd name="T35" fmla="*/ 384 h 673"/>
              <a:gd name="T36" fmla="*/ 4116 w 5284"/>
              <a:gd name="T37" fmla="*/ 351 h 673"/>
              <a:gd name="T38" fmla="*/ 4266 w 5284"/>
              <a:gd name="T39" fmla="*/ 318 h 673"/>
              <a:gd name="T40" fmla="*/ 4446 w 5284"/>
              <a:gd name="T41" fmla="*/ 279 h 673"/>
              <a:gd name="T42" fmla="*/ 4620 w 5284"/>
              <a:gd name="T43" fmla="*/ 237 h 673"/>
              <a:gd name="T44" fmla="*/ 4779 w 5284"/>
              <a:gd name="T45" fmla="*/ 192 h 673"/>
              <a:gd name="T46" fmla="*/ 4920 w 5284"/>
              <a:gd name="T47" fmla="*/ 147 h 673"/>
              <a:gd name="T48" fmla="*/ 5085 w 5284"/>
              <a:gd name="T49" fmla="*/ 90 h 673"/>
              <a:gd name="T50" fmla="*/ 5193 w 5284"/>
              <a:gd name="T51" fmla="*/ 42 h 673"/>
              <a:gd name="T52" fmla="*/ 5283 w 5284"/>
              <a:gd name="T53" fmla="*/ 0 h 673"/>
              <a:gd name="T54" fmla="*/ 3201 w 5284"/>
              <a:gd name="T55" fmla="*/ 0 h 673"/>
              <a:gd name="T56" fmla="*/ 2982 w 5284"/>
              <a:gd name="T57" fmla="*/ 57 h 673"/>
              <a:gd name="T58" fmla="*/ 2775 w 5284"/>
              <a:gd name="T59" fmla="*/ 108 h 673"/>
              <a:gd name="T60" fmla="*/ 2562 w 5284"/>
              <a:gd name="T61" fmla="*/ 150 h 673"/>
              <a:gd name="T62" fmla="*/ 2397 w 5284"/>
              <a:gd name="T63" fmla="*/ 183 h 673"/>
              <a:gd name="T64" fmla="*/ 2205 w 5284"/>
              <a:gd name="T65" fmla="*/ 213 h 673"/>
              <a:gd name="T66" fmla="*/ 2001 w 5284"/>
              <a:gd name="T67" fmla="*/ 243 h 673"/>
              <a:gd name="T68" fmla="*/ 1776 w 5284"/>
              <a:gd name="T69" fmla="*/ 273 h 673"/>
              <a:gd name="T70" fmla="*/ 1536 w 5284"/>
              <a:gd name="T71" fmla="*/ 297 h 673"/>
              <a:gd name="T72" fmla="*/ 1344 w 5284"/>
              <a:gd name="T73" fmla="*/ 312 h 673"/>
              <a:gd name="T74" fmla="*/ 1134 w 5284"/>
              <a:gd name="T75" fmla="*/ 330 h 673"/>
              <a:gd name="T76" fmla="*/ 921 w 5284"/>
              <a:gd name="T77" fmla="*/ 342 h 673"/>
              <a:gd name="T78" fmla="*/ 696 w 5284"/>
              <a:gd name="T79" fmla="*/ 354 h 673"/>
              <a:gd name="T80" fmla="*/ 501 w 5284"/>
              <a:gd name="T81" fmla="*/ 360 h 673"/>
              <a:gd name="T82" fmla="*/ 279 w 5284"/>
              <a:gd name="T83" fmla="*/ 366 h 673"/>
              <a:gd name="T84" fmla="*/ 99 w 5284"/>
              <a:gd name="T85" fmla="*/ 369 h 673"/>
              <a:gd name="T86" fmla="*/ 0 w 5284"/>
              <a:gd name="T87" fmla="*/ 366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84" h="673">
                <a:moveTo>
                  <a:pt x="0" y="366"/>
                </a:moveTo>
                <a:lnTo>
                  <a:pt x="0" y="672"/>
                </a:lnTo>
                <a:lnTo>
                  <a:pt x="303" y="672"/>
                </a:lnTo>
                <a:lnTo>
                  <a:pt x="723" y="663"/>
                </a:lnTo>
                <a:lnTo>
                  <a:pt x="1020" y="654"/>
                </a:lnTo>
                <a:lnTo>
                  <a:pt x="1302" y="642"/>
                </a:lnTo>
                <a:lnTo>
                  <a:pt x="1554" y="630"/>
                </a:lnTo>
                <a:lnTo>
                  <a:pt x="1779" y="615"/>
                </a:lnTo>
                <a:lnTo>
                  <a:pt x="1962" y="606"/>
                </a:lnTo>
                <a:lnTo>
                  <a:pt x="2193" y="588"/>
                </a:lnTo>
                <a:lnTo>
                  <a:pt x="2448" y="570"/>
                </a:lnTo>
                <a:lnTo>
                  <a:pt x="2700" y="546"/>
                </a:lnTo>
                <a:lnTo>
                  <a:pt x="2904" y="528"/>
                </a:lnTo>
                <a:lnTo>
                  <a:pt x="3138" y="498"/>
                </a:lnTo>
                <a:lnTo>
                  <a:pt x="3324" y="474"/>
                </a:lnTo>
                <a:lnTo>
                  <a:pt x="3534" y="447"/>
                </a:lnTo>
                <a:lnTo>
                  <a:pt x="3735" y="420"/>
                </a:lnTo>
                <a:lnTo>
                  <a:pt x="3933" y="384"/>
                </a:lnTo>
                <a:lnTo>
                  <a:pt x="4116" y="351"/>
                </a:lnTo>
                <a:lnTo>
                  <a:pt x="4266" y="318"/>
                </a:lnTo>
                <a:lnTo>
                  <a:pt x="4446" y="279"/>
                </a:lnTo>
                <a:lnTo>
                  <a:pt x="4620" y="237"/>
                </a:lnTo>
                <a:lnTo>
                  <a:pt x="4779" y="192"/>
                </a:lnTo>
                <a:lnTo>
                  <a:pt x="4920" y="147"/>
                </a:lnTo>
                <a:lnTo>
                  <a:pt x="5085" y="90"/>
                </a:lnTo>
                <a:lnTo>
                  <a:pt x="5193" y="42"/>
                </a:lnTo>
                <a:lnTo>
                  <a:pt x="5283" y="0"/>
                </a:lnTo>
                <a:lnTo>
                  <a:pt x="3201" y="0"/>
                </a:lnTo>
                <a:lnTo>
                  <a:pt x="2982" y="57"/>
                </a:lnTo>
                <a:lnTo>
                  <a:pt x="2775" y="108"/>
                </a:lnTo>
                <a:lnTo>
                  <a:pt x="2562" y="150"/>
                </a:lnTo>
                <a:lnTo>
                  <a:pt x="2397" y="183"/>
                </a:lnTo>
                <a:lnTo>
                  <a:pt x="2205" y="213"/>
                </a:lnTo>
                <a:lnTo>
                  <a:pt x="2001" y="243"/>
                </a:lnTo>
                <a:lnTo>
                  <a:pt x="1776" y="273"/>
                </a:lnTo>
                <a:lnTo>
                  <a:pt x="1536" y="297"/>
                </a:lnTo>
                <a:lnTo>
                  <a:pt x="1344" y="312"/>
                </a:lnTo>
                <a:lnTo>
                  <a:pt x="1134" y="330"/>
                </a:lnTo>
                <a:lnTo>
                  <a:pt x="921" y="342"/>
                </a:lnTo>
                <a:lnTo>
                  <a:pt x="696" y="354"/>
                </a:lnTo>
                <a:lnTo>
                  <a:pt x="501" y="360"/>
                </a:lnTo>
                <a:lnTo>
                  <a:pt x="279" y="366"/>
                </a:lnTo>
                <a:lnTo>
                  <a:pt x="99" y="369"/>
                </a:lnTo>
                <a:lnTo>
                  <a:pt x="0" y="366"/>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7418" name="Freeform 10"/>
          <p:cNvSpPr>
            <a:spLocks/>
          </p:cNvSpPr>
          <p:nvPr/>
        </p:nvSpPr>
        <p:spPr bwMode="white">
          <a:xfrm>
            <a:off x="0" y="-20638"/>
            <a:ext cx="4578350" cy="454026"/>
          </a:xfrm>
          <a:custGeom>
            <a:avLst/>
            <a:gdLst>
              <a:gd name="T0" fmla="*/ 0 w 2884"/>
              <a:gd name="T1" fmla="*/ 0 h 286"/>
              <a:gd name="T2" fmla="*/ 0 w 2884"/>
              <a:gd name="T3" fmla="*/ 285 h 286"/>
              <a:gd name="T4" fmla="*/ 192 w 2884"/>
              <a:gd name="T5" fmla="*/ 285 h 286"/>
              <a:gd name="T6" fmla="*/ 384 w 2884"/>
              <a:gd name="T7" fmla="*/ 282 h 286"/>
              <a:gd name="T8" fmla="*/ 579 w 2884"/>
              <a:gd name="T9" fmla="*/ 276 h 286"/>
              <a:gd name="T10" fmla="*/ 789 w 2884"/>
              <a:gd name="T11" fmla="*/ 267 h 286"/>
              <a:gd name="T12" fmla="*/ 999 w 2884"/>
              <a:gd name="T13" fmla="*/ 258 h 286"/>
              <a:gd name="T14" fmla="*/ 1161 w 2884"/>
              <a:gd name="T15" fmla="*/ 246 h 286"/>
              <a:gd name="T16" fmla="*/ 1302 w 2884"/>
              <a:gd name="T17" fmla="*/ 234 h 286"/>
              <a:gd name="T18" fmla="*/ 1458 w 2884"/>
              <a:gd name="T19" fmla="*/ 222 h 286"/>
              <a:gd name="T20" fmla="*/ 1665 w 2884"/>
              <a:gd name="T21" fmla="*/ 201 h 286"/>
              <a:gd name="T22" fmla="*/ 1992 w 2884"/>
              <a:gd name="T23" fmla="*/ 159 h 286"/>
              <a:gd name="T24" fmla="*/ 2301 w 2884"/>
              <a:gd name="T25" fmla="*/ 117 h 286"/>
              <a:gd name="T26" fmla="*/ 2604 w 2884"/>
              <a:gd name="T27" fmla="*/ 60 h 286"/>
              <a:gd name="T28" fmla="*/ 2883 w 2884"/>
              <a:gd name="T29" fmla="*/ 0 h 286"/>
              <a:gd name="T30" fmla="*/ 0 w 2884"/>
              <a:gd name="T31"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4" h="286">
                <a:moveTo>
                  <a:pt x="0" y="0"/>
                </a:moveTo>
                <a:lnTo>
                  <a:pt x="0" y="285"/>
                </a:lnTo>
                <a:lnTo>
                  <a:pt x="192" y="285"/>
                </a:lnTo>
                <a:lnTo>
                  <a:pt x="384" y="282"/>
                </a:lnTo>
                <a:lnTo>
                  <a:pt x="579" y="276"/>
                </a:lnTo>
                <a:lnTo>
                  <a:pt x="789" y="267"/>
                </a:lnTo>
                <a:lnTo>
                  <a:pt x="999" y="258"/>
                </a:lnTo>
                <a:lnTo>
                  <a:pt x="1161" y="246"/>
                </a:lnTo>
                <a:lnTo>
                  <a:pt x="1302" y="234"/>
                </a:lnTo>
                <a:lnTo>
                  <a:pt x="1458" y="222"/>
                </a:lnTo>
                <a:lnTo>
                  <a:pt x="1665" y="201"/>
                </a:lnTo>
                <a:lnTo>
                  <a:pt x="1992" y="159"/>
                </a:lnTo>
                <a:lnTo>
                  <a:pt x="2301" y="117"/>
                </a:lnTo>
                <a:lnTo>
                  <a:pt x="2604" y="60"/>
                </a:lnTo>
                <a:lnTo>
                  <a:pt x="2883" y="0"/>
                </a:lnTo>
                <a:lnTo>
                  <a:pt x="0" y="0"/>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7419" name="Rectangle 11"/>
          <p:cNvSpPr>
            <a:spLocks noGrp="1" noChangeArrowheads="1"/>
          </p:cNvSpPr>
          <p:nvPr>
            <p:ph type="ctrTitle"/>
          </p:nvPr>
        </p:nvSpPr>
        <p:spPr>
          <a:xfrm>
            <a:off x="685800" y="2286000"/>
            <a:ext cx="7772400" cy="1143000"/>
          </a:xfrm>
        </p:spPr>
        <p:txBody>
          <a:bodyPr/>
          <a:lstStyle>
            <a:lvl1pPr>
              <a:defRPr/>
            </a:lvl1pPr>
          </a:lstStyle>
          <a:p>
            <a:pPr lvl="0"/>
            <a:r>
              <a:rPr lang="en-US" altLang="en-US" noProof="0" smtClean="0"/>
              <a:t>Click to edit Master title style</a:t>
            </a:r>
          </a:p>
        </p:txBody>
      </p:sp>
      <p:sp>
        <p:nvSpPr>
          <p:cNvPr id="17420" name="Rectangle 12"/>
          <p:cNvSpPr>
            <a:spLocks noGrp="1" noChangeArrowheads="1"/>
          </p:cNvSpPr>
          <p:nvPr>
            <p:ph type="subTitle" idx="1"/>
          </p:nvPr>
        </p:nvSpPr>
        <p:spPr>
          <a:xfrm>
            <a:off x="1371600" y="3886200"/>
            <a:ext cx="6400800" cy="1752600"/>
          </a:xfrm>
        </p:spPr>
        <p:txBody>
          <a:bodyPr/>
          <a:lstStyle>
            <a:lvl1pPr marL="0" indent="0" algn="ctr">
              <a:buFontTx/>
              <a:buNone/>
              <a:defRPr/>
            </a:lvl1pPr>
          </a:lstStyle>
          <a:p>
            <a:pPr lvl="0"/>
            <a:r>
              <a:rPr lang="en-US" altLang="en-US" noProof="0" smtClean="0"/>
              <a:t>Click to edit Master subtitle style</a:t>
            </a:r>
          </a:p>
        </p:txBody>
      </p:sp>
      <p:sp>
        <p:nvSpPr>
          <p:cNvPr id="17421" name="Rectangle 13"/>
          <p:cNvSpPr>
            <a:spLocks noGrp="1" noChangeArrowheads="1"/>
          </p:cNvSpPr>
          <p:nvPr>
            <p:ph type="dt" sz="half" idx="2"/>
          </p:nvPr>
        </p:nvSpPr>
        <p:spPr/>
        <p:txBody>
          <a:bodyPr/>
          <a:lstStyle>
            <a:lvl1pPr>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7422" name="Rectangle 14"/>
          <p:cNvSpPr>
            <a:spLocks noGrp="1" noChangeArrowheads="1"/>
          </p:cNvSpPr>
          <p:nvPr>
            <p:ph type="ftr" sz="quarter" idx="3"/>
          </p:nvPr>
        </p:nvSpPr>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7423" name="Rectangle 15"/>
          <p:cNvSpPr>
            <a:spLocks noGrp="1" noChangeArrowheads="1"/>
          </p:cNvSpPr>
          <p:nvPr>
            <p:ph type="sldNum" sz="quarter" idx="4"/>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A03BE477-C6BF-4DA9-9BEC-A9A13DEB662B}" type="slidenum">
              <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12869843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nodeType="afterEffect">
                                  <p:stCondLst>
                                    <p:cond delay="1000"/>
                                  </p:stCondLst>
                                  <p:childTnLst>
                                    <p:set>
                                      <p:cBhvr>
                                        <p:cTn id="6" dur="1" fill="hold">
                                          <p:stCondLst>
                                            <p:cond delay="0"/>
                                          </p:stCondLst>
                                        </p:cTn>
                                        <p:tgtEl>
                                          <p:spTgt spid="17410"/>
                                        </p:tgtEl>
                                        <p:attrNameLst>
                                          <p:attrName>style.visibility</p:attrName>
                                        </p:attrNameLst>
                                      </p:cBhvr>
                                      <p:to>
                                        <p:strVal val="visible"/>
                                      </p:to>
                                    </p:set>
                                    <p:anim calcmode="lin" valueType="num">
                                      <p:cBhvr additive="base">
                                        <p:cTn id="7" dur="500" fill="hold"/>
                                        <p:tgtEl>
                                          <p:spTgt spid="17410"/>
                                        </p:tgtEl>
                                        <p:attrNameLst>
                                          <p:attrName>ppt_x</p:attrName>
                                        </p:attrNameLst>
                                      </p:cBhvr>
                                      <p:tavLst>
                                        <p:tav tm="0">
                                          <p:val>
                                            <p:strVal val="0-#ppt_w/2"/>
                                          </p:val>
                                        </p:tav>
                                        <p:tav tm="100000">
                                          <p:val>
                                            <p:strVal val="#ppt_x"/>
                                          </p:val>
                                        </p:tav>
                                      </p:tavLst>
                                    </p:anim>
                                    <p:anim calcmode="lin" valueType="num">
                                      <p:cBhvr additive="base">
                                        <p:cTn id="8" dur="500" fill="hold"/>
                                        <p:tgtEl>
                                          <p:spTgt spid="17410"/>
                                        </p:tgtEl>
                                        <p:attrNameLst>
                                          <p:attrName>ppt_y</p:attrName>
                                        </p:attrNameLst>
                                      </p:cBhvr>
                                      <p:tavLst>
                                        <p:tav tm="0">
                                          <p:val>
                                            <p:strVal val="#ppt_y"/>
                                          </p:val>
                                        </p:tav>
                                        <p:tav tm="100000">
                                          <p:val>
                                            <p:strVal val="#ppt_y"/>
                                          </p:val>
                                        </p:tav>
                                      </p:tavLst>
                                    </p:anim>
                                  </p:childTnLst>
                                  <p:subTnLst>
                                    <p:set>
                                      <p:cBhvr override="childStyle">
                                        <p:cTn dur="1" fill="hold" display="0" masterRel="sameClick" afterEffect="1">
                                          <p:stCondLst>
                                            <p:cond evt="end" delay="0">
                                              <p:tn val="5"/>
                                            </p:cond>
                                          </p:stCondLst>
                                        </p:cTn>
                                        <p:tgtEl>
                                          <p:spTgt spid="17410"/>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34AC3593-CDA0-460C-8575-97DF478A3D8A}" type="slidenum">
              <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29069326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Edit Master text styles</a:t>
            </a:r>
          </a:p>
        </p:txBody>
      </p:sp>
      <p:sp>
        <p:nvSpPr>
          <p:cNvPr id="4" name="Date Placeholder 3"/>
          <p:cNvSpPr>
            <a:spLocks noGrp="1"/>
          </p:cNvSpPr>
          <p:nvPr>
            <p:ph type="dt" sz="half" idx="10"/>
          </p:nvPr>
        </p:nvSpPr>
        <p:spPr/>
        <p:txBody>
          <a:bodyPr/>
          <a:lstStyle>
            <a:lvl1pPr>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57BE7496-08DD-4D02-B20B-8380F2B8C7A9}" type="slidenum">
              <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34292078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7" name="Slide Number Placeholder 6"/>
          <p:cNvSpPr>
            <a:spLocks noGrp="1"/>
          </p:cNvSpPr>
          <p:nvPr>
            <p:ph type="sldNum" sz="quarter" idx="12"/>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712886AA-B582-4BA0-AB51-E732693335EE}" type="slidenum">
              <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156882606"/>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8" name="Footer Placeholder 7"/>
          <p:cNvSpPr>
            <a:spLocks noGrp="1"/>
          </p:cNvSpPr>
          <p:nvPr>
            <p:ph type="ftr" sz="quarter" idx="11"/>
          </p:nvPr>
        </p:nvSpPr>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9" name="Slide Number Placeholder 8"/>
          <p:cNvSpPr>
            <a:spLocks noGrp="1"/>
          </p:cNvSpPr>
          <p:nvPr>
            <p:ph type="sldNum" sz="quarter" idx="12"/>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C6948783-64A5-4ACF-964D-30FF3B0C01A8}" type="slidenum">
              <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35590828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4" name="Footer Placeholder 3"/>
          <p:cNvSpPr>
            <a:spLocks noGrp="1"/>
          </p:cNvSpPr>
          <p:nvPr>
            <p:ph type="ftr" sz="quarter" idx="11"/>
          </p:nvPr>
        </p:nvSpPr>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5" name="Slide Number Placeholder 4"/>
          <p:cNvSpPr>
            <a:spLocks noGrp="1"/>
          </p:cNvSpPr>
          <p:nvPr>
            <p:ph type="sldNum" sz="quarter" idx="12"/>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74E1709F-BD3D-435D-BB3B-EB1D31D3387D}" type="slidenum">
              <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4752820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5" name="Rectangle 10"/>
          <p:cNvSpPr/>
          <p:nvPr/>
        </p:nvSpPr>
        <p:spPr bwMode="white">
          <a:xfrm>
            <a:off x="-9525" y="4572000"/>
            <a:ext cx="9144000" cy="887413"/>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6" name="Rectangle 11"/>
          <p:cNvSpPr/>
          <p:nvPr/>
        </p:nvSpPr>
        <p:spPr>
          <a:xfrm>
            <a:off x="-9525" y="4664075"/>
            <a:ext cx="1463675" cy="712788"/>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7" name="Rectangle 14"/>
          <p:cNvSpPr/>
          <p:nvPr/>
        </p:nvSpPr>
        <p:spPr>
          <a:xfrm>
            <a:off x="1544638" y="4654550"/>
            <a:ext cx="7599362" cy="712788"/>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8" name="Rectangle 15"/>
          <p:cNvSpPr/>
          <p:nvPr/>
        </p:nvSpPr>
        <p:spPr bwMode="white">
          <a:xfrm>
            <a:off x="1447800" y="0"/>
            <a:ext cx="100013" cy="6867525"/>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a:r>
              <a:rPr lang="en-US" smtClean="0"/>
              <a:t>Click to edit Master text styles</a:t>
            </a:r>
          </a:p>
        </p:txBody>
      </p:sp>
      <p:sp>
        <p:nvSpPr>
          <p:cNvPr id="2" name="Title 1"/>
          <p:cNvSpPr>
            <a:spLocks noGrp="1"/>
          </p:cNvSpPr>
          <p:nvPr>
            <p:ph type="title"/>
          </p:nvPr>
        </p:nvSpPr>
        <p:spPr>
          <a:xfrm>
            <a:off x="1600200" y="4648200"/>
            <a:ext cx="7315200" cy="685800"/>
          </a:xfrm>
        </p:spPr>
        <p:txBody>
          <a:bodyPr/>
          <a:lstStyle>
            <a:lvl1pPr algn="l">
              <a:buNone/>
              <a:defRPr sz="2800" b="0">
                <a:solidFill>
                  <a:srgbClr val="FFFFFF"/>
                </a:solidFill>
              </a:defRPr>
            </a:lvl1pPr>
          </a:lstStyle>
          <a:p>
            <a:r>
              <a:rPr lang="en-US" smtClean="0"/>
              <a:t>Click to edit Master title style</a:t>
            </a:r>
            <a:endParaRPr lang="en-US"/>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normAutofit/>
          </a:bodyPr>
          <a:lstStyle>
            <a:lvl1pPr marL="0" indent="0">
              <a:buNone/>
              <a:defRPr sz="3200"/>
            </a:lvl1pPr>
          </a:lstStyle>
          <a:p>
            <a:pPr lvl="0"/>
            <a:r>
              <a:rPr lang="en-US" noProof="0" smtClean="0"/>
              <a:t>Click icon to add picture</a:t>
            </a:r>
            <a:endParaRPr lang="en-US" noProof="0" dirty="0"/>
          </a:p>
        </p:txBody>
      </p:sp>
      <p:sp>
        <p:nvSpPr>
          <p:cNvPr id="9" name="Date Placeholder 11"/>
          <p:cNvSpPr>
            <a:spLocks noGrp="1"/>
          </p:cNvSpPr>
          <p:nvPr>
            <p:ph type="dt" sz="half" idx="10"/>
          </p:nvPr>
        </p:nvSpPr>
        <p:spPr>
          <a:xfrm>
            <a:off x="6248400" y="6248400"/>
            <a:ext cx="2667000" cy="365125"/>
          </a:xfrm>
        </p:spPr>
        <p:txBody>
          <a:bodyPr rtlCol="0"/>
          <a:lstStyle>
            <a:lvl1pPr>
              <a:defRPr/>
            </a:lvl1pPr>
          </a:lstStyle>
          <a:p>
            <a:pPr>
              <a:defRPr/>
            </a:pPr>
            <a:endParaRPr lang="en-US">
              <a:solidFill>
                <a:srgbClr val="775F55"/>
              </a:solidFill>
            </a:endParaRPr>
          </a:p>
        </p:txBody>
      </p:sp>
      <p:sp>
        <p:nvSpPr>
          <p:cNvPr id="10" name="Slide Number Placeholder 12"/>
          <p:cNvSpPr>
            <a:spLocks noGrp="1"/>
          </p:cNvSpPr>
          <p:nvPr>
            <p:ph type="sldNum" sz="quarter" idx="11"/>
          </p:nvPr>
        </p:nvSpPr>
        <p:spPr>
          <a:xfrm>
            <a:off x="0" y="4667250"/>
            <a:ext cx="1447800" cy="663575"/>
          </a:xfrm>
        </p:spPr>
        <p:txBody>
          <a:bodyPr rtlCol="0"/>
          <a:lstStyle>
            <a:lvl1pPr>
              <a:defRPr sz="2800" smtClean="0"/>
            </a:lvl1pPr>
          </a:lstStyle>
          <a:p>
            <a:pPr>
              <a:defRPr/>
            </a:pPr>
            <a:fld id="{6A3C7D28-950E-4BD8-B730-9540285F234E}" type="slidenum">
              <a:rPr lang="en-US"/>
              <a:pPr>
                <a:defRPr/>
              </a:pPr>
              <a:t>‹#›</a:t>
            </a:fld>
            <a:endParaRPr lang="en-US"/>
          </a:p>
        </p:txBody>
      </p:sp>
      <p:sp>
        <p:nvSpPr>
          <p:cNvPr id="11" name="Footer Placeholder 13"/>
          <p:cNvSpPr>
            <a:spLocks noGrp="1"/>
          </p:cNvSpPr>
          <p:nvPr>
            <p:ph type="ftr" sz="quarter" idx="12"/>
          </p:nvPr>
        </p:nvSpPr>
        <p:spPr>
          <a:xfrm>
            <a:off x="1600200" y="6248400"/>
            <a:ext cx="4572000" cy="365125"/>
          </a:xfrm>
        </p:spPr>
        <p:txBody>
          <a:bodyPr rtlCol="0"/>
          <a:lstStyle>
            <a:lvl1pPr>
              <a:defRPr/>
            </a:lvl1pPr>
          </a:lstStyle>
          <a:p>
            <a:pPr>
              <a:defRPr/>
            </a:pPr>
            <a:endParaRPr lang="en-US">
              <a:solidFill>
                <a:srgbClr val="775F55"/>
              </a:solidFill>
            </a:endParaRPr>
          </a:p>
        </p:txBody>
      </p:sp>
    </p:spTree>
    <p:extLst>
      <p:ext uri="{BB962C8B-B14F-4D97-AF65-F5344CB8AC3E}">
        <p14:creationId xmlns:p14="http://schemas.microsoft.com/office/powerpoint/2010/main" val="2749778312"/>
      </p:ext>
    </p:extLst>
  </p:cSld>
  <p:clrMapOvr>
    <a:overrideClrMapping bg1="lt1" tx1="dk1" bg2="lt2" tx2="dk2" accent1="accent1" accent2="accent2" accent3="accent3" accent4="accent4" accent5="accent5" accent6="accent6" hlink="hlink" folHlink="folHlink"/>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3" name="Footer Placeholder 2"/>
          <p:cNvSpPr>
            <a:spLocks noGrp="1"/>
          </p:cNvSpPr>
          <p:nvPr>
            <p:ph type="ftr" sz="quarter" idx="11"/>
          </p:nvPr>
        </p:nvSpPr>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4" name="Slide Number Placeholder 3"/>
          <p:cNvSpPr>
            <a:spLocks noGrp="1"/>
          </p:cNvSpPr>
          <p:nvPr>
            <p:ph type="sldNum" sz="quarter" idx="12"/>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FEB442F5-9F7A-4D1A-BBD6-0DB576059430}" type="slidenum">
              <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91916809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lvl1pPr>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7" name="Slide Number Placeholder 6"/>
          <p:cNvSpPr>
            <a:spLocks noGrp="1"/>
          </p:cNvSpPr>
          <p:nvPr>
            <p:ph type="sldNum" sz="quarter" idx="12"/>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E3CE9C53-EBC0-4441-80F9-91FA0B67661C}" type="slidenum">
              <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38375916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lvl1pPr>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7" name="Slide Number Placeholder 6"/>
          <p:cNvSpPr>
            <a:spLocks noGrp="1"/>
          </p:cNvSpPr>
          <p:nvPr>
            <p:ph type="sldNum" sz="quarter" idx="12"/>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A1652A7A-28F0-4AE6-93B4-EDCE568161F4}" type="slidenum">
              <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84154606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4CA24C6C-2C27-4418-B473-BA0B6258C1B4}" type="slidenum">
              <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64847013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524804F6-8E68-4824-A503-A5C52EF0D67D}" type="slidenum">
              <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655593990"/>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2">
        <a:schemeClr val="bg2"/>
      </p:bgRef>
    </p:bg>
    <p:spTree>
      <p:nvGrpSpPr>
        <p:cNvPr id="1" name=""/>
        <p:cNvGrpSpPr/>
        <p:nvPr/>
      </p:nvGrpSpPr>
      <p:grpSpPr>
        <a:xfrm>
          <a:off x="0" y="0"/>
          <a:ext cx="0" cy="0"/>
          <a:chOff x="0" y="0"/>
          <a:chExt cx="0" cy="0"/>
        </a:xfrm>
      </p:grpSpPr>
      <p:sp>
        <p:nvSpPr>
          <p:cNvPr id="9" name="Rectangle 8"/>
          <p:cNvSpPr/>
          <p:nvPr/>
        </p:nvSpPr>
        <p:spPr bwMode="ltGray">
          <a:xfrm>
            <a:off x="2" y="0"/>
            <a:ext cx="9143999" cy="5135430"/>
          </a:xfrm>
          <a:prstGeom prst="rect">
            <a:avLst/>
          </a:prstGeom>
          <a:solidFill>
            <a:srgbClr val="000000"/>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2" name="Title 1"/>
          <p:cNvSpPr>
            <a:spLocks noGrp="1"/>
          </p:cNvSpPr>
          <p:nvPr>
            <p:ph type="ctrTitle"/>
          </p:nvPr>
        </p:nvSpPr>
        <p:spPr>
          <a:xfrm>
            <a:off x="685800" y="3355848"/>
            <a:ext cx="8077200" cy="1673352"/>
          </a:xfrm>
        </p:spPr>
        <p:txBody>
          <a:bodyPr vert="horz" lIns="91440" tIns="0" rIns="45720" bIns="0" rtlCol="0" anchor="t">
            <a:normAutofit/>
            <a:scene3d>
              <a:camera prst="orthographicFront"/>
              <a:lightRig rig="threePt" dir="t">
                <a:rot lat="0" lon="0" rev="4800000"/>
              </a:lightRig>
            </a:scene3d>
            <a:sp3d prstMaterial="matte">
              <a:bevelT w="50800" h="10160"/>
            </a:sp3d>
          </a:bodyPr>
          <a:lstStyle>
            <a:lvl1pPr algn="l">
              <a:defRPr sz="4700" b="1"/>
            </a:lvl1pPr>
            <a:extLst/>
          </a:lstStyle>
          <a:p>
            <a:r>
              <a:rPr kumimoji="0" lang="en-US" smtClean="0"/>
              <a:t>Click to edit Master title style</a:t>
            </a:r>
            <a:endParaRPr kumimoji="0" lang="en-US"/>
          </a:p>
        </p:txBody>
      </p:sp>
      <p:sp>
        <p:nvSpPr>
          <p:cNvPr id="3" name="Subtitle 2"/>
          <p:cNvSpPr>
            <a:spLocks noGrp="1"/>
          </p:cNvSpPr>
          <p:nvPr>
            <p:ph type="subTitle" idx="1"/>
          </p:nvPr>
        </p:nvSpPr>
        <p:spPr>
          <a:xfrm>
            <a:off x="685800" y="1828800"/>
            <a:ext cx="8077200" cy="1499616"/>
          </a:xfrm>
        </p:spPr>
        <p:txBody>
          <a:bodyPr lIns="118872" tIns="0" rIns="45720" bIns="0" anchor="b"/>
          <a:lstStyle>
            <a:lvl1pPr marL="0" indent="0" algn="l">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extLst/>
          </a:lstStyle>
          <a:p>
            <a:r>
              <a:rPr kumimoji="0" lang="en-US" smtClean="0"/>
              <a:t>Click to edit Master subtitle style</a:t>
            </a:r>
            <a:endParaRPr kumimoji="0"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200" b="0" i="0" u="none" strike="noStrike" kern="1200" cap="none" spc="0" normalizeH="0" baseline="0" noProof="0" smtClean="0">
                <a:ln>
                  <a:noFill/>
                </a:ln>
                <a:solidFill>
                  <a:prstClr val="white">
                    <a:tint val="95000"/>
                  </a:prstClr>
                </a:solidFill>
                <a:effectLst/>
                <a:uLnTx/>
                <a:uFillTx/>
                <a:latin typeface="Corbe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white">
                  <a:tint val="95000"/>
                </a:prstClr>
              </a:solidFill>
              <a:effectLst/>
              <a:uLnTx/>
              <a:uFillTx/>
              <a:latin typeface="Corbel"/>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tint val="95000"/>
                </a:prstClr>
              </a:solidFill>
              <a:effectLst/>
              <a:uLnTx/>
              <a:uFillTx/>
              <a:latin typeface="Corbe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prstClr val="white">
                    <a:tint val="95000"/>
                  </a:prst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white">
                  <a:tint val="95000"/>
                </a:prstClr>
              </a:solidFill>
              <a:effectLst/>
              <a:uLnTx/>
              <a:uFillTx/>
              <a:latin typeface="Corbel"/>
              <a:ea typeface="+mn-ea"/>
              <a:cs typeface="+mn-cs"/>
            </a:endParaRPr>
          </a:p>
        </p:txBody>
      </p:sp>
      <p:sp>
        <p:nvSpPr>
          <p:cNvPr id="10" name="Rectangle 9"/>
          <p:cNvSpPr/>
          <p:nvPr/>
        </p:nvSpPr>
        <p:spPr bwMode="invGray">
          <a:xfrm>
            <a:off x="0" y="5128334"/>
            <a:ext cx="9144000" cy="45720"/>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Tree>
    <p:extLst>
      <p:ext uri="{BB962C8B-B14F-4D97-AF65-F5344CB8AC3E}">
        <p14:creationId xmlns:p14="http://schemas.microsoft.com/office/powerpoint/2010/main" val="2156498075"/>
      </p:ext>
    </p:extLst>
  </p:cSld>
  <p:clrMapOvr>
    <a:overrideClrMapping bg1="dk1" tx1="lt1" bg2="dk2" tx2="lt2" accent1="accent1" accent2="accent2" accent3="accent3" accent4="accent4" accent5="accent5" accent6="accent6" hlink="hlink" folHlink="folHlink"/>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5448"/>
            <a:ext cx="8229600" cy="1252728"/>
          </a:xfrm>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Tree>
    <p:extLst>
      <p:ext uri="{BB962C8B-B14F-4D97-AF65-F5344CB8AC3E}">
        <p14:creationId xmlns:p14="http://schemas.microsoft.com/office/powerpoint/2010/main" val="3077519954"/>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2">
        <a:schemeClr val="bg2"/>
      </p:bgRef>
    </p:bg>
    <p:spTree>
      <p:nvGrpSpPr>
        <p:cNvPr id="1" name=""/>
        <p:cNvGrpSpPr/>
        <p:nvPr/>
      </p:nvGrpSpPr>
      <p:grpSpPr>
        <a:xfrm>
          <a:off x="0" y="0"/>
          <a:ext cx="0" cy="0"/>
          <a:chOff x="0" y="0"/>
          <a:chExt cx="0" cy="0"/>
        </a:xfrm>
      </p:grpSpPr>
      <p:sp>
        <p:nvSpPr>
          <p:cNvPr id="9" name="Rectangle 8"/>
          <p:cNvSpPr/>
          <p:nvPr/>
        </p:nvSpPr>
        <p:spPr bwMode="ltGray">
          <a:xfrm>
            <a:off x="0" y="1"/>
            <a:ext cx="9144000" cy="2602520"/>
          </a:xfrm>
          <a:prstGeom prst="rect">
            <a:avLst/>
          </a:prstGeom>
          <a:solidFill>
            <a:srgbClr val="000000"/>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2" name="Rectangle 11"/>
          <p:cNvSpPr/>
          <p:nvPr/>
        </p:nvSpPr>
        <p:spPr bwMode="invGray">
          <a:xfrm>
            <a:off x="0" y="2602520"/>
            <a:ext cx="9144000" cy="45720"/>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2" name="Title 1"/>
          <p:cNvSpPr>
            <a:spLocks noGrp="1"/>
          </p:cNvSpPr>
          <p:nvPr>
            <p:ph type="title"/>
          </p:nvPr>
        </p:nvSpPr>
        <p:spPr>
          <a:xfrm>
            <a:off x="749808" y="118872"/>
            <a:ext cx="8013192" cy="1636776"/>
          </a:xfrm>
        </p:spPr>
        <p:txBody>
          <a:bodyPr vert="horz" lIns="91440" tIns="0" rIns="91440" bIns="0" rtlCol="0" anchor="b">
            <a:normAutofit/>
            <a:scene3d>
              <a:camera prst="orthographicFront"/>
              <a:lightRig rig="threePt" dir="t">
                <a:rot lat="0" lon="0" rev="4800000"/>
              </a:lightRig>
            </a:scene3d>
            <a:sp3d prstMaterial="matte">
              <a:bevelT w="50800" h="10160"/>
            </a:sp3d>
          </a:bodyPr>
          <a:lstStyle>
            <a:lvl1pPr algn="l">
              <a:defRPr sz="4700" b="1" cap="none" baseline="0"/>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740664" y="1828800"/>
            <a:ext cx="8022336" cy="685800"/>
          </a:xfrm>
        </p:spPr>
        <p:txBody>
          <a:bodyPr lIns="146304" tIns="0" rIns="45720" bIns="0" anchor="t"/>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extLst/>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200" b="0" i="0" u="none" strike="noStrike" kern="1200" cap="none" spc="0" normalizeH="0" baseline="0" noProof="0" smtClean="0">
                <a:ln>
                  <a:noFill/>
                </a:ln>
                <a:solidFill>
                  <a:prstClr val="white">
                    <a:tint val="95000"/>
                  </a:prstClr>
                </a:solidFill>
                <a:effectLst/>
                <a:uLnTx/>
                <a:uFillTx/>
                <a:latin typeface="Corbe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white">
                  <a:tint val="95000"/>
                </a:prstClr>
              </a:solidFill>
              <a:effectLst/>
              <a:uLnTx/>
              <a:uFillTx/>
              <a:latin typeface="Corbel"/>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tint val="95000"/>
                </a:prstClr>
              </a:solidFill>
              <a:effectLst/>
              <a:uLnTx/>
              <a:uFillTx/>
              <a:latin typeface="Corbe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prstClr val="white">
                    <a:tint val="95000"/>
                  </a:prst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white">
                  <a:tint val="95000"/>
                </a:prstClr>
              </a:solidFill>
              <a:effectLst/>
              <a:uLnTx/>
              <a:uFillTx/>
              <a:latin typeface="Corbel"/>
              <a:ea typeface="+mn-ea"/>
              <a:cs typeface="+mn-cs"/>
            </a:endParaRPr>
          </a:p>
        </p:txBody>
      </p:sp>
    </p:spTree>
    <p:extLst>
      <p:ext uri="{BB962C8B-B14F-4D97-AF65-F5344CB8AC3E}">
        <p14:creationId xmlns:p14="http://schemas.microsoft.com/office/powerpoint/2010/main" val="3193165991"/>
      </p:ext>
    </p:extLst>
  </p:cSld>
  <p:clrMapOvr>
    <a:overrideClrMapping bg1="dk1" tx1="lt1" bg2="dk2" tx2="lt2" accent1="accent1" accent2="accent2" accent3="accent3" accent4="accent4" accent5="accent5" accent6="accent6" hlink="hlink" folHlink="folHlink"/>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457200" y="1773936"/>
            <a:ext cx="4038600" cy="4623816"/>
          </a:xfrm>
        </p:spPr>
        <p:txBody>
          <a:bodyPr lIns="9144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48200" y="1773936"/>
            <a:ext cx="4038600" cy="462381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Tree>
    <p:extLst>
      <p:ext uri="{BB962C8B-B14F-4D97-AF65-F5344CB8AC3E}">
        <p14:creationId xmlns:p14="http://schemas.microsoft.com/office/powerpoint/2010/main" val="251333899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457200" y="1698990"/>
            <a:ext cx="4040188" cy="715355"/>
          </a:xfrm>
        </p:spPr>
        <p:txBody>
          <a:bodyPr lIns="146304" anchor="ctr"/>
          <a:lstStyle>
            <a:lvl1pPr marL="0" indent="0">
              <a:buNone/>
              <a:defRPr sz="23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extLst/>
          </a:lstStyle>
          <a:p>
            <a:pPr lvl="0" eaLnBrk="1" latinLnBrk="0" hangingPunct="1"/>
            <a:r>
              <a:rPr kumimoji="0" lang="en-US" smtClean="0"/>
              <a:t>Click to edit Master text styles</a:t>
            </a:r>
          </a:p>
        </p:txBody>
      </p:sp>
      <p:sp>
        <p:nvSpPr>
          <p:cNvPr id="4" name="Content Placeholder 3"/>
          <p:cNvSpPr>
            <a:spLocks noGrp="1"/>
          </p:cNvSpPr>
          <p:nvPr>
            <p:ph sz="half" idx="2"/>
          </p:nvPr>
        </p:nvSpPr>
        <p:spPr>
          <a:xfrm>
            <a:off x="457200" y="2449512"/>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Text Placeholder 4"/>
          <p:cNvSpPr>
            <a:spLocks noGrp="1"/>
          </p:cNvSpPr>
          <p:nvPr>
            <p:ph type="body" sz="quarter" idx="3"/>
          </p:nvPr>
        </p:nvSpPr>
        <p:spPr>
          <a:xfrm>
            <a:off x="4645027" y="1698990"/>
            <a:ext cx="4041775" cy="715355"/>
          </a:xfrm>
        </p:spPr>
        <p:txBody>
          <a:bodyPr lIns="146304" anchor="ctr"/>
          <a:lstStyle>
            <a:lvl1pPr marL="0" indent="0">
              <a:buNone/>
              <a:defRPr sz="23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extLst/>
          </a:lstStyle>
          <a:p>
            <a:pPr lvl="0" eaLnBrk="1" latinLnBrk="0" hangingPunct="1"/>
            <a:r>
              <a:rPr kumimoji="0" lang="en-US" smtClean="0"/>
              <a:t>Click to edit Master text styles</a:t>
            </a:r>
          </a:p>
        </p:txBody>
      </p:sp>
      <p:sp>
        <p:nvSpPr>
          <p:cNvPr id="6" name="Content Placeholder 5"/>
          <p:cNvSpPr>
            <a:spLocks noGrp="1"/>
          </p:cNvSpPr>
          <p:nvPr>
            <p:ph sz="quarter" idx="4"/>
          </p:nvPr>
        </p:nvSpPr>
        <p:spPr>
          <a:xfrm>
            <a:off x="4645027" y="2449512"/>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8" name="Footer Placeholder 7"/>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Tree>
    <p:extLst>
      <p:ext uri="{BB962C8B-B14F-4D97-AF65-F5344CB8AC3E}">
        <p14:creationId xmlns:p14="http://schemas.microsoft.com/office/powerpoint/2010/main" val="38011230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a:defRPr/>
            </a:pPr>
            <a:endParaRPr lang="en-US">
              <a:solidFill>
                <a:srgbClr val="775F55"/>
              </a:solidFill>
            </a:endParaRPr>
          </a:p>
        </p:txBody>
      </p:sp>
      <p:sp>
        <p:nvSpPr>
          <p:cNvPr id="5" name="Footer Placeholder 2"/>
          <p:cNvSpPr>
            <a:spLocks noGrp="1"/>
          </p:cNvSpPr>
          <p:nvPr>
            <p:ph type="ftr" sz="quarter" idx="11"/>
          </p:nvPr>
        </p:nvSpPr>
        <p:spPr/>
        <p:txBody>
          <a:bodyPr/>
          <a:lstStyle>
            <a:lvl1pPr>
              <a:defRPr/>
            </a:lvl1pPr>
          </a:lstStyle>
          <a:p>
            <a:pPr>
              <a:defRPr/>
            </a:pPr>
            <a:endParaRPr lang="en-US">
              <a:solidFill>
                <a:srgbClr val="775F55"/>
              </a:solidFill>
            </a:endParaRPr>
          </a:p>
        </p:txBody>
      </p:sp>
      <p:sp>
        <p:nvSpPr>
          <p:cNvPr id="6" name="Slide Number Placeholder 22"/>
          <p:cNvSpPr>
            <a:spLocks noGrp="1"/>
          </p:cNvSpPr>
          <p:nvPr>
            <p:ph type="sldNum" sz="quarter" idx="12"/>
          </p:nvPr>
        </p:nvSpPr>
        <p:spPr/>
        <p:txBody>
          <a:bodyPr/>
          <a:lstStyle>
            <a:lvl1pPr>
              <a:defRPr/>
            </a:lvl1pPr>
          </a:lstStyle>
          <a:p>
            <a:pPr>
              <a:defRPr/>
            </a:pPr>
            <a:fld id="{6B81B5C8-333B-42AF-94EF-8DC97C685690}" type="slidenum">
              <a:rPr lang="en-US"/>
              <a:pPr>
                <a:defRPr/>
              </a:pPr>
              <a:t>‹#›</a:t>
            </a:fld>
            <a:endParaRPr lang="en-US"/>
          </a:p>
        </p:txBody>
      </p:sp>
    </p:spTree>
    <p:extLst>
      <p:ext uri="{BB962C8B-B14F-4D97-AF65-F5344CB8AC3E}">
        <p14:creationId xmlns:p14="http://schemas.microsoft.com/office/powerpoint/2010/main" val="383254157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Tree>
    <p:extLst>
      <p:ext uri="{BB962C8B-B14F-4D97-AF65-F5344CB8AC3E}">
        <p14:creationId xmlns:p14="http://schemas.microsoft.com/office/powerpoint/2010/main" val="118604377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Tree>
    <p:extLst>
      <p:ext uri="{BB962C8B-B14F-4D97-AF65-F5344CB8AC3E}">
        <p14:creationId xmlns:p14="http://schemas.microsoft.com/office/powerpoint/2010/main" val="270330377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838" y="152400"/>
            <a:ext cx="2523744" cy="978408"/>
          </a:xfrm>
        </p:spPr>
        <p:txBody>
          <a:bodyPr vert="horz" lIns="73152" rIns="45720" bIns="0" rtlCol="0" anchor="b">
            <a:normAutofit/>
            <a:sp3d prstMaterial="matte"/>
          </a:bodyPr>
          <a:lstStyle>
            <a:lvl1pPr algn="l">
              <a:defRPr sz="2000" b="0"/>
            </a:lvl1pPr>
            <a:extLst/>
          </a:lstStyle>
          <a:p>
            <a:r>
              <a:rPr kumimoji="0" lang="en-US" smtClean="0"/>
              <a:t>Click to edit Master title style</a:t>
            </a:r>
            <a:endParaRPr kumimoji="0" lang="en-US"/>
          </a:p>
        </p:txBody>
      </p:sp>
      <p:sp>
        <p:nvSpPr>
          <p:cNvPr id="3" name="Content Placeholder 2"/>
          <p:cNvSpPr>
            <a:spLocks noGrp="1"/>
          </p:cNvSpPr>
          <p:nvPr>
            <p:ph idx="1"/>
          </p:nvPr>
        </p:nvSpPr>
        <p:spPr>
          <a:xfrm>
            <a:off x="3019379" y="1743134"/>
            <a:ext cx="5920641" cy="455888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Text Placeholder 3"/>
          <p:cNvSpPr>
            <a:spLocks noGrp="1"/>
          </p:cNvSpPr>
          <p:nvPr>
            <p:ph type="body" sz="half" idx="2"/>
          </p:nvPr>
        </p:nvSpPr>
        <p:spPr>
          <a:xfrm>
            <a:off x="167838" y="1730018"/>
            <a:ext cx="2468880" cy="45720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extLst/>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12" name="Rectangle 11"/>
          <p:cNvSpPr/>
          <p:nvPr/>
        </p:nvSpPr>
        <p:spPr bwMode="invGray">
          <a:xfrm>
            <a:off x="2855737" y="0"/>
            <a:ext cx="45720" cy="1453896"/>
          </a:xfrm>
          <a:prstGeom prst="rect">
            <a:avLst/>
          </a:prstGeom>
          <a:solidFill>
            <a:srgbClr val="FFFFFF"/>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9" name="Rectangle 8"/>
          <p:cNvSpPr/>
          <p:nvPr/>
        </p:nvSpPr>
        <p:spPr bwMode="invGray">
          <a:xfrm>
            <a:off x="2855737" y="0"/>
            <a:ext cx="45720" cy="1453896"/>
          </a:xfrm>
          <a:prstGeom prst="rect">
            <a:avLst/>
          </a:prstGeom>
          <a:solidFill>
            <a:srgbClr val="FFFFFF"/>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Tree>
    <p:extLst>
      <p:ext uri="{BB962C8B-B14F-4D97-AF65-F5344CB8AC3E}">
        <p14:creationId xmlns:p14="http://schemas.microsoft.com/office/powerpoint/2010/main" val="402347291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picTx" preserve="1">
  <p:cSld name="Picture with Capti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64592" y="155448"/>
            <a:ext cx="2525150" cy="978408"/>
          </a:xfrm>
        </p:spPr>
        <p:txBody>
          <a:bodyPr lIns="73152" bIns="0" anchor="b">
            <a:sp3d prstMaterial="matte"/>
          </a:bodyPr>
          <a:lstStyle>
            <a:lvl1pPr algn="l">
              <a:defRPr sz="2000" b="0"/>
            </a:lvl1pPr>
            <a:extLst/>
          </a:lstStyle>
          <a:p>
            <a:r>
              <a:rPr kumimoji="0" lang="en-US" smtClean="0"/>
              <a:t>Click to edit Master title style</a:t>
            </a:r>
            <a:endParaRPr kumimoji="0" lang="en-US"/>
          </a:p>
        </p:txBody>
      </p:sp>
      <p:sp>
        <p:nvSpPr>
          <p:cNvPr id="3" name="Picture Placeholder 2"/>
          <p:cNvSpPr>
            <a:spLocks noGrp="1"/>
          </p:cNvSpPr>
          <p:nvPr>
            <p:ph type="pic" idx="1"/>
          </p:nvPr>
        </p:nvSpPr>
        <p:spPr>
          <a:xfrm>
            <a:off x="2903806" y="1484808"/>
            <a:ext cx="6247397" cy="5373192"/>
          </a:xfrm>
          <a:solidFill>
            <a:schemeClr val="bg2">
              <a:shade val="75000"/>
            </a:schemeClr>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extLst/>
          </a:lstStyle>
          <a:p>
            <a:r>
              <a:rPr kumimoji="0" lang="en-US" smtClean="0"/>
              <a:t>Click icon to add picture</a:t>
            </a:r>
            <a:endParaRPr kumimoji="0" lang="en-US" dirty="0"/>
          </a:p>
        </p:txBody>
      </p:sp>
      <p:sp>
        <p:nvSpPr>
          <p:cNvPr id="4" name="Text Placeholder 3"/>
          <p:cNvSpPr>
            <a:spLocks noGrp="1"/>
          </p:cNvSpPr>
          <p:nvPr>
            <p:ph type="body" sz="half" idx="2"/>
          </p:nvPr>
        </p:nvSpPr>
        <p:spPr>
          <a:xfrm>
            <a:off x="164592" y="1728216"/>
            <a:ext cx="2468880" cy="45720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extLst/>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a:xfrm>
            <a:off x="164592" y="1170432"/>
            <a:ext cx="2523744" cy="20116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11" name="Rectangle 10"/>
          <p:cNvSpPr/>
          <p:nvPr/>
        </p:nvSpPr>
        <p:spPr>
          <a:xfrm>
            <a:off x="2855737" y="0"/>
            <a:ext cx="45720" cy="6858000"/>
          </a:xfrm>
          <a:prstGeom prst="rect">
            <a:avLst/>
          </a:prstGeom>
          <a:solidFill>
            <a:srgbClr val="FFFFFF"/>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9" name="Rectangle 8"/>
          <p:cNvSpPr/>
          <p:nvPr/>
        </p:nvSpPr>
        <p:spPr bwMode="invGray">
          <a:xfrm>
            <a:off x="2855737" y="0"/>
            <a:ext cx="45720" cy="6858000"/>
          </a:xfrm>
          <a:prstGeom prst="rect">
            <a:avLst/>
          </a:prstGeom>
          <a:solidFill>
            <a:srgbClr val="FFFFFF"/>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6" name="Footer Placeholder 5"/>
          <p:cNvSpPr>
            <a:spLocks noGrp="1"/>
          </p:cNvSpPr>
          <p:nvPr>
            <p:ph type="ftr" sz="quarter" idx="11"/>
          </p:nvPr>
        </p:nvSpPr>
        <p:spPr>
          <a:xfrm>
            <a:off x="3035808" y="1170432"/>
            <a:ext cx="5193792" cy="201168"/>
          </a:xfrm>
        </p:spPr>
        <p:txBody>
          <a:bodyPr/>
          <a:lstStyle>
            <a:lvl1pPr>
              <a:defRPr>
                <a:solidFill>
                  <a:schemeClr val="bg1">
                    <a:shade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hade val="50000"/>
                </a:prstClr>
              </a:solidFill>
              <a:effectLst/>
              <a:uLnTx/>
              <a:uFillTx/>
              <a:latin typeface="Corbel"/>
              <a:ea typeface="+mn-ea"/>
              <a:cs typeface="+mn-cs"/>
            </a:endParaRPr>
          </a:p>
        </p:txBody>
      </p:sp>
      <p:sp>
        <p:nvSpPr>
          <p:cNvPr id="7" name="Slide Number Placeholder 6"/>
          <p:cNvSpPr>
            <a:spLocks noGrp="1"/>
          </p:cNvSpPr>
          <p:nvPr>
            <p:ph type="sldNum" sz="quarter" idx="12"/>
          </p:nvPr>
        </p:nvSpPr>
        <p:spPr>
          <a:xfrm>
            <a:off x="8339328" y="1170432"/>
            <a:ext cx="733864" cy="20116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Tree>
    <p:extLst>
      <p:ext uri="{BB962C8B-B14F-4D97-AF65-F5344CB8AC3E}">
        <p14:creationId xmlns:p14="http://schemas.microsoft.com/office/powerpoint/2010/main" val="2723402870"/>
      </p:ext>
    </p:extLst>
  </p:cSld>
  <p:clrMapOvr>
    <a:overrideClrMapping bg1="lt1" tx1="dk1" bg2="lt2" tx2="dk2" accent1="accent1" accent2="accent2" accent3="accent3" accent4="accent4" accent5="accent5" accent6="accent6" hlink="hlink" folHlink="folHlink"/>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Tree>
    <p:extLst>
      <p:ext uri="{BB962C8B-B14F-4D97-AF65-F5344CB8AC3E}">
        <p14:creationId xmlns:p14="http://schemas.microsoft.com/office/powerpoint/2010/main" val="1067872143"/>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9" name="Rectangle 8"/>
          <p:cNvSpPr/>
          <p:nvPr/>
        </p:nvSpPr>
        <p:spPr bwMode="invGray">
          <a:xfrm>
            <a:off x="6598920" y="0"/>
            <a:ext cx="45720" cy="6858000"/>
          </a:xfrm>
          <a:prstGeom prst="rect">
            <a:avLst/>
          </a:prstGeom>
          <a:solidFill>
            <a:srgbClr val="FFFFFF"/>
          </a:solidFill>
          <a:ln w="48000" cap="flat" cmpd="thickThin" algn="ctr">
            <a:noFill/>
            <a:prstDash val="solid"/>
          </a:ln>
          <a:effectLst>
            <a:outerShdw blurRad="31750" dist="10160" dir="108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8" name="Rectangle 7"/>
          <p:cNvSpPr/>
          <p:nvPr/>
        </p:nvSpPr>
        <p:spPr bwMode="ltGray">
          <a:xfrm>
            <a:off x="6647689" y="0"/>
            <a:ext cx="2514601" cy="6858000"/>
          </a:xfrm>
          <a:prstGeom prst="rect">
            <a:avLst/>
          </a:prstGeom>
          <a:solidFill>
            <a:srgbClr val="000000"/>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2" name="Vertical Title 1"/>
          <p:cNvSpPr>
            <a:spLocks noGrp="1"/>
          </p:cNvSpPr>
          <p:nvPr>
            <p:ph type="title" orient="vert"/>
          </p:nvPr>
        </p:nvSpPr>
        <p:spPr>
          <a:xfrm>
            <a:off x="6781800" y="274644"/>
            <a:ext cx="1905000" cy="5851525"/>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304804"/>
            <a:ext cx="6019800" cy="5851525"/>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5" name="Footer Placeholder 4"/>
          <p:cNvSpPr>
            <a:spLocks noGrp="1"/>
          </p:cNvSpPr>
          <p:nvPr>
            <p:ph type="ftr" sz="quarter" idx="11"/>
          </p:nvPr>
        </p:nvSpPr>
        <p:spPr>
          <a:xfrm>
            <a:off x="2640597" y="6377463"/>
            <a:ext cx="383640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Tree>
    <p:extLst>
      <p:ext uri="{BB962C8B-B14F-4D97-AF65-F5344CB8AC3E}">
        <p14:creationId xmlns:p14="http://schemas.microsoft.com/office/powerpoint/2010/main" val="360681474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355600"/>
            <a:ext cx="7772400" cy="6858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685846" y="1517650"/>
            <a:ext cx="3818467"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39780" y="1517650"/>
            <a:ext cx="3818467"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6" name="Rectangle 5"/>
          <p:cNvSpPr>
            <a:spLocks noGrp="1" noChangeArrowheads="1"/>
          </p:cNvSpPr>
          <p:nvPr>
            <p:ph type="ftr" sz="quarter" idx="11"/>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Tree>
    <p:extLst>
      <p:ext uri="{BB962C8B-B14F-4D97-AF65-F5344CB8AC3E}">
        <p14:creationId xmlns:p14="http://schemas.microsoft.com/office/powerpoint/2010/main" val="74269196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ight Triangle 9"/>
          <p:cNvSpPr/>
          <p:nvPr/>
        </p:nvSpPr>
        <p:spPr>
          <a:xfrm>
            <a:off x="-2" y="4664147"/>
            <a:ext cx="9151089"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9" name="Title 8"/>
          <p:cNvSpPr>
            <a:spLocks noGrp="1"/>
          </p:cNvSpPr>
          <p:nvPr>
            <p:ph type="ctrTitle"/>
          </p:nvPr>
        </p:nvSpPr>
        <p:spPr>
          <a:xfrm>
            <a:off x="685800" y="1752601"/>
            <a:ext cx="7772400" cy="1829761"/>
          </a:xfrm>
        </p:spPr>
        <p:txBody>
          <a:bodyPr vert="horz" anchor="b">
            <a:normAutofit/>
            <a:scene3d>
              <a:camera prst="orthographicFront"/>
              <a:lightRig rig="soft" dir="t"/>
            </a:scene3d>
            <a:sp3d prstMaterial="softEdge">
              <a:bevelT w="25400" h="25400"/>
            </a:sp3d>
          </a:bodyPr>
          <a:lstStyle>
            <a:lvl1pPr algn="r">
              <a:defRPr sz="4800" b="1">
                <a:solidFill>
                  <a:schemeClr val="tx2"/>
                </a:solidFill>
                <a:effectLst>
                  <a:outerShdw blurRad="31750" dist="25400" dir="5400000" algn="tl" rotWithShape="0">
                    <a:srgbClr val="000000">
                      <a:alpha val="25000"/>
                    </a:srgbClr>
                  </a:outerShdw>
                </a:effectLst>
              </a:defRPr>
            </a:lvl1pPr>
            <a:extLst/>
          </a:lstStyle>
          <a:p>
            <a:r>
              <a:rPr kumimoji="0" lang="en-US" smtClean="0"/>
              <a:t>Click to edit Master title style</a:t>
            </a:r>
            <a:endParaRPr kumimoji="0" lang="en-US"/>
          </a:p>
        </p:txBody>
      </p:sp>
      <p:sp>
        <p:nvSpPr>
          <p:cNvPr id="17" name="Subtitle 16"/>
          <p:cNvSpPr>
            <a:spLocks noGrp="1"/>
          </p:cNvSpPr>
          <p:nvPr>
            <p:ph type="subTitle" idx="1"/>
          </p:nvPr>
        </p:nvSpPr>
        <p:spPr>
          <a:xfrm>
            <a:off x="685800" y="3611607"/>
            <a:ext cx="7772400" cy="1199704"/>
          </a:xfrm>
        </p:spPr>
        <p:txBody>
          <a:bodyPr lIns="45720" rIns="45720"/>
          <a:lstStyle>
            <a:lvl1pPr marL="0" marR="64008" indent="0" algn="r">
              <a:buNone/>
              <a:defRPr>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smtClean="0"/>
              <a:t>Click to edit Master subtitle style</a:t>
            </a:r>
            <a:endParaRPr kumimoji="0" lang="en-US"/>
          </a:p>
        </p:txBody>
      </p:sp>
      <p:grpSp>
        <p:nvGrpSpPr>
          <p:cNvPr id="2" name="Group 1"/>
          <p:cNvGrpSpPr/>
          <p:nvPr/>
        </p:nvGrpSpPr>
        <p:grpSpPr>
          <a:xfrm>
            <a:off x="-3765" y="4953000"/>
            <a:ext cx="9147765" cy="1912088"/>
            <a:chOff x="-3765" y="4832896"/>
            <a:chExt cx="9147765" cy="2032192"/>
          </a:xfrm>
        </p:grpSpPr>
        <p:sp>
          <p:nvSpPr>
            <p:cNvPr id="7" name="Freeform 6"/>
            <p:cNvSpPr>
              <a:spLocks/>
            </p:cNvSpPr>
            <p:nvPr/>
          </p:nvSpPr>
          <p:spPr bwMode="auto">
            <a:xfrm>
              <a:off x="1687513" y="4832896"/>
              <a:ext cx="7456487" cy="518816"/>
            </a:xfrm>
            <a:custGeom>
              <a:avLst>
                <a:gd name="A1" fmla="val 0"/>
                <a:gd name="A2" fmla="val 0"/>
                <a:gd name="A3" fmla="val 0"/>
                <a:gd name="A4" fmla="val 0"/>
                <a:gd name="A5" fmla="val 0"/>
                <a:gd name="A6" fmla="val 0"/>
                <a:gd name="A7" fmla="val 0"/>
                <a:gd name="A8" fmla="val 0"/>
              </a:avLst>
              <a:gdLst/>
              <a:ahLst/>
              <a:cxnLst>
                <a:cxn ang="0">
                  <a:pos x="4697" y="0"/>
                </a:cxn>
                <a:cxn ang="0">
                  <a:pos x="4697" y="367"/>
                </a:cxn>
                <a:cxn ang="0">
                  <a:pos x="0" y="218"/>
                </a:cxn>
                <a:cxn ang="0">
                  <a:pos x="4697" y="0"/>
                </a:cxn>
              </a:cxnLst>
              <a:rect l="0" t="0" r="0" b="0"/>
              <a:pathLst>
                <a:path w="4697" h="367">
                  <a:moveTo>
                    <a:pt x="4697" y="0"/>
                  </a:moveTo>
                  <a:lnTo>
                    <a:pt x="4697" y="367"/>
                  </a:lnTo>
                  <a:lnTo>
                    <a:pt x="0" y="218"/>
                  </a:lnTo>
                  <a:lnTo>
                    <a:pt x="4697" y="0"/>
                  </a:lnTo>
                  <a:close/>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8" name="Freeform 7"/>
            <p:cNvSpPr>
              <a:spLocks/>
            </p:cNvSpPr>
            <p:nvPr/>
          </p:nvSpPr>
          <p:spPr bwMode="auto">
            <a:xfrm>
              <a:off x="35443" y="5135526"/>
              <a:ext cx="9108557" cy="83820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0" y="0"/>
                  </a:moveTo>
                  <a:lnTo>
                    <a:pt x="5760" y="0"/>
                  </a:lnTo>
                  <a:lnTo>
                    <a:pt x="5760" y="528"/>
                  </a:lnTo>
                  <a:lnTo>
                    <a:pt x="48" y="0"/>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11" name="Freeform 10"/>
            <p:cNvSpPr>
              <a:spLocks/>
            </p:cNvSpPr>
            <p:nvPr/>
          </p:nvSpPr>
          <p:spPr bwMode="auto">
            <a:xfrm>
              <a:off x="0" y="4883888"/>
              <a:ext cx="9144000" cy="1981200"/>
            </a:xfrm>
            <a:custGeom>
              <a:avLst>
                <a:gd name="A1" fmla="val 0"/>
                <a:gd name="A2" fmla="val 0"/>
                <a:gd name="A3" fmla="val 0"/>
                <a:gd name="A4" fmla="val 0"/>
                <a:gd name="A5" fmla="val 0"/>
                <a:gd name="A6" fmla="val 0"/>
                <a:gd name="A7" fmla="val 0"/>
                <a:gd name="A8" fmla="val 0"/>
              </a:avLst>
              <a:gdLst/>
              <a:ahLst/>
              <a:cxnLst>
                <a:cxn ang="0">
                  <a:pos x="0" y="0"/>
                </a:cxn>
                <a:cxn ang="0">
                  <a:pos x="0" y="1248"/>
                </a:cxn>
                <a:cxn ang="0">
                  <a:pos x="5760" y="1248"/>
                </a:cxn>
                <a:cxn ang="0">
                  <a:pos x="5760" y="528"/>
                </a:cxn>
                <a:cxn ang="0">
                  <a:pos x="0" y="0"/>
                </a:cxn>
              </a:cxnLst>
              <a:rect l="0" t="0" r="0" b="0"/>
              <a:pathLst>
                <a:path w="5760" h="1248">
                  <a:moveTo>
                    <a:pt x="0" y="0"/>
                  </a:moveTo>
                  <a:lnTo>
                    <a:pt x="0" y="1248"/>
                  </a:lnTo>
                  <a:lnTo>
                    <a:pt x="5760" y="1248"/>
                  </a:lnTo>
                  <a:lnTo>
                    <a:pt x="5760" y="528"/>
                  </a:lnTo>
                  <a:lnTo>
                    <a:pt x="0" y="0"/>
                  </a:lnTo>
                  <a:close/>
                </a:path>
              </a:pathLst>
            </a:cu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cxnSp>
          <p:nvCxnSpPr>
            <p:cNvPr id="12" name="Straight Connector 11"/>
            <p:cNvCxnSpPr/>
            <p:nvPr/>
          </p:nvCxnSpPr>
          <p:spPr>
            <a:xfrm>
              <a:off x="-3765" y="4880373"/>
              <a:ext cx="9147765" cy="83994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grpSp>
      <p:sp>
        <p:nvSpPr>
          <p:cNvPr id="30" name="Date Placeholder 29"/>
          <p:cNvSpPr>
            <a:spLocks noGrp="1"/>
          </p:cNvSpPr>
          <p:nvPr>
            <p:ph type="dt" sz="half" idx="10"/>
          </p:nvPr>
        </p:nvSpPr>
        <p:spPr/>
        <p:txBody>
          <a:bodyPr/>
          <a:lstStyle>
            <a:lvl1pPr>
              <a:defRPr>
                <a:solidFill>
                  <a:srgbClr val="FFFFFF"/>
                </a:solidFill>
              </a:defRPr>
            </a:lvl1pPr>
            <a:extLst/>
          </a:lstStyle>
          <a:p>
            <a:pPr marL="0" marR="0" lvl="0" indent="0" algn="l" defTabSz="914400" rtl="0" eaLnBrk="1" fontAlgn="auto" latinLnBrk="0" hangingPunct="1">
              <a:lnSpc>
                <a:spcPct val="100000"/>
              </a:lnSpc>
              <a:spcBef>
                <a:spcPts val="0"/>
              </a:spcBef>
              <a:spcAft>
                <a:spcPts val="0"/>
              </a:spcAft>
              <a:buClrTx/>
              <a:buSzTx/>
              <a:buFontTx/>
              <a:buNone/>
              <a:tabLst/>
              <a:defRPr/>
            </a:pPr>
            <a:fld id="{C3099951-A35E-41B9-889B-6EBB9216D515}" type="datetimeFigureOut">
              <a:rPr kumimoji="0" lang="en-US" sz="1000" b="0" i="0" u="none" strike="noStrike" kern="1200" cap="none" spc="0" normalizeH="0" baseline="0" noProof="0" smtClean="0">
                <a:ln>
                  <a:noFill/>
                </a:ln>
                <a:solidFill>
                  <a:srgbClr val="FFFFFF"/>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srgbClr val="FFFFFF"/>
              </a:solidFill>
              <a:effectLst/>
              <a:uLnTx/>
              <a:uFillTx/>
              <a:latin typeface="Lucida Sans Unicode"/>
              <a:ea typeface="+mn-ea"/>
              <a:cs typeface="+mn-cs"/>
            </a:endParaRPr>
          </a:p>
        </p:txBody>
      </p:sp>
      <p:sp>
        <p:nvSpPr>
          <p:cNvPr id="19" name="Footer Placeholder 18"/>
          <p:cNvSpPr>
            <a:spLocks noGrp="1"/>
          </p:cNvSpPr>
          <p:nvPr>
            <p:ph type="ftr" sz="quarter" idx="11"/>
          </p:nvPr>
        </p:nvSpPr>
        <p:spPr/>
        <p:txBody>
          <a:bodyPr/>
          <a:lstStyle>
            <a:lvl1pPr>
              <a:defRPr>
                <a:solidFill>
                  <a:schemeClr val="accent1">
                    <a:tint val="20000"/>
                  </a:schemeClr>
                </a:solidFill>
              </a:defRPr>
            </a:lvl1pPr>
            <a:extLst/>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DA2BF">
                  <a:tint val="20000"/>
                </a:srgbClr>
              </a:solidFill>
              <a:effectLst/>
              <a:uLnTx/>
              <a:uFillTx/>
              <a:latin typeface="Lucida Sans Unicode"/>
              <a:ea typeface="+mn-ea"/>
              <a:cs typeface="+mn-cs"/>
            </a:endParaRPr>
          </a:p>
        </p:txBody>
      </p:sp>
      <p:sp>
        <p:nvSpPr>
          <p:cNvPr id="27" name="Slide Number Placeholder 26"/>
          <p:cNvSpPr>
            <a:spLocks noGrp="1"/>
          </p:cNvSpPr>
          <p:nvPr>
            <p:ph type="sldNum" sz="quarter" idx="12"/>
          </p:nvPr>
        </p:nvSpPr>
        <p:spPr/>
        <p:txBody>
          <a:bodyPr/>
          <a:lstStyle>
            <a:lvl1pPr>
              <a:defRPr>
                <a:solidFill>
                  <a:srgbClr val="FFFFFF"/>
                </a:solidFill>
              </a:defRPr>
            </a:lvl1pPr>
            <a:extLst/>
          </a:lstStyle>
          <a:p>
            <a:pPr marL="0" marR="0" lvl="0" indent="0" algn="r" defTabSz="914400" rtl="0" eaLnBrk="1" fontAlgn="auto" latinLnBrk="0" hangingPunct="1">
              <a:lnSpc>
                <a:spcPct val="100000"/>
              </a:lnSpc>
              <a:spcBef>
                <a:spcPts val="0"/>
              </a:spcBef>
              <a:spcAft>
                <a:spcPts val="0"/>
              </a:spcAft>
              <a:buClrTx/>
              <a:buSzTx/>
              <a:buFontTx/>
              <a:buNone/>
              <a:tabLst/>
              <a:defRPr/>
            </a:pPr>
            <a:fld id="{17CA3EFA-F548-48D1-92C5-09240777D341}" type="slidenum">
              <a:rPr kumimoji="0" lang="en-US" sz="1000" b="0" i="0" u="none" strike="noStrike" kern="1200" cap="none" spc="0" normalizeH="0" baseline="0" noProof="0" smtClean="0">
                <a:ln>
                  <a:noFill/>
                </a:ln>
                <a:solidFill>
                  <a:srgbClr val="FFFFFF"/>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Lucida Sans Unicode"/>
              <a:ea typeface="+mn-ea"/>
              <a:cs typeface="+mn-cs"/>
            </a:endParaRPr>
          </a:p>
        </p:txBody>
      </p:sp>
    </p:spTree>
    <p:extLst>
      <p:ext uri="{BB962C8B-B14F-4D97-AF65-F5344CB8AC3E}">
        <p14:creationId xmlns:p14="http://schemas.microsoft.com/office/powerpoint/2010/main" val="40488859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099951-A35E-41B9-889B-6EBB9216D515}" type="datetimeFigureOut">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5" name="Footer Placeholder 4"/>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CA3EFA-F548-48D1-92C5-09240777D341}" type="slidenum">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7" name="Title 6"/>
          <p:cNvSpPr>
            <a:spLocks noGrp="1"/>
          </p:cNvSpPr>
          <p:nvPr>
            <p:ph type="title"/>
          </p:nvPr>
        </p:nvSpPr>
        <p:spPr/>
        <p:txBody>
          <a:bodyPr rtlCol="0"/>
          <a:lstStyle/>
          <a:p>
            <a:r>
              <a:rPr kumimoji="0" lang="en-US" smtClean="0"/>
              <a:t>Click to edit Master title style</a:t>
            </a:r>
            <a:endParaRPr kumimoji="0" lang="en-US"/>
          </a:p>
        </p:txBody>
      </p:sp>
    </p:spTree>
    <p:extLst>
      <p:ext uri="{BB962C8B-B14F-4D97-AF65-F5344CB8AC3E}">
        <p14:creationId xmlns:p14="http://schemas.microsoft.com/office/powerpoint/2010/main" val="148921996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22376" y="1059712"/>
            <a:ext cx="7772400" cy="1828800"/>
          </a:xfrm>
        </p:spPr>
        <p:txBody>
          <a:bodyPr vert="horz" anchor="b">
            <a:normAutofit/>
            <a:scene3d>
              <a:camera prst="orthographicFront"/>
              <a:lightRig rig="soft" dir="t"/>
            </a:scene3d>
            <a:sp3d prstMaterial="softEdge">
              <a:bevelT w="25400" h="25400"/>
            </a:sp3d>
          </a:bodyPr>
          <a:lstStyle>
            <a:lvl1pPr algn="r">
              <a:buNone/>
              <a:defRPr sz="4800" b="1" cap="none" baseline="0">
                <a:effectLst>
                  <a:outerShdw blurRad="31750" dist="25400" dir="5400000" algn="tl" rotWithShape="0">
                    <a:srgbClr val="000000">
                      <a:alpha val="25000"/>
                    </a:srgbClr>
                  </a:outerShdw>
                </a:effectLst>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3922713" y="2931712"/>
            <a:ext cx="4572000" cy="1454888"/>
          </a:xfrm>
        </p:spPr>
        <p:txBody>
          <a:bodyPr lIns="91440" rIns="91440" anchor="t"/>
          <a:lstStyle>
            <a:lvl1pPr marL="0" indent="0" algn="l">
              <a:buNone/>
              <a:defRPr sz="23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099951-A35E-41B9-889B-6EBB9216D515}" type="datetimeFigureOut">
              <a:rPr kumimoji="0" lang="en-US" sz="1000" b="0" i="0" u="none" strike="noStrike" kern="1200" cap="none" spc="0" normalizeH="0" baseline="0" noProof="0" smtClean="0">
                <a:ln>
                  <a:noFill/>
                </a:ln>
                <a:solidFill>
                  <a:prstClr val="white"/>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5" name="Footer Placeholder 4"/>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CA3EFA-F548-48D1-92C5-09240777D341}" type="slidenum">
              <a:rPr kumimoji="0" lang="en-US" sz="1000" b="0" i="0" u="none" strike="noStrike" kern="1200" cap="none" spc="0" normalizeH="0" baseline="0" noProof="0" smtClean="0">
                <a:ln>
                  <a:noFill/>
                </a:ln>
                <a:solidFill>
                  <a:prstClr val="white"/>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7" name="Chevron 6"/>
          <p:cNvSpPr/>
          <p:nvPr/>
        </p:nvSpPr>
        <p:spPr>
          <a:xfrm>
            <a:off x="3636680" y="3005472"/>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8" name="Chevron 7"/>
          <p:cNvSpPr/>
          <p:nvPr/>
        </p:nvSpPr>
        <p:spPr>
          <a:xfrm>
            <a:off x="3450264" y="3005472"/>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spTree>
    <p:extLst>
      <p:ext uri="{BB962C8B-B14F-4D97-AF65-F5344CB8AC3E}">
        <p14:creationId xmlns:p14="http://schemas.microsoft.com/office/powerpoint/2010/main" val="2741429022"/>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10"/>
          <p:cNvSpPr/>
          <p:nvPr/>
        </p:nvSpPr>
        <p:spPr bwMode="white">
          <a:xfrm>
            <a:off x="6096000" y="0"/>
            <a:ext cx="320675"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5" name="Rectangle 11"/>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6" name="Rectangle 14"/>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2" name="Vertical Title 1"/>
          <p:cNvSpPr>
            <a:spLocks noGrp="1"/>
          </p:cNvSpPr>
          <p:nvPr>
            <p:ph type="title" orient="vert"/>
          </p:nvPr>
        </p:nvSpPr>
        <p:spPr>
          <a:xfrm>
            <a:off x="6553200" y="609600"/>
            <a:ext cx="2057400" cy="55165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6553200" y="6248400"/>
            <a:ext cx="2209800" cy="365125"/>
          </a:xfrm>
        </p:spPr>
        <p:txBody>
          <a:bodyPr/>
          <a:lstStyle>
            <a:lvl1pPr>
              <a:defRPr/>
            </a:lvl1pPr>
          </a:lstStyle>
          <a:p>
            <a:pPr>
              <a:defRPr/>
            </a:pPr>
            <a:endParaRPr lang="en-US">
              <a:solidFill>
                <a:srgbClr val="775F55"/>
              </a:solidFill>
            </a:endParaRPr>
          </a:p>
        </p:txBody>
      </p:sp>
      <p:sp>
        <p:nvSpPr>
          <p:cNvPr id="8" name="Footer Placeholder 4"/>
          <p:cNvSpPr>
            <a:spLocks noGrp="1"/>
          </p:cNvSpPr>
          <p:nvPr>
            <p:ph type="ftr" sz="quarter" idx="11"/>
          </p:nvPr>
        </p:nvSpPr>
        <p:spPr>
          <a:xfrm>
            <a:off x="457200" y="6248400"/>
            <a:ext cx="5573713" cy="365125"/>
          </a:xfrm>
        </p:spPr>
        <p:txBody>
          <a:bodyPr/>
          <a:lstStyle>
            <a:lvl1pPr>
              <a:defRPr/>
            </a:lvl1pPr>
          </a:lstStyle>
          <a:p>
            <a:pPr>
              <a:defRPr/>
            </a:pPr>
            <a:endParaRPr lang="en-US">
              <a:solidFill>
                <a:srgbClr val="775F55"/>
              </a:solidFill>
            </a:endParaRPr>
          </a:p>
        </p:txBody>
      </p:sp>
      <p:sp>
        <p:nvSpPr>
          <p:cNvPr id="9" name="Slide Number Placeholder 5"/>
          <p:cNvSpPr>
            <a:spLocks noGrp="1"/>
          </p:cNvSpPr>
          <p:nvPr>
            <p:ph type="sldNum" sz="quarter" idx="12"/>
          </p:nvPr>
        </p:nvSpPr>
        <p:spPr>
          <a:xfrm rot="5400000">
            <a:off x="5989638" y="144462"/>
            <a:ext cx="533400" cy="244475"/>
          </a:xfrm>
        </p:spPr>
        <p:txBody>
          <a:bodyPr/>
          <a:lstStyle>
            <a:lvl1pPr>
              <a:defRPr/>
            </a:lvl1pPr>
          </a:lstStyle>
          <a:p>
            <a:pPr>
              <a:defRPr/>
            </a:pPr>
            <a:fld id="{ECCC41E0-386F-4B7C-87F2-5C1842C3DF8D}" type="slidenum">
              <a:rPr lang="en-US"/>
              <a:pPr>
                <a:defRPr/>
              </a:pPr>
              <a:t>‹#›</a:t>
            </a:fld>
            <a:endParaRPr lang="en-US"/>
          </a:p>
        </p:txBody>
      </p:sp>
    </p:spTree>
    <p:extLst>
      <p:ext uri="{BB962C8B-B14F-4D97-AF65-F5344CB8AC3E}">
        <p14:creationId xmlns:p14="http://schemas.microsoft.com/office/powerpoint/2010/main" val="1746906486"/>
      </p:ext>
    </p:extLst>
  </p:cSld>
  <p:clrMapOvr>
    <a:overrideClrMapping bg1="lt1" tx1="dk1" bg2="lt2" tx2="dk2" accent1="accent1" accent2="accent2" accent3="accent3" accent4="accent4" accent5="accent5" accent6="accent6" hlink="hlink" folHlink="folHlink"/>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woObj" preserve="1">
  <p:cSld name="Two Content">
    <p:bg>
      <p:bgRef idx="1002">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481328"/>
            <a:ext cx="40386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48200" y="1481328"/>
            <a:ext cx="40386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099951-A35E-41B9-889B-6EBB9216D515}" type="datetimeFigureOut">
              <a:rPr kumimoji="0" lang="en-US" sz="1000" b="0" i="0" u="none" strike="noStrike" kern="1200" cap="none" spc="0" normalizeH="0" baseline="0" noProof="0" smtClean="0">
                <a:ln>
                  <a:noFill/>
                </a:ln>
                <a:solidFill>
                  <a:prstClr val="white"/>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6" name="Footer Placeholder 5"/>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CA3EFA-F548-48D1-92C5-09240777D341}" type="slidenum">
              <a:rPr kumimoji="0" lang="en-US" sz="1000" b="0" i="0" u="none" strike="noStrike" kern="1200" cap="none" spc="0" normalizeH="0" baseline="0" noProof="0" smtClean="0">
                <a:ln>
                  <a:noFill/>
                </a:ln>
                <a:solidFill>
                  <a:prstClr val="white"/>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8" name="Title 7"/>
          <p:cNvSpPr>
            <a:spLocks noGrp="1"/>
          </p:cNvSpPr>
          <p:nvPr>
            <p:ph type="title"/>
          </p:nvPr>
        </p:nvSpPr>
        <p:spPr/>
        <p:txBody>
          <a:bodyPr rtlCol="0"/>
          <a:lstStyle/>
          <a:p>
            <a:r>
              <a:rPr kumimoji="0" lang="en-US" smtClean="0"/>
              <a:t>Click to edit Master title style</a:t>
            </a:r>
            <a:endParaRPr kumimoji="0" lang="en-US"/>
          </a:p>
        </p:txBody>
      </p:sp>
    </p:spTree>
    <p:extLst>
      <p:ext uri="{BB962C8B-B14F-4D97-AF65-F5344CB8AC3E}">
        <p14:creationId xmlns:p14="http://schemas.microsoft.com/office/powerpoint/2010/main" val="2016732510"/>
      </p:ext>
    </p:extLst>
  </p:cSld>
  <p:clrMapOvr>
    <a:overrideClrMapping bg1="dk1" tx1="lt1" bg2="dk2" tx2="lt2" accent1="accent1" accent2="accent2" accent3="accent3" accent4="accent4" accent5="accent5" accent6="accent6" hlink="hlink" folHlink="folHlink"/>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twoTxTwoObj" preserve="1">
  <p:cSld name="Comparison">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8229600" cy="1143000"/>
          </a:xfrm>
        </p:spPr>
        <p:txBody>
          <a:bodyPr anchor="ctr"/>
          <a:lstStyle>
            <a:lvl1pPr>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457200" y="5410200"/>
            <a:ext cx="4040188"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645026" y="5410200"/>
            <a:ext cx="4041775"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57200" y="1444294"/>
            <a:ext cx="4040188" cy="3941763"/>
          </a:xfrm>
          <a:ln>
            <a:noFill/>
            <a:prstDash val="sysDash"/>
            <a:miter lim="800000"/>
          </a:ln>
        </p:spPr>
        <p:txBody>
          <a:bodyPr/>
          <a:lstStyle>
            <a:lvl1pPr>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645025" y="1444294"/>
            <a:ext cx="4041775" cy="3941763"/>
          </a:xfrm>
          <a:ln>
            <a:noFill/>
            <a:prstDash val="sysDash"/>
            <a:miter lim="800000"/>
          </a:ln>
        </p:spPr>
        <p:txBody>
          <a:bodyPr/>
          <a:lstStyle>
            <a:lvl1pPr>
              <a:spcBef>
                <a:spcPts val="0"/>
              </a:spcBef>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099951-A35E-41B9-889B-6EBB9216D515}" type="datetimeFigureOut">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8" name="Footer Placeholder 7"/>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CA3EFA-F548-48D1-92C5-09240777D341}" type="slidenum">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Tree>
    <p:extLst>
      <p:ext uri="{BB962C8B-B14F-4D97-AF65-F5344CB8AC3E}">
        <p14:creationId xmlns:p14="http://schemas.microsoft.com/office/powerpoint/2010/main" val="2159369678"/>
      </p:ext>
    </p:extLst>
  </p:cSld>
  <p:clrMapOvr>
    <a:overrideClrMapping bg1="lt1" tx1="dk1" bg2="lt2" tx2="dk2" accent1="accent1" accent2="accent2" accent3="accent3" accent4="accent4" accent5="accent5" accent6="accent6" hlink="hlink" folHlink="folHlink"/>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itleOnly" preserve="1">
  <p:cSld name="Title Only">
    <p:bg>
      <p:bgRef idx="1002">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099951-A35E-41B9-889B-6EBB9216D515}" type="datetimeFigureOut">
              <a:rPr kumimoji="0" lang="en-US" sz="1000" b="0" i="0" u="none" strike="noStrike" kern="1200" cap="none" spc="0" normalizeH="0" baseline="0" noProof="0" smtClean="0">
                <a:ln>
                  <a:noFill/>
                </a:ln>
                <a:solidFill>
                  <a:prstClr val="white"/>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4" name="Footer Placeholder 3"/>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CA3EFA-F548-48D1-92C5-09240777D341}" type="slidenum">
              <a:rPr kumimoji="0" lang="en-US" sz="1000" b="0" i="0" u="none" strike="noStrike" kern="1200" cap="none" spc="0" normalizeH="0" baseline="0" noProof="0" smtClean="0">
                <a:ln>
                  <a:noFill/>
                </a:ln>
                <a:solidFill>
                  <a:prstClr val="white"/>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6" name="Title 5"/>
          <p:cNvSpPr>
            <a:spLocks noGrp="1"/>
          </p:cNvSpPr>
          <p:nvPr>
            <p:ph type="title"/>
          </p:nvPr>
        </p:nvSpPr>
        <p:spPr/>
        <p:txBody>
          <a:bodyPr rtlCol="0"/>
          <a:lstStyle/>
          <a:p>
            <a:r>
              <a:rPr kumimoji="0" lang="en-US" smtClean="0"/>
              <a:t>Click to edit Master title style</a:t>
            </a:r>
            <a:endParaRPr kumimoji="0" lang="en-US"/>
          </a:p>
        </p:txBody>
      </p:sp>
    </p:spTree>
    <p:extLst>
      <p:ext uri="{BB962C8B-B14F-4D97-AF65-F5344CB8AC3E}">
        <p14:creationId xmlns:p14="http://schemas.microsoft.com/office/powerpoint/2010/main" val="79975095"/>
      </p:ext>
    </p:extLst>
  </p:cSld>
  <p:clrMapOvr>
    <a:overrideClrMapping bg1="dk1" tx1="lt1" bg2="dk2" tx2="lt2" accent1="accent1" accent2="accent2" accent3="accent3" accent4="accent4" accent5="accent5" accent6="accent6" hlink="hlink" folHlink="folHlink"/>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099951-A35E-41B9-889B-6EBB9216D515}" type="datetimeFigureOut">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3" name="Footer Placeholder 2"/>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CA3EFA-F548-48D1-92C5-09240777D341}" type="slidenum">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Tree>
    <p:extLst>
      <p:ext uri="{BB962C8B-B14F-4D97-AF65-F5344CB8AC3E}">
        <p14:creationId xmlns:p14="http://schemas.microsoft.com/office/powerpoint/2010/main" val="236272997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914400" y="4876800"/>
            <a:ext cx="7481776" cy="457200"/>
          </a:xfrm>
        </p:spPr>
        <p:txBody>
          <a:bodyPr vert="horz" anchor="t">
            <a:noAutofit/>
            <a:sp3d prstMaterial="softEdge">
              <a:bevelT w="0" h="0"/>
            </a:sp3d>
          </a:bodyPr>
          <a:lstStyle>
            <a:lvl1pPr algn="r">
              <a:buNone/>
              <a:defRPr sz="2500" b="0">
                <a:solidFill>
                  <a:schemeClr val="accent1"/>
                </a:solidFill>
                <a:effectLst/>
              </a:defRPr>
            </a:lvl1pPr>
            <a:extLst/>
          </a:lstStyle>
          <a:p>
            <a:r>
              <a:rPr kumimoji="0" lang="en-US" smtClean="0"/>
              <a:t>Click to edit Master title style</a:t>
            </a:r>
            <a:endParaRPr kumimoji="0" lang="en-US"/>
          </a:p>
        </p:txBody>
      </p:sp>
      <p:sp>
        <p:nvSpPr>
          <p:cNvPr id="3" name="Text Placeholder 2"/>
          <p:cNvSpPr>
            <a:spLocks noGrp="1"/>
          </p:cNvSpPr>
          <p:nvPr>
            <p:ph type="body" idx="2"/>
          </p:nvPr>
        </p:nvSpPr>
        <p:spPr>
          <a:xfrm>
            <a:off x="4419600" y="5355102"/>
            <a:ext cx="3974592" cy="914400"/>
          </a:xfrm>
        </p:spPr>
        <p:txBody>
          <a:bodyPr/>
          <a:lstStyle>
            <a:lvl1pPr marL="0" indent="0" algn="r">
              <a:buNone/>
              <a:defRPr sz="1600"/>
            </a:lvl1pPr>
            <a:lvl2pPr>
              <a:buNone/>
              <a:defRPr sz="1200"/>
            </a:lvl2pPr>
            <a:lvl3pPr>
              <a:buNone/>
              <a:defRPr sz="1000"/>
            </a:lvl3pPr>
            <a:lvl4pPr>
              <a:buNone/>
              <a:defRPr sz="900"/>
            </a:lvl4pPr>
            <a:lvl5pPr>
              <a:buNone/>
              <a:defRPr sz="900"/>
            </a:lvl5pPr>
            <a:extLst/>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914400" y="274320"/>
            <a:ext cx="7479792" cy="4572000"/>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a:xfrm>
            <a:off x="6727032" y="6407944"/>
            <a:ext cx="1920240" cy="36576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099951-A35E-41B9-889B-6EBB9216D515}" type="datetimeFigureOut">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6" name="Footer Placeholder 5"/>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CA3EFA-F548-48D1-92C5-09240777D341}" type="slidenum">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Tree>
    <p:extLst>
      <p:ext uri="{BB962C8B-B14F-4D97-AF65-F5344CB8AC3E}">
        <p14:creationId xmlns:p14="http://schemas.microsoft.com/office/powerpoint/2010/main" val="2995140591"/>
      </p:ext>
    </p:extLst>
  </p:cSld>
  <p:clrMapOvr>
    <a:overrideClrMapping bg1="lt1" tx1="dk1" bg2="lt2" tx2="dk2" accent1="accent1" accent2="accent2" accent3="accent3" accent4="accent4" accent5="accent5" accent6="accent6" hlink="hlink" folHlink="folHlink"/>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2">
        <a:schemeClr val="bg1"/>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141232" y="5443402"/>
            <a:ext cx="7162800" cy="648232"/>
          </a:xfrm>
          <a:noFill/>
        </p:spPr>
        <p:txBody>
          <a:bodyPr lIns="91440" tIns="0" rIns="91440" anchor="t"/>
          <a:lstStyle>
            <a:lvl1pPr marL="0" marR="18288" indent="0" algn="r">
              <a:buNone/>
              <a:defRPr sz="1400"/>
            </a:lvl1pPr>
            <a:lvl2pPr>
              <a:defRPr sz="1200"/>
            </a:lvl2pPr>
            <a:lvl3pPr>
              <a:defRPr sz="1000"/>
            </a:lvl3pPr>
            <a:lvl4pPr>
              <a:defRPr sz="900"/>
            </a:lvl4pPr>
            <a:lvl5pPr>
              <a:defRPr sz="900"/>
            </a:lvl5pPr>
            <a:extLst/>
          </a:lstStyle>
          <a:p>
            <a:pPr lvl="0" eaLnBrk="1" latinLnBrk="0" hangingPunct="1"/>
            <a:r>
              <a:rPr kumimoji="0" lang="en-US" smtClean="0"/>
              <a:t>Click to edit Master text styles</a:t>
            </a:r>
          </a:p>
        </p:txBody>
      </p:sp>
      <p:sp>
        <p:nvSpPr>
          <p:cNvPr id="3" name="Picture Placeholder 2"/>
          <p:cNvSpPr>
            <a:spLocks noGrp="1"/>
          </p:cNvSpPr>
          <p:nvPr>
            <p:ph type="pic" idx="1"/>
          </p:nvPr>
        </p:nvSpPr>
        <p:spPr>
          <a:xfrm>
            <a:off x="228600" y="189968"/>
            <a:ext cx="8686800" cy="4389120"/>
          </a:xfrm>
          <a:prstGeom prst="rect">
            <a:avLst/>
          </a:prstGeom>
          <a:solidFill>
            <a:schemeClr val="bg2"/>
          </a:solidFill>
          <a:ln>
            <a:solidFill>
              <a:schemeClr val="bg1"/>
            </a:solidFill>
          </a:ln>
          <a:effectLst>
            <a:innerShdw blurRad="95250">
              <a:srgbClr val="000000"/>
            </a:innerShdw>
          </a:effectLst>
        </p:spPr>
        <p:txBody>
          <a:bodyPr/>
          <a:lstStyle>
            <a:lvl1pPr marL="0" indent="0">
              <a:buNone/>
              <a:defRPr sz="3200"/>
            </a:lvl1pPr>
            <a:extLst/>
          </a:lstStyle>
          <a:p>
            <a:r>
              <a:rPr kumimoji="0" lang="en-US" smtClean="0"/>
              <a:t>Click icon to add picture</a:t>
            </a:r>
            <a:endParaRPr kumimoji="0" lang="en-US" dirty="0"/>
          </a:p>
        </p:txBody>
      </p:sp>
      <p:sp>
        <p:nvSpPr>
          <p:cNvPr id="5" name="Date Placeholder 4"/>
          <p:cNvSpPr>
            <a:spLocks noGrp="1"/>
          </p:cNvSpPr>
          <p:nvPr>
            <p:ph type="dt" sz="half" idx="10"/>
          </p:nvPr>
        </p:nvSpPr>
        <p:spPr/>
        <p:txBody>
          <a:bodyPr/>
          <a:lstStyle>
            <a:lvl1pPr>
              <a:defRPr>
                <a:solidFill>
                  <a:schemeClr val="tx1"/>
                </a:solidFill>
              </a:defRPr>
            </a:lvl1pPr>
            <a:extLst/>
          </a:lstStyle>
          <a:p>
            <a:pPr marL="0" marR="0" lvl="0" indent="0" algn="l" defTabSz="914400" rtl="0" eaLnBrk="1" fontAlgn="auto" latinLnBrk="0" hangingPunct="1">
              <a:lnSpc>
                <a:spcPct val="100000"/>
              </a:lnSpc>
              <a:spcBef>
                <a:spcPts val="0"/>
              </a:spcBef>
              <a:spcAft>
                <a:spcPts val="0"/>
              </a:spcAft>
              <a:buClrTx/>
              <a:buSzTx/>
              <a:buFontTx/>
              <a:buNone/>
              <a:tabLst/>
              <a:defRPr/>
            </a:pPr>
            <a:fld id="{C3099951-A35E-41B9-889B-6EBB9216D515}" type="datetimeFigureOut">
              <a:rPr kumimoji="0" lang="en-US" sz="1000" b="0" i="0" u="none" strike="noStrike" kern="1200" cap="none" spc="0" normalizeH="0" baseline="0" noProof="0" smtClean="0">
                <a:ln>
                  <a:noFill/>
                </a:ln>
                <a:solidFill>
                  <a:prstClr val="white"/>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6" name="Footer Placeholder 5"/>
          <p:cNvSpPr>
            <a:spLocks noGrp="1"/>
          </p:cNvSpPr>
          <p:nvPr>
            <p:ph type="ftr" sz="quarter" idx="11"/>
          </p:nvPr>
        </p:nvSpPr>
        <p:spPr>
          <a:xfrm>
            <a:off x="4380072" y="6407944"/>
            <a:ext cx="2350681" cy="365125"/>
          </a:xfrm>
        </p:spPr>
        <p:txBody>
          <a:bodyPr/>
          <a:lstStyle>
            <a:lvl1pPr>
              <a:defRPr>
                <a:solidFill>
                  <a:schemeClr val="tx1"/>
                </a:solidFill>
              </a:defRPr>
            </a:lvl1pPr>
            <a:extLst/>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7" name="Slide Number Placeholder 6"/>
          <p:cNvSpPr>
            <a:spLocks noGrp="1"/>
          </p:cNvSpPr>
          <p:nvPr>
            <p:ph type="sldNum" sz="quarter" idx="12"/>
          </p:nvPr>
        </p:nvSpPr>
        <p:spPr/>
        <p:txBody>
          <a:bodyPr/>
          <a:lstStyle>
            <a:lvl1pPr>
              <a:defRPr>
                <a:solidFill>
                  <a:schemeClr val="tx1"/>
                </a:solidFill>
              </a:defRPr>
            </a:lvl1pPr>
            <a:extLst/>
          </a:lstStyle>
          <a:p>
            <a:pPr marL="0" marR="0" lvl="0" indent="0" algn="r" defTabSz="914400" rtl="0" eaLnBrk="1" fontAlgn="auto" latinLnBrk="0" hangingPunct="1">
              <a:lnSpc>
                <a:spcPct val="100000"/>
              </a:lnSpc>
              <a:spcBef>
                <a:spcPts val="0"/>
              </a:spcBef>
              <a:spcAft>
                <a:spcPts val="0"/>
              </a:spcAft>
              <a:buClrTx/>
              <a:buSzTx/>
              <a:buFontTx/>
              <a:buNone/>
              <a:tabLst/>
              <a:defRPr/>
            </a:pPr>
            <a:fld id="{17CA3EFA-F548-48D1-92C5-09240777D341}" type="slidenum">
              <a:rPr kumimoji="0" lang="en-US" sz="1000" b="0" i="0" u="none" strike="noStrike" kern="1200" cap="none" spc="0" normalizeH="0" baseline="0" noProof="0" smtClean="0">
                <a:ln>
                  <a:noFill/>
                </a:ln>
                <a:solidFill>
                  <a:prstClr val="white"/>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2" name="Title 1"/>
          <p:cNvSpPr>
            <a:spLocks noGrp="1"/>
          </p:cNvSpPr>
          <p:nvPr>
            <p:ph type="title"/>
          </p:nvPr>
        </p:nvSpPr>
        <p:spPr>
          <a:xfrm>
            <a:off x="228600" y="4865122"/>
            <a:ext cx="8075432" cy="562672"/>
          </a:xfrm>
          <a:noFill/>
        </p:spPr>
        <p:txBody>
          <a:bodyPr anchor="t">
            <a:sp3d prstMaterial="softEdge"/>
          </a:bodyPr>
          <a:lstStyle>
            <a:lvl1pPr marR="0" algn="r">
              <a:buNone/>
              <a:defRPr sz="3000" b="0">
                <a:solidFill>
                  <a:schemeClr val="accent1"/>
                </a:solidFill>
                <a:effectLst>
                  <a:outerShdw blurRad="50800" dist="25000" dir="5400000" algn="t" rotWithShape="0">
                    <a:prstClr val="black">
                      <a:alpha val="45000"/>
                    </a:prstClr>
                  </a:outerShdw>
                </a:effectLst>
              </a:defRPr>
            </a:lvl1pPr>
            <a:extLst/>
          </a:lstStyle>
          <a:p>
            <a:r>
              <a:rPr kumimoji="0" lang="en-US" smtClean="0"/>
              <a:t>Click to edit Master title style</a:t>
            </a:r>
            <a:endParaRPr kumimoji="0" lang="en-US"/>
          </a:p>
        </p:txBody>
      </p:sp>
      <p:sp>
        <p:nvSpPr>
          <p:cNvPr id="8" name="Freeform 7"/>
          <p:cNvSpPr>
            <a:spLocks/>
          </p:cNvSpPr>
          <p:nvPr/>
        </p:nvSpPr>
        <p:spPr bwMode="auto">
          <a:xfrm>
            <a:off x="499273" y="5944936"/>
            <a:ext cx="4940624"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9" name="Freeform 8"/>
          <p:cNvSpPr>
            <a:spLocks/>
          </p:cNvSpPr>
          <p:nvPr/>
        </p:nvSpPr>
        <p:spPr bwMode="auto">
          <a:xfrm>
            <a:off x="485717" y="5939011"/>
            <a:ext cx="369045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10" name="Right Triangle 9"/>
          <p:cNvSpPr>
            <a:spLocks/>
          </p:cNvSpPr>
          <p:nvPr/>
        </p:nvSpPr>
        <p:spPr bwMode="auto">
          <a:xfrm>
            <a:off x="-6042" y="5791253"/>
            <a:ext cx="3402314" cy="1080868"/>
          </a:xfrm>
          <a:prstGeom prst="rtTriangle">
            <a:avLst/>
          </a:pr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cxnSp>
        <p:nvCxnSpPr>
          <p:cNvPr id="11" name="Straight Connector 10"/>
          <p:cNvCxnSpPr/>
          <p:nvPr/>
        </p:nvCxnSpPr>
        <p:spPr>
          <a:xfrm>
            <a:off x="-9237" y="5787738"/>
            <a:ext cx="340550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12" name="Chevron 11"/>
          <p:cNvSpPr/>
          <p:nvPr/>
        </p:nvSpPr>
        <p:spPr>
          <a:xfrm>
            <a:off x="8664112" y="4988440"/>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13" name="Chevron 12"/>
          <p:cNvSpPr/>
          <p:nvPr/>
        </p:nvSpPr>
        <p:spPr>
          <a:xfrm>
            <a:off x="8477696" y="4988440"/>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spTree>
    <p:extLst>
      <p:ext uri="{BB962C8B-B14F-4D97-AF65-F5344CB8AC3E}">
        <p14:creationId xmlns:p14="http://schemas.microsoft.com/office/powerpoint/2010/main" val="3181970436"/>
      </p:ext>
    </p:extLst>
  </p:cSld>
  <p:clrMapOvr>
    <a:overrideClrMapping bg1="dk1" tx1="lt1" bg2="dk2" tx2="lt2" accent1="accent1" accent2="accent2" accent3="accent3" accent4="accent4" accent5="accent5" accent6="accent6" hlink="hlink" folHlink="folHlink"/>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1481329"/>
            <a:ext cx="8229600" cy="4386071"/>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099951-A35E-41B9-889B-6EBB9216D515}" type="datetimeFigureOut">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5" name="Footer Placeholder 4"/>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CA3EFA-F548-48D1-92C5-09240777D341}" type="slidenum">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Tree>
    <p:extLst>
      <p:ext uri="{BB962C8B-B14F-4D97-AF65-F5344CB8AC3E}">
        <p14:creationId xmlns:p14="http://schemas.microsoft.com/office/powerpoint/2010/main" val="3353498383"/>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44013" y="274640"/>
            <a:ext cx="1777470" cy="5592761"/>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274641"/>
            <a:ext cx="6324600" cy="5592760"/>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099951-A35E-41B9-889B-6EBB9216D515}" type="datetimeFigureOut">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5" name="Footer Placeholder 4"/>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CA3EFA-F548-48D1-92C5-09240777D341}" type="slidenum">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Tree>
    <p:extLst>
      <p:ext uri="{BB962C8B-B14F-4D97-AF65-F5344CB8AC3E}">
        <p14:creationId xmlns:p14="http://schemas.microsoft.com/office/powerpoint/2010/main" val="383599020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00"/>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
        <p:nvSpPr>
          <p:cNvPr id="4"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829609148"/>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6915101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981200"/>
            <a:ext cx="3810000"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4114800"/>
            <a:ext cx="3810000"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dt" sz="half" idx="10"/>
          </p:nvPr>
        </p:nvSpPr>
        <p:spPr/>
        <p:txBody>
          <a:bodyPr/>
          <a:lstStyle>
            <a:lvl1pPr>
              <a:defRPr/>
            </a:lvl1pPr>
          </a:lstStyle>
          <a:p>
            <a:pPr>
              <a:defRPr/>
            </a:pPr>
            <a:endParaRPr lang="en-US">
              <a:solidFill>
                <a:srgbClr val="775F55"/>
              </a:solidFill>
            </a:endParaRPr>
          </a:p>
        </p:txBody>
      </p:sp>
      <p:sp>
        <p:nvSpPr>
          <p:cNvPr id="7" name="Rectangle 5"/>
          <p:cNvSpPr>
            <a:spLocks noGrp="1" noChangeArrowheads="1"/>
          </p:cNvSpPr>
          <p:nvPr>
            <p:ph type="ftr" sz="quarter" idx="11"/>
          </p:nvPr>
        </p:nvSpPr>
        <p:spPr/>
        <p:txBody>
          <a:bodyPr/>
          <a:lstStyle>
            <a:lvl1pPr>
              <a:defRPr/>
            </a:lvl1pPr>
          </a:lstStyle>
          <a:p>
            <a:pPr>
              <a:defRPr/>
            </a:pPr>
            <a:endParaRPr lang="en-US">
              <a:solidFill>
                <a:srgbClr val="775F55"/>
              </a:solidFill>
            </a:endParaRPr>
          </a:p>
        </p:txBody>
      </p:sp>
      <p:sp>
        <p:nvSpPr>
          <p:cNvPr id="8" name="Rectangle 6"/>
          <p:cNvSpPr>
            <a:spLocks noGrp="1" noChangeArrowheads="1"/>
          </p:cNvSpPr>
          <p:nvPr>
            <p:ph type="sldNum" sz="quarter" idx="12"/>
          </p:nvPr>
        </p:nvSpPr>
        <p:spPr/>
        <p:txBody>
          <a:bodyPr/>
          <a:lstStyle>
            <a:lvl1pPr>
              <a:defRPr/>
            </a:lvl1pPr>
          </a:lstStyle>
          <a:p>
            <a:pPr>
              <a:defRPr/>
            </a:pPr>
            <a:fld id="{09EBC750-631C-478F-A863-EE4119B40F11}" type="slidenum">
              <a:rPr lang="ar-SA"/>
              <a:pPr>
                <a:defRPr/>
              </a:pPr>
              <a:t>‹#›</a:t>
            </a:fld>
            <a:endParaRPr lang="en-US"/>
          </a:p>
        </p:txBody>
      </p:sp>
    </p:spTree>
    <p:extLst>
      <p:ext uri="{BB962C8B-B14F-4D97-AF65-F5344CB8AC3E}">
        <p14:creationId xmlns:p14="http://schemas.microsoft.com/office/powerpoint/2010/main" val="1926326918"/>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89" y="4406975"/>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489"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34591578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685837" y="1517650"/>
            <a:ext cx="3818467" cy="4343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39771" y="1517650"/>
            <a:ext cx="3818467" cy="4343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582047497"/>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0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0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378" y="1535113"/>
            <a:ext cx="404142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378" y="2174875"/>
            <a:ext cx="404142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8"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66996318"/>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4"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73085579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85883059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489"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756" y="273125"/>
            <a:ext cx="5111044"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4" y="1435103"/>
            <a:ext cx="300848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37330542"/>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11"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111"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111"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55242406"/>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74385193"/>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1" y="355600"/>
            <a:ext cx="1943100" cy="550545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85800" y="355600"/>
            <a:ext cx="5693834" cy="5505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25845887"/>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355600"/>
            <a:ext cx="7772400" cy="6858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685837" y="1517650"/>
            <a:ext cx="3818467"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39771" y="1517650"/>
            <a:ext cx="3818467"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7882839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C51EAA5-55C5-4D94-BFC1-B28D283DC19A}"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315450024"/>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355600"/>
            <a:ext cx="7772400" cy="68580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685800" y="1517650"/>
            <a:ext cx="7772400" cy="4343400"/>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55387779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85800" y="355600"/>
            <a:ext cx="7772400" cy="55054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4"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593434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sp>
        <p:nvSpPr>
          <p:cNvPr id="15" name="Title 8"/>
          <p:cNvSpPr>
            <a:spLocks noGrp="1"/>
          </p:cNvSpPr>
          <p:nvPr>
            <p:ph type="title"/>
          </p:nvPr>
        </p:nvSpPr>
        <p:spPr>
          <a:xfrm>
            <a:off x="237602" y="192000"/>
            <a:ext cx="8280000" cy="672000"/>
          </a:xfrm>
          <a:prstGeom prst="rect">
            <a:avLst/>
          </a:prstGeom>
        </p:spPr>
        <p:txBody>
          <a:bodyPr lIns="109728" tIns="54864" rIns="109728" bIns="54864"/>
          <a:lstStyle>
            <a:lvl1pPr algn="l">
              <a:lnSpc>
                <a:spcPct val="100000"/>
              </a:lnSpc>
              <a:defRPr sz="1600" b="1" baseline="0">
                <a:solidFill>
                  <a:schemeClr val="tx2"/>
                </a:solidFill>
                <a:latin typeface="Arial" pitchFamily="34" charset="0"/>
                <a:cs typeface="Arial" pitchFamily="34" charset="0"/>
              </a:defRPr>
            </a:lvl1pPr>
          </a:lstStyle>
          <a:p>
            <a:r>
              <a:rPr lang="en-US" noProof="0"/>
              <a:t>Click to edit Master title style</a:t>
            </a:r>
            <a:endParaRPr lang="en-GB" noProof="0" dirty="0"/>
          </a:p>
        </p:txBody>
      </p:sp>
      <p:sp>
        <p:nvSpPr>
          <p:cNvPr id="6" name="Text Placeholder 3"/>
          <p:cNvSpPr>
            <a:spLocks noGrp="1"/>
          </p:cNvSpPr>
          <p:nvPr>
            <p:ph type="body" sz="quarter" idx="11"/>
          </p:nvPr>
        </p:nvSpPr>
        <p:spPr>
          <a:xfrm>
            <a:off x="237069" y="1552691"/>
            <a:ext cx="7023713" cy="4229521"/>
          </a:xfrm>
          <a:prstGeom prst="rect">
            <a:avLst/>
          </a:prstGeom>
        </p:spPr>
        <p:txBody>
          <a:bodyPr lIns="109728" tIns="54864" rIns="109728" bIns="54864"/>
          <a:lstStyle>
            <a:lvl1pPr marL="0" indent="0">
              <a:spcBef>
                <a:spcPts val="0"/>
              </a:spcBef>
              <a:buNone/>
              <a:defRPr sz="1600" baseline="0">
                <a:solidFill>
                  <a:schemeClr val="tx1"/>
                </a:solidFill>
                <a:latin typeface="Arial" pitchFamily="34" charset="0"/>
                <a:cs typeface="Arial" pitchFamily="34" charset="0"/>
              </a:defRPr>
            </a:lvl1pPr>
            <a:lvl2pPr marL="308596" indent="0">
              <a:buNone/>
              <a:defRPr sz="1600"/>
            </a:lvl2pPr>
            <a:lvl3pPr marL="617190" indent="0">
              <a:buNone/>
              <a:defRPr sz="1600"/>
            </a:lvl3pPr>
            <a:lvl4pPr marL="925784" indent="0">
              <a:buNone/>
              <a:defRPr sz="1600"/>
            </a:lvl4pPr>
            <a:lvl5pPr marL="1234379" indent="0">
              <a:buNone/>
              <a:defRPr sz="1600"/>
            </a:lvl5pPr>
          </a:lstStyle>
          <a:p>
            <a:pPr lvl="0"/>
            <a:r>
              <a:rPr lang="en-US" noProof="0"/>
              <a:t>Click to edit Master text styles</a:t>
            </a:r>
          </a:p>
        </p:txBody>
      </p:sp>
      <p:sp>
        <p:nvSpPr>
          <p:cNvPr id="4" name="Slide Number Placeholder 5">
            <a:extLst/>
          </p:cNvPr>
          <p:cNvSpPr>
            <a:spLocks noGrp="1"/>
          </p:cNvSpPr>
          <p:nvPr>
            <p:ph type="sldNum" sz="quarter" idx="12"/>
          </p:nvPr>
        </p:nvSpPr>
        <p:spPr>
          <a:xfrm>
            <a:off x="318911" y="6462713"/>
            <a:ext cx="395111" cy="215900"/>
          </a:xfrm>
          <a:prstGeom prst="rect">
            <a:avLst/>
          </a:prstGeom>
        </p:spPr>
        <p:txBody>
          <a:bodyPr vert="horz" wrap="square" lIns="0" tIns="0" rIns="0" bIns="0" numCol="1" anchor="t" anchorCtr="0" compatLnSpc="1">
            <a:prstTxWarp prst="textNoShape">
              <a:avLst/>
            </a:prstTxWarp>
          </a:bodyPr>
          <a:lstStyle>
            <a:lvl1pPr eaLnBrk="1" hangingPunct="1">
              <a:defRPr sz="500" b="1">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6C1DC98-454A-4F33-AAFE-00D85192B0C4}" type="slidenum">
              <a:rPr kumimoji="0" lang="en-GB" altLang="en-US" sz="500" b="1" i="0"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altLang="en-US" sz="500" b="1"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7444594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1295400"/>
            <a:ext cx="8763000" cy="0"/>
          </a:xfrm>
          <a:prstGeom prst="line">
            <a:avLst/>
          </a:prstGeom>
          <a:ln w="44450">
            <a:solidFill>
              <a:srgbClr val="5A5A5A"/>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p:nvPr>
        </p:nvSpPr>
        <p:spPr bwMode="auto">
          <a:xfrm>
            <a:off x="152400" y="152400"/>
            <a:ext cx="8763000" cy="1143000"/>
          </a:xfrm>
          <a:prstGeom prst="rect">
            <a:avLst/>
          </a:prstGeom>
          <a:noFill/>
          <a:extLst/>
        </p:spPr>
        <p:txBody>
          <a:bodyPr lIns="109728" tIns="54864" rIns="109728" bIns="54864"/>
          <a:lstStyle>
            <a:lvl1pPr>
              <a:defRPr>
                <a:solidFill>
                  <a:srgbClr val="0F6256"/>
                </a:solidFill>
                <a:latin typeface="Helvetica Neue LT Std 55 Roman"/>
              </a:defRPr>
            </a:lvl1pPr>
          </a:lstStyle>
          <a:p>
            <a:r>
              <a:rPr lang="en-GB" dirty="0"/>
              <a:t>Title Can Be on Two Lines, </a:t>
            </a:r>
            <a:r>
              <a:rPr lang="en-GB" dirty="0" err="1"/>
              <a:t>Titlecase</a:t>
            </a:r>
            <a:r>
              <a:rPr lang="en-GB" dirty="0"/>
              <a:t>, 30 font</a:t>
            </a:r>
          </a:p>
        </p:txBody>
      </p:sp>
      <p:sp>
        <p:nvSpPr>
          <p:cNvPr id="12" name="Espace réservé du contenu 11"/>
          <p:cNvSpPr>
            <a:spLocks noGrp="1"/>
          </p:cNvSpPr>
          <p:nvPr>
            <p:ph sz="quarter" idx="10"/>
          </p:nvPr>
        </p:nvSpPr>
        <p:spPr>
          <a:xfrm>
            <a:off x="152400" y="1524004"/>
            <a:ext cx="8763000" cy="4781267"/>
          </a:xfrm>
          <a:prstGeom prst="rect">
            <a:avLst/>
          </a:prstGeom>
        </p:spPr>
        <p:txBody>
          <a:bodyPr/>
          <a:lstStyle>
            <a:lvl1pPr eaLnBrk="1" hangingPunct="1">
              <a:buClr>
                <a:srgbClr val="0F6256"/>
              </a:buClr>
              <a:defRPr sz="1700">
                <a:latin typeface="Helvetica Neue LT Std 35 Thin"/>
              </a:defRPr>
            </a:lvl1pPr>
            <a:lvl2pPr eaLnBrk="1" hangingPunct="1">
              <a:buClr>
                <a:srgbClr val="0F6256"/>
              </a:buClr>
              <a:defRPr sz="1700">
                <a:latin typeface="Helvetica Neue LT Std 35 Thin"/>
              </a:defRPr>
            </a:lvl2pPr>
            <a:lvl3pPr eaLnBrk="1" hangingPunct="1">
              <a:buClr>
                <a:srgbClr val="0F6256"/>
              </a:buClr>
              <a:buFontTx/>
              <a:buChar char="»"/>
              <a:defRPr sz="1700">
                <a:latin typeface="Helvetica Neue LT Std 35 Thin"/>
              </a:defRPr>
            </a:lvl3pPr>
            <a:lvl4pPr>
              <a:buClr>
                <a:srgbClr val="0F6256"/>
              </a:buClr>
              <a:defRPr/>
            </a:lvl4pPr>
            <a:lvl5pPr>
              <a:buClr>
                <a:srgbClr val="0F6256"/>
              </a:buClr>
              <a:defRPr/>
            </a:lvl5pPr>
          </a:lstStyle>
          <a:p>
            <a:pPr lvl="0"/>
            <a:r>
              <a:rPr lang="en-CA" altLang="en-US" dirty="0" err="1"/>
              <a:t>Cliquez</a:t>
            </a:r>
            <a:r>
              <a:rPr lang="en-CA" altLang="en-US" dirty="0"/>
              <a:t> pour modifier les styles du </a:t>
            </a:r>
            <a:r>
              <a:rPr lang="en-CA" altLang="en-US" dirty="0" err="1"/>
              <a:t>texte</a:t>
            </a:r>
            <a:r>
              <a:rPr lang="en-CA" altLang="en-US" dirty="0"/>
              <a:t> du masque</a:t>
            </a:r>
          </a:p>
          <a:p>
            <a:pPr lvl="1"/>
            <a:r>
              <a:rPr lang="en-CA" altLang="en-US" dirty="0" err="1"/>
              <a:t>Deuxième</a:t>
            </a:r>
            <a:r>
              <a:rPr lang="en-CA" altLang="en-US" dirty="0"/>
              <a:t> </a:t>
            </a:r>
            <a:r>
              <a:rPr lang="en-CA" altLang="en-US" dirty="0" err="1"/>
              <a:t>niveau</a:t>
            </a:r>
            <a:endParaRPr lang="en-CA" altLang="en-US" dirty="0"/>
          </a:p>
          <a:p>
            <a:pPr lvl="2"/>
            <a:r>
              <a:rPr lang="en-CA" altLang="en-US" dirty="0" err="1"/>
              <a:t>Troisième</a:t>
            </a:r>
            <a:r>
              <a:rPr lang="en-CA" altLang="en-US" dirty="0"/>
              <a:t> </a:t>
            </a:r>
            <a:r>
              <a:rPr lang="en-CA" altLang="en-US" dirty="0" err="1"/>
              <a:t>niveau</a:t>
            </a:r>
            <a:endParaRPr lang="en-CA" altLang="en-US" dirty="0"/>
          </a:p>
        </p:txBody>
      </p:sp>
      <p:sp>
        <p:nvSpPr>
          <p:cNvPr id="3" name="Text Placeholder 2"/>
          <p:cNvSpPr>
            <a:spLocks noGrp="1"/>
          </p:cNvSpPr>
          <p:nvPr>
            <p:ph type="body" sz="quarter" idx="11"/>
          </p:nvPr>
        </p:nvSpPr>
        <p:spPr>
          <a:xfrm>
            <a:off x="152400" y="6400800"/>
            <a:ext cx="8763000" cy="381000"/>
          </a:xfrm>
          <a:prstGeom prst="rect">
            <a:avLst/>
          </a:prstGeom>
        </p:spPr>
        <p:txBody>
          <a:bodyPr/>
          <a:lstStyle>
            <a:lvl1pPr marL="0" indent="0">
              <a:buFontTx/>
              <a:buNone/>
              <a:defRPr sz="1300" baseline="0">
                <a:latin typeface="Helvetica Neue LT Std 35 Thin"/>
              </a:defRPr>
            </a:lvl1pPr>
          </a:lstStyle>
          <a:p>
            <a:pPr lvl="0"/>
            <a:r>
              <a:rPr lang="en-US"/>
              <a:t>Click to edit Master text styles</a:t>
            </a:r>
          </a:p>
        </p:txBody>
      </p:sp>
    </p:spTree>
    <p:extLst>
      <p:ext uri="{BB962C8B-B14F-4D97-AF65-F5344CB8AC3E}">
        <p14:creationId xmlns:p14="http://schemas.microsoft.com/office/powerpoint/2010/main" val="533596832"/>
      </p:ext>
    </p:extLst>
  </p:cSld>
  <p:clrMapOvr>
    <a:masterClrMapping/>
  </p:clrMapOvr>
  <p:transition>
    <p:wipe dir="r"/>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1B5B776-EF31-494B-8D2D-A2DD78C23365}" type="datetimeFigureOut">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7C72115-D9C0-457A-ABE7-831BB5216FAA}" type="slidenum">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Tree>
    <p:extLst>
      <p:ext uri="{BB962C8B-B14F-4D97-AF65-F5344CB8AC3E}">
        <p14:creationId xmlns:p14="http://schemas.microsoft.com/office/powerpoint/2010/main" val="293804931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EA65202-5BCF-47D8-BB25-7DA5F400A4B4}" type="datetimeFigureOut">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524C48D-6A06-4436-9A23-1961905FC55B}" type="slidenum">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756658784"/>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9A6B4F3-9041-4D85-B4A1-1D7331C22604}" type="datetimeFigureOut">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39AE5C0-79F0-4BE3-B0AB-3BAE52779C1D}" type="slidenum">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015578172"/>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F6C594D-8187-402C-80C3-3C3A9270F1CD}" type="datetimeFigureOut">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7" name="Slide Number Placeholder 6"/>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9941485-AABB-4673-B1BD-0BFCE5A2A78C}" type="slidenum">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859305356"/>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83B6D67-DFE0-4362-B585-3166FB8B6ADB}" type="datetimeFigureOut">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8" name="Footer Placeholder 7"/>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9" name="Slide Number Placeholder 8"/>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35674AB-CA31-4A13-82A3-1C7C5125D5F7}" type="slidenum">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5572003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7928021-3C2D-4A58-80C0-8E3AD91A776A}" type="datetimeFigureOut">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4" name="Footer Placeholder 3"/>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5" name="Slide Number Placeholder 4"/>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8DDF6A-34DA-4D60-B508-E5A181C22D55}" type="slidenum">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1893115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1C7C0B1-7CD8-4283-B5E6-6E76B669DB03}"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1595624"/>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4A102A6-29B8-4387-AA1E-3427DD6F9C62}" type="datetimeFigureOut">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3" name="Footer Placeholder 2"/>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4" name="Slide Number Placeholder 3"/>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58A84B4-1C50-4CB8-A18E-FD1824E464F4}" type="slidenum">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21830965"/>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3A888BC8-8C49-4693-915B-DE55BD2304BE}" type="datetimeFigureOut">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7" name="Slide Number Placeholder 6"/>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9FE3EC7-ED41-4D38-98CF-F3E5FCA82BE3}" type="slidenum">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273445524"/>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418308E-9B5A-4F4C-85C3-8B02F3D82BD1}" type="datetimeFigureOut">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7" name="Slide Number Placeholder 6"/>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A771A4D-1DBD-4146-AC7D-84B879DA7159}" type="slidenum">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195645569"/>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B0F2667-2759-4579-B07C-10DC5E4E4FAE}" type="datetimeFigureOut">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6A29EA5-1012-4499-8813-50290935B617}" type="slidenum">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441301703"/>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3E3E6F54-74A6-4469-B7B9-4639F045B7E4}" type="datetimeFigureOut">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0EC2E0D-6D5F-4DDB-AC0A-5BEC755FB530}" type="slidenum">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631042346"/>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extBox 2"/>
          <p:cNvSpPr txBox="1">
            <a:spLocks noChangeArrowheads="1"/>
          </p:cNvSpPr>
          <p:nvPr userDrawn="1"/>
        </p:nvSpPr>
        <p:spPr bwMode="auto">
          <a:xfrm>
            <a:off x="1524000" y="6573839"/>
            <a:ext cx="6096000" cy="276225"/>
          </a:xfrm>
          <a:prstGeom prst="rect">
            <a:avLst/>
          </a:prstGeom>
          <a:noFill/>
          <a:ln>
            <a:noFill/>
          </a:ln>
          <a:extLst/>
        </p:spPr>
        <p:txBody>
          <a:bodyPr>
            <a:spAutoFit/>
          </a:bodyPr>
          <a:lstStyle>
            <a:lvl1pPr>
              <a:defRPr sz="3800" b="1">
                <a:solidFill>
                  <a:srgbClr val="FFFF00"/>
                </a:solidFill>
                <a:latin typeface="Arial" charset="0"/>
                <a:ea typeface="ＭＳ Ｐゴシック" charset="0"/>
                <a:cs typeface="ＭＳ Ｐゴシック" charset="0"/>
              </a:defRPr>
            </a:lvl1pPr>
            <a:lvl2pPr marL="742950" indent="-285750">
              <a:defRPr sz="3800" b="1">
                <a:solidFill>
                  <a:srgbClr val="FFFF00"/>
                </a:solidFill>
                <a:latin typeface="Arial" charset="0"/>
                <a:ea typeface="ＭＳ Ｐゴシック" charset="0"/>
              </a:defRPr>
            </a:lvl2pPr>
            <a:lvl3pPr marL="1143000" indent="-228600">
              <a:defRPr sz="3800" b="1">
                <a:solidFill>
                  <a:srgbClr val="FFFF00"/>
                </a:solidFill>
                <a:latin typeface="Arial" charset="0"/>
                <a:ea typeface="ＭＳ Ｐゴシック" charset="0"/>
              </a:defRPr>
            </a:lvl3pPr>
            <a:lvl4pPr marL="1600200" indent="-228600">
              <a:defRPr sz="3800" b="1">
                <a:solidFill>
                  <a:srgbClr val="FFFF00"/>
                </a:solidFill>
                <a:latin typeface="Arial" charset="0"/>
                <a:ea typeface="ＭＳ Ｐゴシック" charset="0"/>
              </a:defRPr>
            </a:lvl4pPr>
            <a:lvl5pPr marL="2057400" indent="-228600">
              <a:defRPr sz="3800" b="1">
                <a:solidFill>
                  <a:srgbClr val="FFFF00"/>
                </a:solidFill>
                <a:latin typeface="Arial" charset="0"/>
                <a:ea typeface="ＭＳ Ｐゴシック" charset="0"/>
              </a:defRPr>
            </a:lvl5pPr>
            <a:lvl6pPr marL="25146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6pPr>
            <a:lvl7pPr marL="29718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7pPr>
            <a:lvl8pPr marL="34290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8pPr>
            <a:lvl9pPr marL="38862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34679"/>
                </a:solidFill>
                <a:effectLst/>
                <a:uLnTx/>
                <a:uFillTx/>
                <a:latin typeface="Arial" charset="0"/>
                <a:ea typeface="ＭＳ Ｐゴシック" charset="0"/>
              </a:rPr>
              <a:t>© Global Initiative for Asthma</a:t>
            </a:r>
          </a:p>
        </p:txBody>
      </p:sp>
      <p:pic>
        <p:nvPicPr>
          <p:cNvPr id="4" name="Picture 1"/>
          <p:cNvPicPr>
            <a:picLocks noChangeAspect="1" noChangeArrowheads="1"/>
          </p:cNvPicPr>
          <p:nvPr userDrawn="1"/>
        </p:nvPicPr>
        <p:blipFill>
          <a:blip r:embed="rId2"/>
          <a:srcRect l="4451" t="3503" r="4276" b="2338"/>
          <a:stretch>
            <a:fillRect/>
          </a:stretch>
        </p:blipFill>
        <p:spPr bwMode="auto">
          <a:xfrm>
            <a:off x="158045" y="100013"/>
            <a:ext cx="8856133" cy="6767512"/>
          </a:xfrm>
          <a:prstGeom prst="rect">
            <a:avLst/>
          </a:prstGeom>
          <a:noFill/>
          <a:ln w="12700">
            <a:noFill/>
            <a:miter lim="800000"/>
            <a:headEnd/>
            <a:tailEnd/>
          </a:ln>
        </p:spPr>
      </p:pic>
      <p:sp>
        <p:nvSpPr>
          <p:cNvPr id="5" name="Rectangle 7"/>
          <p:cNvSpPr>
            <a:spLocks/>
          </p:cNvSpPr>
          <p:nvPr userDrawn="1"/>
        </p:nvSpPr>
        <p:spPr bwMode="auto">
          <a:xfrm>
            <a:off x="179212" y="4217988"/>
            <a:ext cx="8813800" cy="965200"/>
          </a:xfrm>
          <a:prstGeom prst="rect">
            <a:avLst/>
          </a:prstGeom>
          <a:noFill/>
          <a:ln>
            <a:noFill/>
          </a:ln>
          <a:extLst/>
        </p:spPr>
        <p:txBody>
          <a:bodyPr lIns="0" tIns="0" rIns="0" bIns="0"/>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marL="0" marR="0" lvl="0" indent="0" algn="ctr" defTabSz="914400" rtl="0" eaLnBrk="1" fontAlgn="auto" latinLnBrk="0" hangingPunct="1">
              <a:lnSpc>
                <a:spcPct val="100000"/>
              </a:lnSpc>
              <a:spcBef>
                <a:spcPts val="663"/>
              </a:spcBef>
              <a:spcAft>
                <a:spcPts val="0"/>
              </a:spcAft>
              <a:buClrTx/>
              <a:buSzTx/>
              <a:buFontTx/>
              <a:buNone/>
              <a:tabLst/>
              <a:defRPr/>
            </a:pPr>
            <a:r>
              <a:rPr kumimoji="0" lang="en-US" altLang="en-US" sz="2500" b="0" i="0" u="none" strike="noStrike" kern="1200" cap="none" spc="0" normalizeH="0" baseline="0" noProof="0" dirty="0">
                <a:ln>
                  <a:noFill/>
                </a:ln>
                <a:solidFill>
                  <a:srgbClr val="134679"/>
                </a:solidFill>
                <a:effectLst/>
                <a:uLnTx/>
                <a:uFillTx/>
                <a:latin typeface="Arial" charset="0"/>
                <a:ea typeface="+mn-ea"/>
                <a:cs typeface="Arial" charset="0"/>
                <a:sym typeface="Arial" charset="0"/>
              </a:rPr>
              <a:t>GINA </a:t>
            </a:r>
            <a:r>
              <a:rPr kumimoji="0" lang="en-US" altLang="en-US" sz="2500" b="0" i="0" u="none" strike="noStrike" kern="1200" cap="none" spc="0" normalizeH="0" baseline="0" noProof="0" dirty="0" smtClean="0">
                <a:ln>
                  <a:noFill/>
                </a:ln>
                <a:solidFill>
                  <a:srgbClr val="134679"/>
                </a:solidFill>
                <a:effectLst/>
                <a:uLnTx/>
                <a:uFillTx/>
                <a:latin typeface="Arial" charset="0"/>
                <a:ea typeface="+mn-ea"/>
                <a:cs typeface="Arial" charset="0"/>
                <a:sym typeface="Arial" charset="0"/>
              </a:rPr>
              <a:t>Global Strategy </a:t>
            </a:r>
            <a:r>
              <a:rPr kumimoji="0" lang="en-US" altLang="en-US" sz="2500" b="0" i="0" u="none" strike="noStrike" kern="1200" cap="none" spc="0" normalizeH="0" baseline="0" noProof="0" dirty="0">
                <a:ln>
                  <a:noFill/>
                </a:ln>
                <a:solidFill>
                  <a:srgbClr val="134679"/>
                </a:solidFill>
                <a:effectLst/>
                <a:uLnTx/>
                <a:uFillTx/>
                <a:latin typeface="Arial" charset="0"/>
                <a:ea typeface="+mn-ea"/>
                <a:cs typeface="Arial" charset="0"/>
                <a:sym typeface="Arial" charset="0"/>
              </a:rPr>
              <a:t>for </a:t>
            </a:r>
            <a:r>
              <a:rPr kumimoji="0" lang="en-US" altLang="en-US" sz="2500" b="0" i="0" u="none" strike="noStrike" kern="1200" cap="none" spc="0" normalizeH="0" baseline="0" noProof="0" dirty="0" smtClean="0">
                <a:ln>
                  <a:noFill/>
                </a:ln>
                <a:solidFill>
                  <a:srgbClr val="134679"/>
                </a:solidFill>
                <a:effectLst/>
                <a:uLnTx/>
                <a:uFillTx/>
                <a:latin typeface="Arial" charset="0"/>
                <a:ea typeface="+mn-ea"/>
                <a:cs typeface="Arial" charset="0"/>
                <a:sym typeface="Arial" charset="0"/>
              </a:rPr>
              <a:t>Asthma </a:t>
            </a:r>
            <a:r>
              <a:rPr kumimoji="0" lang="en-US" altLang="en-US" sz="2500" b="0" i="0" u="none" strike="noStrike" kern="1200" cap="none" spc="0" normalizeH="0" baseline="0" noProof="0" dirty="0">
                <a:ln>
                  <a:noFill/>
                </a:ln>
                <a:solidFill>
                  <a:srgbClr val="134679"/>
                </a:solidFill>
                <a:effectLst/>
                <a:uLnTx/>
                <a:uFillTx/>
                <a:latin typeface="Arial" charset="0"/>
                <a:ea typeface="+mn-ea"/>
                <a:cs typeface="Arial" charset="0"/>
                <a:sym typeface="Arial" charset="0"/>
              </a:rPr>
              <a:t/>
            </a:r>
            <a:br>
              <a:rPr kumimoji="0" lang="en-US" altLang="en-US" sz="2500" b="0" i="0" u="none" strike="noStrike" kern="1200" cap="none" spc="0" normalizeH="0" baseline="0" noProof="0" dirty="0">
                <a:ln>
                  <a:noFill/>
                </a:ln>
                <a:solidFill>
                  <a:srgbClr val="134679"/>
                </a:solidFill>
                <a:effectLst/>
                <a:uLnTx/>
                <a:uFillTx/>
                <a:latin typeface="Arial" charset="0"/>
                <a:ea typeface="+mn-ea"/>
                <a:cs typeface="Arial" charset="0"/>
                <a:sym typeface="Arial" charset="0"/>
              </a:rPr>
            </a:br>
            <a:r>
              <a:rPr kumimoji="0" lang="en-US" altLang="en-US" sz="2500" b="0" i="0" u="none" strike="noStrike" kern="1200" cap="none" spc="0" normalizeH="0" baseline="0" noProof="0" dirty="0" smtClean="0">
                <a:ln>
                  <a:noFill/>
                </a:ln>
                <a:solidFill>
                  <a:srgbClr val="134679"/>
                </a:solidFill>
                <a:effectLst/>
                <a:uLnTx/>
                <a:uFillTx/>
                <a:latin typeface="Arial" charset="0"/>
                <a:ea typeface="+mn-ea"/>
                <a:cs typeface="Arial" charset="0"/>
                <a:sym typeface="Arial" charset="0"/>
              </a:rPr>
              <a:t>Management </a:t>
            </a:r>
            <a:r>
              <a:rPr kumimoji="0" lang="en-US" altLang="en-US" sz="2500" b="0" i="0" u="none" strike="noStrike" kern="1200" cap="none" spc="0" normalizeH="0" baseline="0" noProof="0" dirty="0">
                <a:ln>
                  <a:noFill/>
                </a:ln>
                <a:solidFill>
                  <a:srgbClr val="134679"/>
                </a:solidFill>
                <a:effectLst/>
                <a:uLnTx/>
                <a:uFillTx/>
                <a:latin typeface="Arial" charset="0"/>
                <a:ea typeface="+mn-ea"/>
                <a:cs typeface="Arial" charset="0"/>
                <a:sym typeface="Arial" charset="0"/>
              </a:rPr>
              <a:t>and </a:t>
            </a:r>
            <a:r>
              <a:rPr kumimoji="0" lang="en-US" altLang="en-US" sz="2500" b="0" i="0" u="none" strike="noStrike" kern="1200" cap="none" spc="0" normalizeH="0" baseline="0" noProof="0" smtClean="0">
                <a:ln>
                  <a:noFill/>
                </a:ln>
                <a:solidFill>
                  <a:srgbClr val="134679"/>
                </a:solidFill>
                <a:effectLst/>
                <a:uLnTx/>
                <a:uFillTx/>
                <a:latin typeface="Arial" charset="0"/>
                <a:ea typeface="+mn-ea"/>
                <a:cs typeface="Arial" charset="0"/>
                <a:sym typeface="Arial" charset="0"/>
              </a:rPr>
              <a:t>Prevention 2016</a:t>
            </a:r>
            <a:endParaRPr kumimoji="0" lang="en-US" altLang="en-US" sz="2500" b="0" i="0" u="none" strike="noStrike" kern="1200" cap="none" spc="0" normalizeH="0" baseline="0" noProof="0" dirty="0">
              <a:ln>
                <a:noFill/>
              </a:ln>
              <a:solidFill>
                <a:srgbClr val="134679"/>
              </a:solidFill>
              <a:effectLst/>
              <a:uLnTx/>
              <a:uFillTx/>
              <a:latin typeface="Arial" charset="0"/>
              <a:ea typeface="+mn-ea"/>
              <a:cs typeface="Arial" charset="0"/>
              <a:sym typeface="Arial" charset="0"/>
            </a:endParaRPr>
          </a:p>
        </p:txBody>
      </p:sp>
      <p:pic>
        <p:nvPicPr>
          <p:cNvPr id="6" name="Picture 4"/>
          <p:cNvPicPr>
            <a:picLocks noChangeAspect="1" noChangeArrowheads="1"/>
          </p:cNvPicPr>
          <p:nvPr userDrawn="1"/>
        </p:nvPicPr>
        <p:blipFill>
          <a:blip r:embed="rId3"/>
          <a:srcRect/>
          <a:stretch>
            <a:fillRect/>
          </a:stretch>
        </p:blipFill>
        <p:spPr bwMode="auto">
          <a:xfrm>
            <a:off x="3753556" y="2409825"/>
            <a:ext cx="1707444" cy="1752600"/>
          </a:xfrm>
          <a:prstGeom prst="rect">
            <a:avLst/>
          </a:prstGeom>
          <a:noFill/>
          <a:ln w="12700" cap="rnd">
            <a:noFill/>
            <a:round/>
            <a:headEnd/>
            <a:tailEnd/>
          </a:ln>
        </p:spPr>
      </p:pic>
      <p:sp>
        <p:nvSpPr>
          <p:cNvPr id="7" name="TextBox 6"/>
          <p:cNvSpPr txBox="1">
            <a:spLocks noChangeArrowheads="1"/>
          </p:cNvSpPr>
          <p:nvPr userDrawn="1"/>
        </p:nvSpPr>
        <p:spPr bwMode="auto">
          <a:xfrm>
            <a:off x="901700" y="5183189"/>
            <a:ext cx="7076722" cy="923925"/>
          </a:xfrm>
          <a:prstGeom prst="rect">
            <a:avLst/>
          </a:prstGeom>
          <a:noFill/>
          <a:ln>
            <a:noFill/>
          </a:ln>
          <a:extLst/>
        </p:spPr>
        <p:txBody>
          <a:bodyPr>
            <a:spAutoFit/>
          </a:bodyPr>
          <a:lstStyle>
            <a:lvl1pPr>
              <a:defRPr sz="3200">
                <a:solidFill>
                  <a:srgbClr val="FFFF00"/>
                </a:solidFill>
                <a:latin typeface="Arial" pitchFamily="34" charset="0"/>
              </a:defRPr>
            </a:lvl1pPr>
            <a:lvl2pPr marL="742950" indent="-285750">
              <a:defRPr sz="3200">
                <a:solidFill>
                  <a:srgbClr val="FFFF00"/>
                </a:solidFill>
                <a:latin typeface="Arial" pitchFamily="34" charset="0"/>
              </a:defRPr>
            </a:lvl2pPr>
            <a:lvl3pPr marL="1143000" indent="-228600">
              <a:defRPr sz="3200">
                <a:solidFill>
                  <a:srgbClr val="FFFF00"/>
                </a:solidFill>
                <a:latin typeface="Arial" pitchFamily="34" charset="0"/>
              </a:defRPr>
            </a:lvl3pPr>
            <a:lvl4pPr marL="1600200" indent="-228600">
              <a:defRPr sz="3200">
                <a:solidFill>
                  <a:srgbClr val="FFFF00"/>
                </a:solidFill>
                <a:latin typeface="Arial" pitchFamily="34" charset="0"/>
              </a:defRPr>
            </a:lvl4pPr>
            <a:lvl5pPr marL="2057400" indent="-228600">
              <a:defRPr sz="3200">
                <a:solidFill>
                  <a:srgbClr val="FFFF00"/>
                </a:solidFill>
                <a:latin typeface="Arial" pitchFamily="34" charset="0"/>
              </a:defRPr>
            </a:lvl5pPr>
            <a:lvl6pPr marL="2514600" indent="-228600" eaLnBrk="0" fontAlgn="base" hangingPunct="0">
              <a:spcBef>
                <a:spcPct val="0"/>
              </a:spcBef>
              <a:spcAft>
                <a:spcPct val="0"/>
              </a:spcAft>
              <a:defRPr sz="3200">
                <a:solidFill>
                  <a:srgbClr val="FFFF00"/>
                </a:solidFill>
                <a:latin typeface="Arial" pitchFamily="34" charset="0"/>
              </a:defRPr>
            </a:lvl6pPr>
            <a:lvl7pPr marL="2971800" indent="-228600" eaLnBrk="0" fontAlgn="base" hangingPunct="0">
              <a:spcBef>
                <a:spcPct val="0"/>
              </a:spcBef>
              <a:spcAft>
                <a:spcPct val="0"/>
              </a:spcAft>
              <a:defRPr sz="3200">
                <a:solidFill>
                  <a:srgbClr val="FFFF00"/>
                </a:solidFill>
                <a:latin typeface="Arial" pitchFamily="34" charset="0"/>
              </a:defRPr>
            </a:lvl7pPr>
            <a:lvl8pPr marL="3429000" indent="-228600" eaLnBrk="0" fontAlgn="base" hangingPunct="0">
              <a:spcBef>
                <a:spcPct val="0"/>
              </a:spcBef>
              <a:spcAft>
                <a:spcPct val="0"/>
              </a:spcAft>
              <a:defRPr sz="3200">
                <a:solidFill>
                  <a:srgbClr val="FFFF00"/>
                </a:solidFill>
                <a:latin typeface="Arial" pitchFamily="34" charset="0"/>
              </a:defRPr>
            </a:lvl8pPr>
            <a:lvl9pPr marL="3886200" indent="-228600" eaLnBrk="0" fontAlgn="base" hangingPunct="0">
              <a:spcBef>
                <a:spcPct val="0"/>
              </a:spcBef>
              <a:spcAft>
                <a:spcPct val="0"/>
              </a:spcAft>
              <a:defRPr sz="3200">
                <a:solidFill>
                  <a:srgbClr val="FFFF00"/>
                </a:solidFill>
                <a:latin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smtClean="0">
                <a:ln>
                  <a:noFill/>
                </a:ln>
                <a:solidFill>
                  <a:srgbClr val="134679"/>
                </a:solidFill>
                <a:effectLst/>
                <a:uLnTx/>
                <a:uFillTx/>
                <a:latin typeface="Arial" pitchFamily="34" charset="0"/>
                <a:ea typeface="+mn-ea"/>
                <a:cs typeface="+mn-cs"/>
              </a:rPr>
              <a:t>This slide set is restricted for academic and educational purposes only.  Use of the slide set, or of individual slides, for commercial or promotional purposes requires approval from GINA. </a:t>
            </a:r>
            <a:endParaRPr kumimoji="0" lang="en-AU"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2" name="Title 1"/>
          <p:cNvSpPr>
            <a:spLocks noGrp="1"/>
          </p:cNvSpPr>
          <p:nvPr>
            <p:ph type="ctrTitle"/>
          </p:nvPr>
        </p:nvSpPr>
        <p:spPr>
          <a:xfrm>
            <a:off x="685800" y="778791"/>
            <a:ext cx="7772400" cy="1470025"/>
          </a:xfrm>
          <a:prstGeom prst="rect">
            <a:avLst/>
          </a:prstGeom>
          <a:noFill/>
        </p:spPr>
        <p:txBody>
          <a:bodyPr>
            <a:normAutofit/>
          </a:bodyPr>
          <a:lstStyle>
            <a:lvl1pPr>
              <a:defRPr sz="4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spTree>
    <p:extLst>
      <p:ext uri="{BB962C8B-B14F-4D97-AF65-F5344CB8AC3E}">
        <p14:creationId xmlns:p14="http://schemas.microsoft.com/office/powerpoint/2010/main" val="3935510582"/>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Rounded Rectangle 14"/>
          <p:cNvSpPr/>
          <p:nvPr userDrawn="1"/>
        </p:nvSpPr>
        <p:spPr>
          <a:xfrm>
            <a:off x="165101" y="6653213"/>
            <a:ext cx="8819444" cy="215900"/>
          </a:xfrm>
          <a:custGeom>
            <a:avLst/>
            <a:gdLst>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48001 w 8820000"/>
              <a:gd name="connsiteY6" fmla="*/ 288000 h 288000"/>
              <a:gd name="connsiteX7" fmla="*/ 0 w 8820000"/>
              <a:gd name="connsiteY7" fmla="*/ 239999 h 288000"/>
              <a:gd name="connsiteX8" fmla="*/ 0 w 8820000"/>
              <a:gd name="connsiteY8" fmla="*/ 48001 h 288000"/>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0 w 8820000"/>
              <a:gd name="connsiteY6" fmla="*/ 239999 h 288000"/>
              <a:gd name="connsiteX7" fmla="*/ 0 w 8820000"/>
              <a:gd name="connsiteY7" fmla="*/ 48001 h 288000"/>
              <a:gd name="connsiteX0" fmla="*/ 0 w 8820000"/>
              <a:gd name="connsiteY0" fmla="*/ 48001 h 239999"/>
              <a:gd name="connsiteX1" fmla="*/ 48001 w 8820000"/>
              <a:gd name="connsiteY1" fmla="*/ 0 h 239999"/>
              <a:gd name="connsiteX2" fmla="*/ 8771999 w 8820000"/>
              <a:gd name="connsiteY2" fmla="*/ 0 h 239999"/>
              <a:gd name="connsiteX3" fmla="*/ 8820000 w 8820000"/>
              <a:gd name="connsiteY3" fmla="*/ 48001 h 239999"/>
              <a:gd name="connsiteX4" fmla="*/ 8820000 w 8820000"/>
              <a:gd name="connsiteY4" fmla="*/ 239999 h 239999"/>
              <a:gd name="connsiteX5" fmla="*/ 0 w 8820000"/>
              <a:gd name="connsiteY5" fmla="*/ 239999 h 239999"/>
              <a:gd name="connsiteX6" fmla="*/ 0 w 8820000"/>
              <a:gd name="connsiteY6" fmla="*/ 48001 h 2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0000" h="239999">
                <a:moveTo>
                  <a:pt x="0" y="48001"/>
                </a:moveTo>
                <a:cubicBezTo>
                  <a:pt x="0" y="21491"/>
                  <a:pt x="21491" y="0"/>
                  <a:pt x="48001" y="0"/>
                </a:cubicBezTo>
                <a:lnTo>
                  <a:pt x="8771999" y="0"/>
                </a:lnTo>
                <a:cubicBezTo>
                  <a:pt x="8798509" y="0"/>
                  <a:pt x="8820000" y="21491"/>
                  <a:pt x="8820000" y="48001"/>
                </a:cubicBezTo>
                <a:lnTo>
                  <a:pt x="8820000" y="239999"/>
                </a:lnTo>
                <a:cubicBezTo>
                  <a:pt x="7350000" y="271999"/>
                  <a:pt x="1470000" y="271999"/>
                  <a:pt x="0" y="239999"/>
                </a:cubicBezTo>
                <a:lnTo>
                  <a:pt x="0" y="48001"/>
                </a:lnTo>
                <a:close/>
              </a:path>
            </a:pathLst>
          </a:custGeom>
          <a:solidFill>
            <a:srgbClr val="1346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pic>
        <p:nvPicPr>
          <p:cNvPr id="4" name="Picture 1"/>
          <p:cNvPicPr>
            <a:picLocks noChangeAspect="1" noChangeArrowheads="1"/>
          </p:cNvPicPr>
          <p:nvPr userDrawn="1"/>
        </p:nvPicPr>
        <p:blipFill>
          <a:blip r:embed="rId2"/>
          <a:srcRect/>
          <a:stretch>
            <a:fillRect/>
          </a:stretch>
        </p:blipFill>
        <p:spPr bwMode="auto">
          <a:xfrm>
            <a:off x="152401" y="139700"/>
            <a:ext cx="8819444" cy="1500188"/>
          </a:xfrm>
          <a:prstGeom prst="rect">
            <a:avLst/>
          </a:prstGeom>
          <a:noFill/>
          <a:ln w="12700">
            <a:noFill/>
            <a:miter lim="800000"/>
            <a:headEnd/>
            <a:tailEnd/>
          </a:ln>
        </p:spPr>
      </p:pic>
      <p:sp>
        <p:nvSpPr>
          <p:cNvPr id="5" name="Rectangle 23"/>
          <p:cNvSpPr>
            <a:spLocks/>
          </p:cNvSpPr>
          <p:nvPr userDrawn="1"/>
        </p:nvSpPr>
        <p:spPr bwMode="auto">
          <a:xfrm>
            <a:off x="7277101" y="6680200"/>
            <a:ext cx="1654300" cy="153888"/>
          </a:xfrm>
          <a:prstGeom prst="rect">
            <a:avLst/>
          </a:prstGeom>
          <a:noFill/>
          <a:ln>
            <a:noFill/>
          </a:ln>
          <a:extLst/>
        </p:spPr>
        <p:txBody>
          <a:bodyPr wrap="none" lIns="0" tIns="0" rIns="0" bIns="0" anchor="ctr">
            <a:spAutoFit/>
          </a:bodyP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srgbClr val="FFFFFF"/>
                </a:solidFill>
                <a:effectLst/>
                <a:uLnTx/>
                <a:uFillTx/>
                <a:latin typeface="Arial" charset="0"/>
                <a:ea typeface="+mn-ea"/>
                <a:cs typeface="Arial" charset="0"/>
                <a:sym typeface="Arial" charset="0"/>
              </a:rPr>
              <a:t>© Global Initiative for Asthma</a:t>
            </a:r>
          </a:p>
        </p:txBody>
      </p:sp>
      <p:pic>
        <p:nvPicPr>
          <p:cNvPr id="6" name="Picture 4"/>
          <p:cNvPicPr>
            <a:picLocks noChangeAspect="1"/>
          </p:cNvPicPr>
          <p:nvPr userDrawn="1"/>
        </p:nvPicPr>
        <p:blipFill>
          <a:blip r:embed="rId3"/>
          <a:srcRect/>
          <a:stretch>
            <a:fillRect/>
          </a:stretch>
        </p:blipFill>
        <p:spPr bwMode="auto">
          <a:xfrm>
            <a:off x="7961489" y="184151"/>
            <a:ext cx="968022" cy="995363"/>
          </a:xfrm>
          <a:prstGeom prst="rect">
            <a:avLst/>
          </a:prstGeom>
          <a:noFill/>
          <a:ln w="9525">
            <a:noFill/>
            <a:miter lim="800000"/>
            <a:headEnd/>
            <a:tailEnd/>
          </a:ln>
        </p:spPr>
      </p:pic>
      <p:sp>
        <p:nvSpPr>
          <p:cNvPr id="11" name="Title 1"/>
          <p:cNvSpPr>
            <a:spLocks noGrp="1"/>
          </p:cNvSpPr>
          <p:nvPr>
            <p:ph type="title"/>
          </p:nvPr>
        </p:nvSpPr>
        <p:spPr>
          <a:xfrm>
            <a:off x="172279" y="251382"/>
            <a:ext cx="7598533" cy="936000"/>
          </a:xfrm>
          <a:prstGeom prst="rect">
            <a:avLst/>
          </a:prstGeom>
          <a:noFill/>
        </p:spPr>
        <p:txBody>
          <a:bodyPr anchor="t">
            <a:normAutofit/>
          </a:bodyPr>
          <a:lstStyle>
            <a:lvl1pPr marL="185738" indent="0" algn="l">
              <a:tabLst/>
              <a:defRPr sz="2600">
                <a:solidFill>
                  <a:srgbClr val="134679"/>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sp>
        <p:nvSpPr>
          <p:cNvPr id="7" name="Date Placeholder 3"/>
          <p:cNvSpPr>
            <a:spLocks noGrp="1"/>
          </p:cNvSpPr>
          <p:nvPr>
            <p:ph type="dt" sz="half" idx="10"/>
          </p:nvPr>
        </p:nvSpPr>
        <p:spPr>
          <a:xfrm>
            <a:off x="457200" y="6356351"/>
            <a:ext cx="2133600" cy="365125"/>
          </a:xfrm>
          <a:prstGeom prst="rect">
            <a:avLst/>
          </a:prstGeom>
        </p:spPr>
        <p:txBody>
          <a:bodyPr/>
          <a:lstStyle>
            <a:lvl1pPr eaLnBrk="1" fontAlgn="auto" hangingPunct="1">
              <a:spcBef>
                <a:spcPts val="0"/>
              </a:spcBef>
              <a:spcAft>
                <a:spcPts val="0"/>
              </a:spcAft>
              <a:defRPr sz="1800">
                <a:solidFill>
                  <a:prstClr val="black"/>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286300A-CF76-4262-9540-CD6E5AEC43F6}" type="datetimeFigureOut">
              <a:rPr kumimoji="0" lang="en-AU" sz="1800" b="0" i="0" u="none" strike="noStrike" kern="1200" cap="none" spc="0" normalizeH="0" baseline="0" noProof="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8" name="Footer Placeholder 4"/>
          <p:cNvSpPr>
            <a:spLocks noGrp="1"/>
          </p:cNvSpPr>
          <p:nvPr>
            <p:ph type="ftr" sz="quarter" idx="11"/>
          </p:nvPr>
        </p:nvSpPr>
        <p:spPr>
          <a:xfrm>
            <a:off x="3124200" y="6356351"/>
            <a:ext cx="2895600" cy="365125"/>
          </a:xfrm>
          <a:prstGeom prst="rect">
            <a:avLst/>
          </a:prstGeom>
        </p:spPr>
        <p:txBody>
          <a:bodyPr/>
          <a:lstStyle>
            <a:lvl1pPr eaLnBrk="1" fontAlgn="auto" hangingPunct="1">
              <a:spcBef>
                <a:spcPts val="0"/>
              </a:spcBef>
              <a:spcAft>
                <a:spcPts val="0"/>
              </a:spcAft>
              <a:defRPr sz="1800">
                <a:solidFill>
                  <a:prstClr val="black"/>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9" name="Slide Number Placeholder 5"/>
          <p:cNvSpPr>
            <a:spLocks noGrp="1"/>
          </p:cNvSpPr>
          <p:nvPr>
            <p:ph type="sldNum" sz="quarter" idx="12"/>
          </p:nvPr>
        </p:nvSpPr>
        <p:spPr>
          <a:xfrm>
            <a:off x="6553200" y="6356351"/>
            <a:ext cx="2133600" cy="365125"/>
          </a:xfrm>
          <a:prstGeom prst="rect">
            <a:avLst/>
          </a:prstGeom>
        </p:spPr>
        <p:txBody>
          <a:bodyPr/>
          <a:lstStyle>
            <a:lvl1pPr eaLnBrk="1" fontAlgn="auto" hangingPunct="1">
              <a:spcBef>
                <a:spcPts val="0"/>
              </a:spcBef>
              <a:spcAft>
                <a:spcPts val="0"/>
              </a:spcAft>
              <a:defRPr sz="1800">
                <a:solidFill>
                  <a:prstClr val="black"/>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9025C0F-82E2-4452-80AA-A6982B6FB49D}" type="slidenum">
              <a:rPr kumimoji="0" lang="en-AU" sz="1800" b="0" i="0" u="none" strike="noStrike" kern="1200" cap="none" spc="0" normalizeH="0" baseline="0" noProof="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55193515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8"/>
            <a:ext cx="7772400" cy="1470025"/>
          </a:xfrm>
          <a:prstGeom prst="rect">
            <a:avLst/>
          </a:prstGeo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
        <p:nvSpPr>
          <p:cNvPr id="4" name="Rectangle 4"/>
          <p:cNvSpPr>
            <a:spLocks noGrp="1" noChangeArrowheads="1"/>
          </p:cNvSpPr>
          <p:nvPr>
            <p:ph type="dt" sz="half" idx="10"/>
          </p:nvPr>
        </p:nvSpPr>
        <p:spPr>
          <a:xfrm>
            <a:off x="685800" y="6248400"/>
            <a:ext cx="1905000" cy="457200"/>
          </a:xfrm>
          <a:prstGeom prst="rect">
            <a:avLst/>
          </a:prstGeom>
        </p:spPr>
        <p:txBody>
          <a:bodyPr/>
          <a:lstStyle>
            <a:lvl1pPr eaLnBrk="1" fontAlgn="auto" hangingPunct="1">
              <a:spcBef>
                <a:spcPts val="0"/>
              </a:spcBef>
              <a:spcAft>
                <a:spcPts val="0"/>
              </a:spcAft>
              <a:defRPr sz="1800">
                <a:solidFill>
                  <a:prstClr val="black"/>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Rectangle 5"/>
          <p:cNvSpPr>
            <a:spLocks noGrp="1" noChangeArrowheads="1"/>
          </p:cNvSpPr>
          <p:nvPr>
            <p:ph type="ftr" sz="quarter" idx="11"/>
          </p:nvPr>
        </p:nvSpPr>
        <p:spPr>
          <a:xfrm>
            <a:off x="3124200" y="6248400"/>
            <a:ext cx="2895600" cy="457200"/>
          </a:xfrm>
          <a:prstGeom prst="rect">
            <a:avLst/>
          </a:prstGeom>
        </p:spPr>
        <p:txBody>
          <a:bodyPr/>
          <a:lstStyle>
            <a:lvl1pPr eaLnBrk="1" fontAlgn="auto" hangingPunct="1">
              <a:spcBef>
                <a:spcPts val="0"/>
              </a:spcBef>
              <a:spcAft>
                <a:spcPts val="0"/>
              </a:spcAft>
              <a:defRPr sz="1800">
                <a:solidFill>
                  <a:prstClr val="black"/>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26762126"/>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355600"/>
            <a:ext cx="7772400" cy="685800"/>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685800" y="1517650"/>
            <a:ext cx="7772400" cy="43434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xfrm>
            <a:off x="685800" y="6248400"/>
            <a:ext cx="1905000" cy="457200"/>
          </a:xfrm>
          <a:prstGeom prst="rect">
            <a:avLst/>
          </a:prstGeo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Rectangle 5"/>
          <p:cNvSpPr>
            <a:spLocks noGrp="1" noChangeArrowheads="1"/>
          </p:cNvSpPr>
          <p:nvPr>
            <p:ph type="ftr" sz="quarter" idx="11"/>
          </p:nvPr>
        </p:nvSpPr>
        <p:spPr>
          <a:xfrm>
            <a:off x="3124200" y="6248400"/>
            <a:ext cx="2895600" cy="457200"/>
          </a:xfrm>
          <a:prstGeom prst="rect">
            <a:avLst/>
          </a:prstGeo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792764850"/>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9" name="Rectangle 18"/>
          <p:cNvSpPr>
            <a:spLocks noChangeArrowheads="1"/>
          </p:cNvSpPr>
          <p:nvPr/>
        </p:nvSpPr>
        <p:spPr bwMode="white">
          <a:xfrm>
            <a:off x="8991600" y="3048"/>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6" name="Rectangle 15"/>
          <p:cNvSpPr>
            <a:spLocks noChangeArrowheads="1"/>
          </p:cNvSpPr>
          <p:nvPr/>
        </p:nvSpPr>
        <p:spPr bwMode="white">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2" name="Rectangle 11"/>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400" b="0" i="0" u="none" strike="noStrike" kern="1200" cap="none" spc="0" normalizeH="0" baseline="0" noProof="0" smtClean="0">
                <a:ln>
                  <a:noFill/>
                </a:ln>
                <a:solidFill>
                  <a:srgbClr val="FFFFFF"/>
                </a:solidFill>
                <a:effectLst/>
                <a:uLnTx/>
                <a:uFillTx/>
                <a:latin typeface="Georg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8/2024</a:t>
            </a:fld>
            <a:endParaRPr kumimoji="0" lang="en-US" sz="1400" b="0" i="0" u="none" strike="noStrike" kern="1200" cap="none" spc="0" normalizeH="0" baseline="0" noProof="0">
              <a:ln>
                <a:noFill/>
              </a:ln>
              <a:solidFill>
                <a:srgbClr val="FFFFFF"/>
              </a:solidFill>
              <a:effectLst/>
              <a:uLnTx/>
              <a:uFillTx/>
              <a:latin typeface="Georgia"/>
              <a:ea typeface="+mn-ea"/>
              <a:cs typeface="+mn-cs"/>
            </a:endParaRPr>
          </a:p>
        </p:txBody>
      </p:sp>
      <p:sp>
        <p:nvSpPr>
          <p:cNvPr id="17" name="Footer Placeholder 16"/>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a:ea typeface="+mn-ea"/>
              <a:cs typeface="+mn-cs"/>
            </a:endParaRPr>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0" name="Rectangle 9"/>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eorgia"/>
              <a:ea typeface="+mn-ea"/>
              <a:cs typeface="+mn-cs"/>
            </a:endParaRPr>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8CADAE">
                    <a:shade val="75000"/>
                  </a:srgbClr>
                </a:solidFill>
                <a:effectLst/>
                <a:uLnTx/>
                <a:uFillTx/>
                <a:latin typeface="Georgi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8CADAE">
                  <a:shade val="75000"/>
                </a:srgbClr>
              </a:solidFill>
              <a:effectLst/>
              <a:uLnTx/>
              <a:uFillTx/>
              <a:latin typeface="Georgia"/>
              <a:ea typeface="+mn-ea"/>
              <a:cs typeface="+mn-cs"/>
            </a:endParaRPr>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kumimoji="0" lang="en-US" smtClean="0"/>
              <a:t>Click to edit Master title style</a:t>
            </a:r>
            <a:endParaRPr kumimoji="0" lang="en-US"/>
          </a:p>
        </p:txBody>
      </p:sp>
    </p:spTree>
    <p:extLst>
      <p:ext uri="{BB962C8B-B14F-4D97-AF65-F5344CB8AC3E}">
        <p14:creationId xmlns:p14="http://schemas.microsoft.com/office/powerpoint/2010/main" val="4120537037"/>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2EEDB84-4D88-4889-AF52-90F5129F075A}"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005367322"/>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kumimoji="0" lang="en-US" smtClean="0"/>
              <a:t>Click to edit Master title style</a:t>
            </a:r>
            <a:endParaRPr kumimoji="0" lang="en-US"/>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400" b="0" i="0" u="none" strike="noStrike" kern="1200" cap="none" spc="0" normalizeH="0" baseline="0" noProof="0" smtClean="0">
                <a:ln>
                  <a:noFill/>
                </a:ln>
                <a:solidFill>
                  <a:srgbClr val="FFFFFF"/>
                </a:solidFill>
                <a:effectLst/>
                <a:uLnTx/>
                <a:uFillTx/>
                <a:latin typeface="Georg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8/2024</a:t>
            </a:fld>
            <a:endParaRPr kumimoji="0" lang="en-US" sz="1400" b="0" i="0" u="none" strike="noStrike" kern="1200" cap="none" spc="0" normalizeH="0" baseline="0" noProof="0">
              <a:ln>
                <a:noFill/>
              </a:ln>
              <a:solidFill>
                <a:srgbClr val="FFFFFF"/>
              </a:solidFill>
              <a:effectLst/>
              <a:uLnTx/>
              <a:uFillTx/>
              <a:latin typeface="Georgia"/>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a:ea typeface="+mn-ea"/>
              <a:cs typeface="+mn-cs"/>
            </a:endParaRPr>
          </a:p>
        </p:txBody>
      </p:sp>
      <p:sp>
        <p:nvSpPr>
          <p:cNvPr id="6" name="Slide Number Placeholder 5"/>
          <p:cNvSpPr>
            <a:spLocks noGrp="1"/>
          </p:cNvSpPr>
          <p:nvPr>
            <p:ph type="sldNum" sz="quarter" idx="12"/>
          </p:nvPr>
        </p:nvSpPr>
        <p:spPr>
          <a:xfrm>
            <a:off x="4361688" y="1026372"/>
            <a:ext cx="457200" cy="4413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8CADAE">
                    <a:shade val="75000"/>
                  </a:srgbClr>
                </a:solidFill>
                <a:effectLst/>
                <a:uLnTx/>
                <a:uFillTx/>
                <a:latin typeface="Georgi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8CADAE">
                  <a:shade val="75000"/>
                </a:srgbClr>
              </a:solidFill>
              <a:effectLst/>
              <a:uLnTx/>
              <a:uFillTx/>
              <a:latin typeface="Georgia"/>
              <a:ea typeface="+mn-ea"/>
              <a:cs typeface="+mn-cs"/>
            </a:endParaRPr>
          </a:p>
        </p:txBody>
      </p:sp>
      <p:sp>
        <p:nvSpPr>
          <p:cNvPr id="8" name="Content Placeholder 7"/>
          <p:cNvSpPr>
            <a:spLocks noGrp="1"/>
          </p:cNvSpPr>
          <p:nvPr>
            <p:ph sz="quarter" idx="1"/>
          </p:nvPr>
        </p:nvSpPr>
        <p:spPr>
          <a:xfrm>
            <a:off x="301752" y="1527048"/>
            <a:ext cx="850392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4002571832"/>
      </p:ext>
    </p:extLst>
  </p:cSld>
  <p:clrMapOvr>
    <a:overrideClrMapping bg1="lt1" tx1="dk1" bg2="lt2" tx2="dk2" accent1="accent1" accent2="accent2" accent3="accent3" accent4="accent4" accent5="accent5" accent6="accent6" hlink="hlink" folHlink="folHlink"/>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6" name="Rectangle 15"/>
          <p:cNvSpPr>
            <a:spLocks noChangeArrowheads="1"/>
          </p:cNvSpPr>
          <p:nvPr/>
        </p:nvSpPr>
        <p:spPr bwMode="white">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8" name="Rectangle 17"/>
          <p:cNvSpPr>
            <a:spLocks noChangeArrowheads="1"/>
          </p:cNvSpPr>
          <p:nvPr/>
        </p:nvSpPr>
        <p:spPr bwMode="white">
          <a:xfrm>
            <a:off x="8991600" y="1905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9" name="Rectangle 18"/>
          <p:cNvSpPr>
            <a:spLocks noChangeArrowheads="1"/>
          </p:cNvSpPr>
          <p:nvPr/>
        </p:nvSpPr>
        <p:spPr bwMode="white">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3" name="Text Placeholder 2"/>
          <p:cNvSpPr>
            <a:spLocks noGrp="1"/>
          </p:cNvSpPr>
          <p:nvPr>
            <p:ph type="body" idx="1"/>
          </p:nvPr>
        </p:nvSpPr>
        <p:spPr>
          <a:xfrm>
            <a:off x="1368426" y="2743200"/>
            <a:ext cx="6480174" cy="1673225"/>
          </a:xfrm>
        </p:spPr>
        <p:txBody>
          <a:bodyPr anchor="t"/>
          <a:lstStyle>
            <a:lvl1pPr marL="0" indent="0"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13" name="Rectangle 12"/>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4" name="Rectangle 13"/>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eorgia"/>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a:ea typeface="+mn-ea"/>
              <a:cs typeface="+mn-cs"/>
            </a:endParaRPr>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400" b="0" i="0" u="none" strike="noStrike" kern="1200" cap="none" spc="0" normalizeH="0" baseline="0" noProof="0" smtClean="0">
                <a:ln>
                  <a:noFill/>
                </a:ln>
                <a:solidFill>
                  <a:srgbClr val="FFFFFF"/>
                </a:solidFill>
                <a:effectLst/>
                <a:uLnTx/>
                <a:uFillTx/>
                <a:latin typeface="Georg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8/2024</a:t>
            </a:fld>
            <a:endParaRPr kumimoji="0" lang="en-US" sz="1400" b="0" i="0" u="none" strike="noStrike" kern="1200" cap="none" spc="0" normalizeH="0" baseline="0" noProof="0">
              <a:ln>
                <a:noFill/>
              </a:ln>
              <a:solidFill>
                <a:srgbClr val="FFFFFF"/>
              </a:solidFill>
              <a:effectLst/>
              <a:uLnTx/>
              <a:uFillTx/>
              <a:latin typeface="Georgia"/>
              <a:ea typeface="+mn-ea"/>
              <a:cs typeface="+mn-cs"/>
            </a:endParaRPr>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6" name="Slide Number Placeholder 5"/>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8CADAE">
                    <a:shade val="75000"/>
                  </a:srgbClr>
                </a:solidFill>
                <a:effectLst/>
                <a:uLnTx/>
                <a:uFillTx/>
                <a:latin typeface="Georgi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8CADAE">
                  <a:shade val="75000"/>
                </a:srgbClr>
              </a:solidFill>
              <a:effectLst/>
              <a:uLnTx/>
              <a:uFillTx/>
              <a:latin typeface="Georgia"/>
              <a:ea typeface="+mn-ea"/>
              <a:cs typeface="+mn-cs"/>
            </a:endParaRPr>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kumimoji="0" lang="en-US" smtClean="0"/>
              <a:t>Click to edit Master title style</a:t>
            </a:r>
            <a:endParaRPr kumimoji="0" lang="en-US"/>
          </a:p>
        </p:txBody>
      </p:sp>
    </p:spTree>
    <p:extLst>
      <p:ext uri="{BB962C8B-B14F-4D97-AF65-F5344CB8AC3E}">
        <p14:creationId xmlns:p14="http://schemas.microsoft.com/office/powerpoint/2010/main" val="3540693837"/>
      </p:ext>
    </p:extLst>
  </p:cSld>
  <p:clrMapOvr>
    <a:overrideClrMapping bg1="lt1" tx1="dk1" bg2="lt2" tx2="dk2" accent1="accent1" accent2="accent2" accent3="accent3" accent4="accent4" accent5="accent5" accent6="accent6" hlink="hlink" folHlink="folHlink"/>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kumimoji="0" lang="en-US" smtClean="0"/>
              <a:t>Click to edit Master title style</a:t>
            </a:r>
            <a:endParaRPr kumimoji="0" lang="en-US"/>
          </a:p>
        </p:txBody>
      </p:sp>
      <p:sp>
        <p:nvSpPr>
          <p:cNvPr id="5" name="Date Placeholder 4"/>
          <p:cNvSpPr>
            <a:spLocks noGrp="1"/>
          </p:cNvSpPr>
          <p:nvPr>
            <p:ph type="dt" sz="half" idx="10"/>
          </p:nvPr>
        </p:nvSpPr>
        <p:spPr>
          <a:xfrm>
            <a:off x="5791200" y="6409944"/>
            <a:ext cx="3044952" cy="3657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400" b="0" i="0" u="none" strike="noStrike" kern="1200" cap="none" spc="0" normalizeH="0" baseline="0" noProof="0" smtClean="0">
                <a:ln>
                  <a:noFill/>
                </a:ln>
                <a:solidFill>
                  <a:srgbClr val="FFFFFF"/>
                </a:solidFill>
                <a:effectLst/>
                <a:uLnTx/>
                <a:uFillTx/>
                <a:latin typeface="Georg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8/2024</a:t>
            </a:fld>
            <a:endParaRPr kumimoji="0" lang="en-US" sz="1400" b="0" i="0" u="none" strike="noStrike" kern="1200" cap="none" spc="0" normalizeH="0" baseline="0" noProof="0">
              <a:ln>
                <a:noFill/>
              </a:ln>
              <a:solidFill>
                <a:srgbClr val="FFFFFF"/>
              </a:solidFill>
              <a:effectLst/>
              <a:uLnTx/>
              <a:uFillTx/>
              <a:latin typeface="Georgia"/>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a:ea typeface="+mn-ea"/>
              <a:cs typeface="+mn-cs"/>
            </a:endParaRPr>
          </a:p>
        </p:txBody>
      </p:sp>
      <p:sp>
        <p:nvSpPr>
          <p:cNvPr id="7" name="Slide Number Placeholder 6"/>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8CADAE">
                    <a:shade val="75000"/>
                  </a:srgbClr>
                </a:solidFill>
                <a:effectLst/>
                <a:uLnTx/>
                <a:uFillTx/>
                <a:latin typeface="Georgi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8CADAE">
                  <a:shade val="75000"/>
                </a:srgbClr>
              </a:solidFill>
              <a:effectLst/>
              <a:uLnTx/>
              <a:uFillTx/>
              <a:latin typeface="Georgia"/>
              <a:ea typeface="+mn-ea"/>
              <a:cs typeface="+mn-cs"/>
            </a:endParaRPr>
          </a:p>
        </p:txBody>
      </p:sp>
      <p:sp>
        <p:nvSpPr>
          <p:cNvPr id="8" name="Straight Connector 7"/>
          <p:cNvSpPr>
            <a:spLocks noChangeShapeType="1"/>
          </p:cNvSpPr>
          <p:nvPr/>
        </p:nvSpPr>
        <p:spPr bwMode="auto">
          <a:xfrm flipV="1">
            <a:off x="4563080" y="1575652"/>
            <a:ext cx="8921" cy="4819557"/>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0" name="Content Placeholder 9"/>
          <p:cNvSpPr>
            <a:spLocks noGrp="1"/>
          </p:cNvSpPr>
          <p:nvPr>
            <p:ph sz="half" idx="1"/>
          </p:nvPr>
        </p:nvSpPr>
        <p:spPr>
          <a:xfrm>
            <a:off x="301752" y="1371600"/>
            <a:ext cx="4038600" cy="4681728"/>
          </a:xfrm>
        </p:spPr>
        <p:txBody>
          <a:bodyPr/>
          <a:lstStyle>
            <a:lvl1pPr>
              <a:defRPr sz="2500"/>
            </a:lvl1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2" name="Content Placeholder 11"/>
          <p:cNvSpPr>
            <a:spLocks noGrp="1"/>
          </p:cNvSpPr>
          <p:nvPr>
            <p:ph sz="half" idx="2"/>
          </p:nvPr>
        </p:nvSpPr>
        <p:spPr>
          <a:xfrm>
            <a:off x="4800600" y="1371600"/>
            <a:ext cx="4038600" cy="4681728"/>
          </a:xfrm>
        </p:spPr>
        <p:txBody>
          <a:bodyPr/>
          <a:lstStyle>
            <a:lvl1pPr>
              <a:defRPr sz="2500"/>
            </a:lvl1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123627810"/>
      </p:ext>
    </p:extLst>
  </p:cSld>
  <p:clrMapOvr>
    <a:overrideClrMapping bg1="lt1" tx1="dk1" bg2="lt2" tx2="dk2" accent1="accent1" accent2="accent2" accent3="accent3" accent4="accent4" accent5="accent5" accent6="accent6" hlink="hlink" folHlink="folHlink"/>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20" name="Rectangle 19"/>
          <p:cNvSpPr>
            <a:spLocks noChangeArrowheads="1"/>
          </p:cNvSpPr>
          <p:nvPr/>
        </p:nvSpPr>
        <p:spPr bwMode="white">
          <a:xfrm>
            <a:off x="0" y="0"/>
            <a:ext cx="9144000" cy="1447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9" name="Rectangle 18"/>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21" name="Rectangle 20"/>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22" name="Rectangle 21"/>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1" name="Rectangle 10"/>
          <p:cNvSpPr/>
          <p:nvPr/>
        </p:nvSpPr>
        <p:spPr>
          <a:xfrm>
            <a:off x="152400" y="1371600"/>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13" name="Rectangle 12"/>
          <p:cNvSpPr>
            <a:spLocks noChangeArrowheads="1"/>
          </p:cNvSpPr>
          <p:nvPr/>
        </p:nvSpPr>
        <p:spPr bwMode="auto">
          <a:xfrm>
            <a:off x="145923" y="6391656"/>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3" name="Text Placeholder 2"/>
          <p:cNvSpPr>
            <a:spLocks noGrp="1"/>
          </p:cNvSpPr>
          <p:nvPr>
            <p:ph type="body" idx="1"/>
          </p:nvPr>
        </p:nvSpPr>
        <p:spPr>
          <a:xfrm>
            <a:off x="301752" y="1524000"/>
            <a:ext cx="4040188" cy="732974"/>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2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791330" y="1524000"/>
            <a:ext cx="4041775" cy="731520"/>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7" name="Date Placeholder 6"/>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400" b="0" i="0" u="none" strike="noStrike" kern="1200" cap="none" spc="0" normalizeH="0" baseline="0" noProof="0" smtClean="0">
                <a:ln>
                  <a:noFill/>
                </a:ln>
                <a:solidFill>
                  <a:srgbClr val="FFFFFF"/>
                </a:solidFill>
                <a:effectLst/>
                <a:uLnTx/>
                <a:uFillTx/>
                <a:latin typeface="Georg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8/2024</a:t>
            </a:fld>
            <a:endParaRPr kumimoji="0" lang="en-US" sz="1400" b="0" i="0" u="none" strike="noStrike" kern="1200" cap="none" spc="0" normalizeH="0" baseline="0" noProof="0">
              <a:ln>
                <a:noFill/>
              </a:ln>
              <a:solidFill>
                <a:srgbClr val="FFFFFF"/>
              </a:solidFill>
              <a:effectLst/>
              <a:uLnTx/>
              <a:uFillTx/>
              <a:latin typeface="Georgia"/>
              <a:ea typeface="+mn-ea"/>
              <a:cs typeface="+mn-cs"/>
            </a:endParaRPr>
          </a:p>
        </p:txBody>
      </p:sp>
      <p:sp>
        <p:nvSpPr>
          <p:cNvPr id="8" name="Footer Placeholder 7"/>
          <p:cNvSpPr>
            <a:spLocks noGrp="1"/>
          </p:cNvSpPr>
          <p:nvPr>
            <p:ph type="ftr" sz="quarter" idx="11"/>
          </p:nvPr>
        </p:nvSpPr>
        <p:spPr>
          <a:xfrm>
            <a:off x="304800" y="6409944"/>
            <a:ext cx="3581400" cy="36576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a:ea typeface="+mn-ea"/>
              <a:cs typeface="+mn-cs"/>
            </a:endParaRPr>
          </a:p>
        </p:txBody>
      </p:sp>
      <p:sp>
        <p:nvSpPr>
          <p:cNvPr id="15" name="Straight Connector 14"/>
          <p:cNvSpPr>
            <a:spLocks noChangeShapeType="1"/>
          </p:cNvSpPr>
          <p:nvPr/>
        </p:nvSpPr>
        <p:spPr bwMode="auto">
          <a:xfrm>
            <a:off x="152400" y="128016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eorgia"/>
              <a:ea typeface="+mn-ea"/>
              <a:cs typeface="+mn-cs"/>
            </a:endParaRPr>
          </a:p>
        </p:txBody>
      </p:sp>
      <p:sp>
        <p:nvSpPr>
          <p:cNvPr id="24" name="Content Placeholder 23"/>
          <p:cNvSpPr>
            <a:spLocks noGrp="1"/>
          </p:cNvSpPr>
          <p:nvPr>
            <p:ph sz="quarter" idx="2"/>
          </p:nvPr>
        </p:nvSpPr>
        <p:spPr>
          <a:xfrm>
            <a:off x="301752" y="2471383"/>
            <a:ext cx="4041648" cy="3818404"/>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6" name="Content Placeholder 25"/>
          <p:cNvSpPr>
            <a:spLocks noGrp="1"/>
          </p:cNvSpPr>
          <p:nvPr>
            <p:ph sz="quarter" idx="4"/>
          </p:nvPr>
        </p:nvSpPr>
        <p:spPr>
          <a:xfrm>
            <a:off x="4800600" y="2471383"/>
            <a:ext cx="4038600" cy="3822192"/>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5" name="Oval 24"/>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27" name="Oval 26"/>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9" name="Slide Number Placeholder 8"/>
          <p:cNvSpPr>
            <a:spLocks noGrp="1"/>
          </p:cNvSpPr>
          <p:nvPr>
            <p:ph type="sldNum" sz="quarter" idx="12"/>
          </p:nvPr>
        </p:nvSpPr>
        <p:spPr>
          <a:xfrm>
            <a:off x="4343400" y="1042416"/>
            <a:ext cx="457200" cy="441325"/>
          </a:xfrm>
        </p:spPr>
        <p:txBody>
          <a:bodyPr/>
          <a:lstStyle>
            <a:lvl1pPr algn="ct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8CADAE">
                    <a:shade val="75000"/>
                  </a:srgbClr>
                </a:solidFill>
                <a:effectLst/>
                <a:uLnTx/>
                <a:uFillTx/>
                <a:latin typeface="Georgi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8CADAE">
                  <a:shade val="75000"/>
                </a:srgbClr>
              </a:solidFill>
              <a:effectLst/>
              <a:uLnTx/>
              <a:uFillTx/>
              <a:latin typeface="Georgia"/>
              <a:ea typeface="+mn-ea"/>
              <a:cs typeface="+mn-cs"/>
            </a:endParaRPr>
          </a:p>
        </p:txBody>
      </p:sp>
      <p:sp>
        <p:nvSpPr>
          <p:cNvPr id="23" name="Title 22"/>
          <p:cNvSpPr>
            <a:spLocks noGrp="1"/>
          </p:cNvSpPr>
          <p:nvPr>
            <p:ph type="title"/>
          </p:nvPr>
        </p:nvSpPr>
        <p:spPr/>
        <p:txBody>
          <a:bodyPr rtlCol="0" anchor="b" anchorCtr="0"/>
          <a:lstStyle/>
          <a:p>
            <a:r>
              <a:rPr kumimoji="0" lang="en-US" smtClean="0"/>
              <a:t>Click to edit Master title style</a:t>
            </a:r>
            <a:endParaRPr kumimoji="0" lang="en-US"/>
          </a:p>
        </p:txBody>
      </p:sp>
    </p:spTree>
    <p:extLst>
      <p:ext uri="{BB962C8B-B14F-4D97-AF65-F5344CB8AC3E}">
        <p14:creationId xmlns:p14="http://schemas.microsoft.com/office/powerpoint/2010/main" val="4291682151"/>
      </p:ext>
    </p:extLst>
  </p:cSld>
  <p:clrMapOvr>
    <a:overrideClrMapping bg1="lt1" tx1="dk1" bg2="lt2" tx2="dk2" accent1="accent1" accent2="accent2" accent3="accent3" accent4="accent4" accent5="accent5" accent6="accent6" hlink="hlink" folHlink="folHlink"/>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400" b="0" i="0" u="none" strike="noStrike" kern="1200" cap="none" spc="0" normalizeH="0" baseline="0" noProof="0" smtClean="0">
                <a:ln>
                  <a:noFill/>
                </a:ln>
                <a:solidFill>
                  <a:srgbClr val="FFFFFF"/>
                </a:solidFill>
                <a:effectLst/>
                <a:uLnTx/>
                <a:uFillTx/>
                <a:latin typeface="Georg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8/2024</a:t>
            </a:fld>
            <a:endParaRPr kumimoji="0" lang="en-US" sz="1400" b="0" i="0" u="none" strike="noStrike" kern="1200" cap="none" spc="0" normalizeH="0" baseline="0" noProof="0">
              <a:ln>
                <a:noFill/>
              </a:ln>
              <a:solidFill>
                <a:srgbClr val="FFFFFF"/>
              </a:solidFill>
              <a:effectLst/>
              <a:uLnTx/>
              <a:uFillTx/>
              <a:latin typeface="Georgia"/>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a:ea typeface="+mn-ea"/>
              <a:cs typeface="+mn-cs"/>
            </a:endParaRPr>
          </a:p>
        </p:txBody>
      </p:sp>
      <p:sp>
        <p:nvSpPr>
          <p:cNvPr id="5" name="Slide Number Placeholder 4"/>
          <p:cNvSpPr>
            <a:spLocks noGrp="1"/>
          </p:cNvSpPr>
          <p:nvPr>
            <p:ph type="sldNum" sz="quarter" idx="12"/>
          </p:nvPr>
        </p:nvSpPr>
        <p:spPr>
          <a:xfrm>
            <a:off x="4343400" y="1036020"/>
            <a:ext cx="457200" cy="4413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8CADAE">
                    <a:shade val="75000"/>
                  </a:srgbClr>
                </a:solidFill>
                <a:effectLst/>
                <a:uLnTx/>
                <a:uFillTx/>
                <a:latin typeface="Georgi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8CADAE">
                  <a:shade val="75000"/>
                </a:srgbClr>
              </a:solidFill>
              <a:effectLst/>
              <a:uLnTx/>
              <a:uFillTx/>
              <a:latin typeface="Georgia"/>
              <a:ea typeface="+mn-ea"/>
              <a:cs typeface="+mn-cs"/>
            </a:endParaRPr>
          </a:p>
        </p:txBody>
      </p:sp>
    </p:spTree>
    <p:extLst>
      <p:ext uri="{BB962C8B-B14F-4D97-AF65-F5344CB8AC3E}">
        <p14:creationId xmlns:p14="http://schemas.microsoft.com/office/powerpoint/2010/main" val="892079080"/>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8" name="Rectangle 7"/>
          <p:cNvSpPr>
            <a:spLocks noChangeArrowheads="1"/>
          </p:cNvSpPr>
          <p:nvPr/>
        </p:nvSpPr>
        <p:spPr bwMode="white">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0" name="Rectangle 9"/>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9" name="Rectangle 8"/>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5" name="Rectangle 4"/>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6" name="Rectangle 5"/>
          <p:cNvSpPr>
            <a:spLocks noChangeArrowheads="1"/>
          </p:cNvSpPr>
          <p:nvPr/>
        </p:nvSpPr>
        <p:spPr bwMode="auto">
          <a:xfrm>
            <a:off x="152400" y="158496"/>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eorgia"/>
              <a:ea typeface="+mn-ea"/>
              <a:cs typeface="+mn-cs"/>
            </a:endParaRPr>
          </a:p>
        </p:txBody>
      </p:sp>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400" b="0" i="0" u="none" strike="noStrike" kern="1200" cap="none" spc="0" normalizeH="0" baseline="0" noProof="0" smtClean="0">
                <a:ln>
                  <a:noFill/>
                </a:ln>
                <a:solidFill>
                  <a:srgbClr val="FFFFFF"/>
                </a:solidFill>
                <a:effectLst/>
                <a:uLnTx/>
                <a:uFillTx/>
                <a:latin typeface="Georg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8/2024</a:t>
            </a:fld>
            <a:endParaRPr kumimoji="0" lang="en-US" sz="1400" b="0" i="0" u="none" strike="noStrike" kern="1200" cap="none" spc="0" normalizeH="0" baseline="0" noProof="0">
              <a:ln>
                <a:noFill/>
              </a:ln>
              <a:solidFill>
                <a:srgbClr val="FFFFFF"/>
              </a:solidFill>
              <a:effectLst/>
              <a:uLnTx/>
              <a:uFillTx/>
              <a:latin typeface="Georgia"/>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a:ea typeface="+mn-ea"/>
              <a:cs typeface="+mn-cs"/>
            </a:endParaRPr>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FFFFFF"/>
                </a:solidFill>
                <a:effectLst/>
                <a:uLnTx/>
                <a:uFillTx/>
                <a:latin typeface="Georgi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FFFFFF"/>
              </a:solidFill>
              <a:effectLst/>
              <a:uLnTx/>
              <a:uFillTx/>
              <a:latin typeface="Georgia"/>
              <a:ea typeface="+mn-ea"/>
              <a:cs typeface="+mn-cs"/>
            </a:endParaRPr>
          </a:p>
        </p:txBody>
      </p:sp>
    </p:spTree>
    <p:extLst>
      <p:ext uri="{BB962C8B-B14F-4D97-AF65-F5344CB8AC3E}">
        <p14:creationId xmlns:p14="http://schemas.microsoft.com/office/powerpoint/2010/main" val="1034576233"/>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9" name="Rectangle 18"/>
          <p:cNvSpPr>
            <a:spLocks noChangeArrowheads="1"/>
          </p:cNvSpPr>
          <p:nvPr/>
        </p:nvSpPr>
        <p:spPr bwMode="auto">
          <a:xfrm>
            <a:off x="152400" y="152400"/>
            <a:ext cx="8833104" cy="3048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8" name="Rectangle 17"/>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6" name="Rectangle 15"/>
          <p:cNvSpPr>
            <a:spLocks noChangeArrowheads="1"/>
          </p:cNvSpPr>
          <p:nvPr/>
        </p:nvSpPr>
        <p:spPr bwMode="white">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7" name="Rectangle 16"/>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381000" y="1981200"/>
            <a:ext cx="2362200" cy="4144963"/>
          </a:xfr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8" name="Rectangle 7"/>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eorgia"/>
              <a:ea typeface="+mn-ea"/>
              <a:cs typeface="+mn-cs"/>
            </a:endParaRPr>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20" name="Content Placeholder 19"/>
          <p:cNvSpPr>
            <a:spLocks noGrp="1"/>
          </p:cNvSpPr>
          <p:nvPr>
            <p:ph sz="quarter" idx="1"/>
          </p:nvPr>
        </p:nvSpPr>
        <p:spPr>
          <a:xfrm>
            <a:off x="3124200" y="685800"/>
            <a:ext cx="5638800" cy="54102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7" name="Slide Number Placeholder 6"/>
          <p:cNvSpPr>
            <a:spLocks noGrp="1"/>
          </p:cNvSpPr>
          <p:nvPr>
            <p:ph type="sldNum" sz="quarter" idx="12"/>
          </p:nvPr>
        </p:nvSpPr>
        <p:spPr>
          <a:xfrm>
            <a:off x="1371600" y="312738"/>
            <a:ext cx="457200" cy="441325"/>
          </a:xfrm>
        </p:spPr>
        <p:txBody>
          <a:bodyPr/>
          <a:lstStyle>
            <a:lvl1pPr>
              <a:defRPr>
                <a:solidFill>
                  <a:schemeClr val="accent3">
                    <a:shade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8CADAE">
                    <a:shade val="75000"/>
                  </a:srgbClr>
                </a:solidFill>
                <a:effectLst/>
                <a:uLnTx/>
                <a:uFillTx/>
                <a:latin typeface="Georgi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8CADAE">
                  <a:shade val="75000"/>
                </a:srgbClr>
              </a:solidFill>
              <a:effectLst/>
              <a:uLnTx/>
              <a:uFillTx/>
              <a:latin typeface="Georgia"/>
              <a:ea typeface="+mn-ea"/>
              <a:cs typeface="+mn-cs"/>
            </a:endParaRPr>
          </a:p>
        </p:txBody>
      </p:sp>
      <p:sp>
        <p:nvSpPr>
          <p:cNvPr id="21" name="Rectangle 20"/>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5" name="Date Placeholder 4"/>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400" b="0" i="0" u="none" strike="noStrike" kern="1200" cap="none" spc="0" normalizeH="0" baseline="0" noProof="0" smtClean="0">
                <a:ln>
                  <a:noFill/>
                </a:ln>
                <a:solidFill>
                  <a:srgbClr val="FFFFFF"/>
                </a:solidFill>
                <a:effectLst/>
                <a:uLnTx/>
                <a:uFillTx/>
                <a:latin typeface="Georg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8/2024</a:t>
            </a:fld>
            <a:endParaRPr kumimoji="0" lang="en-US" sz="1400" b="0" i="0" u="none" strike="noStrike" kern="1200" cap="none" spc="0" normalizeH="0" baseline="0" noProof="0">
              <a:ln>
                <a:noFill/>
              </a:ln>
              <a:solidFill>
                <a:srgbClr val="FFFFFF"/>
              </a:solidFill>
              <a:effectLst/>
              <a:uLnTx/>
              <a:uFillTx/>
              <a:latin typeface="Georgia"/>
              <a:ea typeface="+mn-ea"/>
              <a:cs typeface="+mn-cs"/>
            </a:endParaRPr>
          </a:p>
        </p:txBody>
      </p:sp>
      <p:sp>
        <p:nvSpPr>
          <p:cNvPr id="6" name="Footer Placeholder 5"/>
          <p:cNvSpPr>
            <a:spLocks noGrp="1"/>
          </p:cNvSpPr>
          <p:nvPr>
            <p:ph type="ftr" sz="quarter" idx="11"/>
          </p:nvPr>
        </p:nvSpPr>
        <p:spPr>
          <a:xfrm>
            <a:off x="301752" y="6410848"/>
            <a:ext cx="3383280" cy="36576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a:ea typeface="+mn-ea"/>
              <a:cs typeface="+mn-cs"/>
            </a:endParaRPr>
          </a:p>
        </p:txBody>
      </p:sp>
    </p:spTree>
    <p:extLst>
      <p:ext uri="{BB962C8B-B14F-4D97-AF65-F5344CB8AC3E}">
        <p14:creationId xmlns:p14="http://schemas.microsoft.com/office/powerpoint/2010/main" val="2186852928"/>
      </p:ext>
    </p:extLst>
  </p:cSld>
  <p:clrMapOvr>
    <a:overrideClrMapping bg1="lt1" tx1="dk1" bg2="lt2" tx2="dk2" accent1="accent1" accent2="accent2" accent3="accent3" accent4="accent4" accent5="accent5" accent6="accent6" hlink="hlink" folHlink="folHlink"/>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1" name="Straight Connector 20"/>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9" name="Rectangle 18"/>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6" name="Rectangle 15"/>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7" name="Rectangle 16"/>
          <p:cNvSpPr>
            <a:spLocks noChangeArrowheads="1"/>
          </p:cNvSpPr>
          <p:nvPr/>
        </p:nvSpPr>
        <p:spPr bwMode="white">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eorgia"/>
              <a:ea typeface="+mn-ea"/>
              <a:cs typeface="+mn-cs"/>
            </a:endParaRPr>
          </a:p>
        </p:txBody>
      </p:sp>
      <p:sp>
        <p:nvSpPr>
          <p:cNvPr id="20" name="Rectangle 19"/>
          <p:cNvSpPr>
            <a:spLocks noChangeArrowheads="1"/>
          </p:cNvSpPr>
          <p:nvPr/>
        </p:nvSpPr>
        <p:spPr bwMode="auto">
          <a:xfrm>
            <a:off x="152400" y="152400"/>
            <a:ext cx="8833104" cy="301752"/>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eorgia"/>
              <a:ea typeface="+mn-ea"/>
              <a:cs typeface="+mn-cs"/>
            </a:endParaRPr>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7" name="Slide Number Placeholder 6"/>
          <p:cNvSpPr>
            <a:spLocks noGrp="1"/>
          </p:cNvSpPr>
          <p:nvPr>
            <p:ph type="sldNum" sz="quarter" idx="12"/>
          </p:nvPr>
        </p:nvSpPr>
        <p:spPr>
          <a:xfrm>
            <a:off x="1371600" y="312738"/>
            <a:ext cx="457200" cy="4413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8CADAE">
                    <a:shade val="75000"/>
                  </a:srgbClr>
                </a:solidFill>
                <a:effectLst/>
                <a:uLnTx/>
                <a:uFillTx/>
                <a:latin typeface="Georgi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8CADAE">
                  <a:shade val="75000"/>
                </a:srgbClr>
              </a:solidFill>
              <a:effectLst/>
              <a:uLnTx/>
              <a:uFillTx/>
              <a:latin typeface="Georgia"/>
              <a:ea typeface="+mn-ea"/>
              <a:cs typeface="+mn-cs"/>
            </a:endParaRPr>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kumimoji="0" lang="en-US" smtClean="0"/>
              <a:t>Click to edit Master title style</a:t>
            </a:r>
            <a:endParaRPr kumimoji="0" lang="en-US"/>
          </a:p>
        </p:txBody>
      </p:sp>
      <p:sp>
        <p:nvSpPr>
          <p:cNvPr id="3" name="Picture Placeholder 2"/>
          <p:cNvSpPr>
            <a:spLocks noGrp="1"/>
          </p:cNvSpPr>
          <p:nvPr>
            <p:ph type="pic" idx="1"/>
          </p:nvPr>
        </p:nvSpPr>
        <p:spPr>
          <a:xfrm>
            <a:off x="3000375" y="609600"/>
            <a:ext cx="5867400" cy="4267200"/>
          </a:xfrm>
        </p:spPr>
        <p:txBody>
          <a:bodyPr/>
          <a:lstStyle>
            <a:lvl1pPr marL="0" indent="0">
              <a:buNone/>
              <a:defRPr sz="3200"/>
            </a:lvl1pPr>
          </a:lstStyle>
          <a:p>
            <a:r>
              <a:rPr kumimoji="0" lang="en-US" smtClean="0"/>
              <a:t>Click icon to add picture</a:t>
            </a:r>
            <a:endParaRPr kumimoji="0"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22" name="Rectangle 21"/>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5" name="Date Placeholder 4"/>
          <p:cNvSpPr>
            <a:spLocks noGrp="1"/>
          </p:cNvSpPr>
          <p:nvPr>
            <p:ph type="dt" sz="half" idx="10"/>
          </p:nvPr>
        </p:nvSpPr>
        <p:spPr>
          <a:xfrm>
            <a:off x="5788152" y="6404984"/>
            <a:ext cx="3044952" cy="3657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400" b="0" i="0" u="none" strike="noStrike" kern="1200" cap="none" spc="0" normalizeH="0" baseline="0" noProof="0" smtClean="0">
                <a:ln>
                  <a:noFill/>
                </a:ln>
                <a:solidFill>
                  <a:srgbClr val="FFFFFF"/>
                </a:solidFill>
                <a:effectLst/>
                <a:uLnTx/>
                <a:uFillTx/>
                <a:latin typeface="Georg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8/2024</a:t>
            </a:fld>
            <a:endParaRPr kumimoji="0" lang="en-US" sz="1400" b="0" i="0" u="none" strike="noStrike" kern="1200" cap="none" spc="0" normalizeH="0" baseline="0" noProof="0">
              <a:ln>
                <a:noFill/>
              </a:ln>
              <a:solidFill>
                <a:srgbClr val="FFFFFF"/>
              </a:solidFill>
              <a:effectLst/>
              <a:uLnTx/>
              <a:uFillTx/>
              <a:latin typeface="Georgia"/>
              <a:ea typeface="+mn-ea"/>
              <a:cs typeface="+mn-cs"/>
            </a:endParaRPr>
          </a:p>
        </p:txBody>
      </p:sp>
      <p:sp>
        <p:nvSpPr>
          <p:cNvPr id="6" name="Footer Placeholder 5"/>
          <p:cNvSpPr>
            <a:spLocks noGrp="1"/>
          </p:cNvSpPr>
          <p:nvPr>
            <p:ph type="ftr" sz="quarter" idx="11"/>
          </p:nvPr>
        </p:nvSpPr>
        <p:spPr>
          <a:xfrm>
            <a:off x="301752" y="6410848"/>
            <a:ext cx="3584448" cy="36576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a:ea typeface="+mn-ea"/>
              <a:cs typeface="+mn-cs"/>
            </a:endParaRPr>
          </a:p>
        </p:txBody>
      </p:sp>
    </p:spTree>
    <p:extLst>
      <p:ext uri="{BB962C8B-B14F-4D97-AF65-F5344CB8AC3E}">
        <p14:creationId xmlns:p14="http://schemas.microsoft.com/office/powerpoint/2010/main" val="590025269"/>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400" b="0" i="0" u="none" strike="noStrike" kern="1200" cap="none" spc="0" normalizeH="0" baseline="0" noProof="0" smtClean="0">
                <a:ln>
                  <a:noFill/>
                </a:ln>
                <a:solidFill>
                  <a:srgbClr val="FFFFFF"/>
                </a:solidFill>
                <a:effectLst/>
                <a:uLnTx/>
                <a:uFillTx/>
                <a:latin typeface="Georg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8/2024</a:t>
            </a:fld>
            <a:endParaRPr kumimoji="0" lang="en-US" sz="1400" b="0" i="0" u="none" strike="noStrike" kern="1200" cap="none" spc="0" normalizeH="0" baseline="0" noProof="0">
              <a:ln>
                <a:noFill/>
              </a:ln>
              <a:solidFill>
                <a:srgbClr val="FFFFFF"/>
              </a:solidFill>
              <a:effectLst/>
              <a:uLnTx/>
              <a:uFillTx/>
              <a:latin typeface="Georgia"/>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a:ea typeface="+mn-ea"/>
              <a:cs typeface="+mn-cs"/>
            </a:endParaRPr>
          </a:p>
        </p:txBody>
      </p:sp>
      <p:sp>
        <p:nvSpPr>
          <p:cNvPr id="6" name="Slide Number Placeholder 5"/>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8CADAE">
                    <a:shade val="75000"/>
                  </a:srgbClr>
                </a:solidFill>
                <a:effectLst/>
                <a:uLnTx/>
                <a:uFillTx/>
                <a:latin typeface="Georgi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8CADAE">
                  <a:shade val="75000"/>
                </a:srgbClr>
              </a:solidFill>
              <a:effectLst/>
              <a:uLnTx/>
              <a:uFillTx/>
              <a:latin typeface="Georgia"/>
              <a:ea typeface="+mn-ea"/>
              <a:cs typeface="+mn-cs"/>
            </a:endParaRPr>
          </a:p>
        </p:txBody>
      </p:sp>
    </p:spTree>
    <p:extLst>
      <p:ext uri="{BB962C8B-B14F-4D97-AF65-F5344CB8AC3E}">
        <p14:creationId xmlns:p14="http://schemas.microsoft.com/office/powerpoint/2010/main" val="3793555033"/>
      </p:ext>
    </p:extLst>
  </p:cSld>
  <p:clrMapOvr>
    <a:overrideClrMapping bg1="lt1" tx1="dk1" bg2="lt2" tx2="dk2" accent1="accent1" accent2="accent2" accent3="accent3" accent4="accent4" accent5="accent5" accent6="accent6" hlink="hlink" folHlink="folHlink"/>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8" name="Rectangle 7"/>
          <p:cNvSpPr>
            <a:spLocks noChangeArrowheads="1"/>
          </p:cNvSpPr>
          <p:nvPr/>
        </p:nvSpPr>
        <p:spPr bwMode="white">
          <a:xfrm>
            <a:off x="7010400" y="0"/>
            <a:ext cx="21336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9" name="Rectangle 8"/>
          <p:cNvSpPr>
            <a:spLocks noChangeArrowheads="1"/>
          </p:cNvSpPr>
          <p:nvPr/>
        </p:nvSpPr>
        <p:spPr bwMode="white">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0" name="Rectangle 9"/>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1" name="Rectangle 10"/>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2" name="Rectangle 11"/>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eorgia"/>
              <a:ea typeface="+mn-ea"/>
              <a:cs typeface="+mn-cs"/>
            </a:endParaRPr>
          </a:p>
        </p:txBody>
      </p:sp>
      <p:sp>
        <p:nvSpPr>
          <p:cNvPr id="13" name="Straight Connector 12"/>
          <p:cNvSpPr>
            <a:spLocks noChangeShapeType="1"/>
          </p:cNvSpPr>
          <p:nvPr/>
        </p:nvSpPr>
        <p:spPr bwMode="auto">
          <a:xfrm rot="5400000">
            <a:off x="4021836" y="3278124"/>
            <a:ext cx="6245352"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4" name="Oval 13"/>
          <p:cNvSpPr/>
          <p:nvPr/>
        </p:nvSpPr>
        <p:spPr>
          <a:xfrm>
            <a:off x="6839712" y="2925763"/>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15" name="Oval 14"/>
          <p:cNvSpPr/>
          <p:nvPr/>
        </p:nvSpPr>
        <p:spPr>
          <a:xfrm>
            <a:off x="6934200" y="3020251"/>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6" name="Slide Number Placeholder 5"/>
          <p:cNvSpPr>
            <a:spLocks noGrp="1"/>
          </p:cNvSpPr>
          <p:nvPr>
            <p:ph type="sldNum" sz="quarter" idx="12"/>
          </p:nvPr>
        </p:nvSpPr>
        <p:spPr>
          <a:xfrm>
            <a:off x="6915912" y="3009901"/>
            <a:ext cx="457200" cy="4413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8CADAE">
                    <a:shade val="75000"/>
                  </a:srgbClr>
                </a:solidFill>
                <a:effectLst/>
                <a:uLnTx/>
                <a:uFillTx/>
                <a:latin typeface="Georgi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8CADAE">
                  <a:shade val="75000"/>
                </a:srgbClr>
              </a:solidFill>
              <a:effectLst/>
              <a:uLnTx/>
              <a:uFillTx/>
              <a:latin typeface="Georgia"/>
              <a:ea typeface="+mn-ea"/>
              <a:cs typeface="+mn-cs"/>
            </a:endParaRPr>
          </a:p>
        </p:txBody>
      </p:sp>
      <p:sp>
        <p:nvSpPr>
          <p:cNvPr id="3" name="Vertical Text Placeholder 2"/>
          <p:cNvSpPr>
            <a:spLocks noGrp="1"/>
          </p:cNvSpPr>
          <p:nvPr>
            <p:ph type="body" orient="vert" idx="1"/>
          </p:nvPr>
        </p:nvSpPr>
        <p:spPr>
          <a:xfrm>
            <a:off x="304800" y="304800"/>
            <a:ext cx="6553200" cy="5821366"/>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400" b="0" i="0" u="none" strike="noStrike" kern="1200" cap="none" spc="0" normalizeH="0" baseline="0" noProof="0" smtClean="0">
                <a:ln>
                  <a:noFill/>
                </a:ln>
                <a:solidFill>
                  <a:srgbClr val="FFFFFF"/>
                </a:solidFill>
                <a:effectLst/>
                <a:uLnTx/>
                <a:uFillTx/>
                <a:latin typeface="Georg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8/2024</a:t>
            </a:fld>
            <a:endParaRPr kumimoji="0" lang="en-US" sz="1400" b="0" i="0" u="none" strike="noStrike" kern="1200" cap="none" spc="0" normalizeH="0" baseline="0" noProof="0">
              <a:ln>
                <a:noFill/>
              </a:ln>
              <a:solidFill>
                <a:srgbClr val="FFFFFF"/>
              </a:solidFill>
              <a:effectLst/>
              <a:uLnTx/>
              <a:uFillTx/>
              <a:latin typeface="Georgia"/>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a:ea typeface="+mn-ea"/>
              <a:cs typeface="+mn-cs"/>
            </a:endParaRPr>
          </a:p>
        </p:txBody>
      </p:sp>
      <p:sp>
        <p:nvSpPr>
          <p:cNvPr id="2" name="Vertical Title 1"/>
          <p:cNvSpPr>
            <a:spLocks noGrp="1"/>
          </p:cNvSpPr>
          <p:nvPr>
            <p:ph type="title" orient="vert"/>
          </p:nvPr>
        </p:nvSpPr>
        <p:spPr>
          <a:xfrm>
            <a:off x="7391400" y="304801"/>
            <a:ext cx="1447800" cy="5851525"/>
          </a:xfrm>
        </p:spPr>
        <p:txBody>
          <a:bodyPr vert="eaVert"/>
          <a:lstStyle/>
          <a:p>
            <a:r>
              <a:rPr kumimoji="0" lang="en-US" smtClean="0"/>
              <a:t>Click to edit Master title style</a:t>
            </a:r>
            <a:endParaRPr kumimoji="0" lang="en-US"/>
          </a:p>
        </p:txBody>
      </p:sp>
    </p:spTree>
    <p:extLst>
      <p:ext uri="{BB962C8B-B14F-4D97-AF65-F5344CB8AC3E}">
        <p14:creationId xmlns:p14="http://schemas.microsoft.com/office/powerpoint/2010/main" val="2913585864"/>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5" name="Date Placeholder 4"/>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88F465F-DAF4-455E-950B-4E617B86F3AD}" type="slidenum">
              <a:rPr lang="en-US" smtClean="0"/>
              <a:pPr/>
              <a:t>‹#›</a:t>
            </a:fld>
            <a:endParaRPr lang="en-US"/>
          </a:p>
        </p:txBody>
      </p:sp>
      <p:sp>
        <p:nvSpPr>
          <p:cNvPr id="9" name="Content Placeholder 8"/>
          <p:cNvSpPr>
            <a:spLocks noGrp="1"/>
          </p:cNvSpPr>
          <p:nvPr>
            <p:ph sz="quarter" idx="1"/>
          </p:nvPr>
        </p:nvSpPr>
        <p:spPr>
          <a:xfrm>
            <a:off x="914400" y="1447800"/>
            <a:ext cx="3749040" cy="45720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933950" y="1447800"/>
            <a:ext cx="3749040" cy="45720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8988B35-5041-4E5F-91F9-C1BE79D39C2B}"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076421116"/>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2" name="Group 1026"/>
          <p:cNvGrpSpPr>
            <a:grpSpLocks/>
          </p:cNvGrpSpPr>
          <p:nvPr/>
        </p:nvGrpSpPr>
        <p:grpSpPr bwMode="auto">
          <a:xfrm>
            <a:off x="-1035050" y="1552575"/>
            <a:ext cx="10179050" cy="5305425"/>
            <a:chOff x="-652" y="978"/>
            <a:chExt cx="6412" cy="3342"/>
          </a:xfrm>
        </p:grpSpPr>
        <p:sp>
          <p:nvSpPr>
            <p:cNvPr id="5" name="Freeform 1027"/>
            <p:cNvSpPr>
              <a:spLocks/>
            </p:cNvSpPr>
            <p:nvPr/>
          </p:nvSpPr>
          <p:spPr bwMode="auto">
            <a:xfrm>
              <a:off x="2061" y="1707"/>
              <a:ext cx="3699" cy="2613"/>
            </a:xfrm>
            <a:custGeom>
              <a:avLst/>
              <a:gdLst/>
              <a:ahLst/>
              <a:cxnLst>
                <a:cxn ang="0">
                  <a:pos x="1523" y="2611"/>
                </a:cxn>
                <a:cxn ang="0">
                  <a:pos x="3698" y="2612"/>
                </a:cxn>
                <a:cxn ang="0">
                  <a:pos x="3698" y="2228"/>
                </a:cxn>
                <a:cxn ang="0">
                  <a:pos x="0" y="0"/>
                </a:cxn>
                <a:cxn ang="0">
                  <a:pos x="160" y="118"/>
                </a:cxn>
                <a:cxn ang="0">
                  <a:pos x="292" y="219"/>
                </a:cxn>
                <a:cxn ang="0">
                  <a:pos x="441" y="347"/>
                </a:cxn>
                <a:cxn ang="0">
                  <a:pos x="585" y="482"/>
                </a:cxn>
                <a:cxn ang="0">
                  <a:pos x="796" y="711"/>
                </a:cxn>
                <a:cxn ang="0">
                  <a:pos x="983" y="955"/>
                </a:cxn>
                <a:cxn ang="0">
                  <a:pos x="1119" y="1168"/>
                </a:cxn>
                <a:cxn ang="0">
                  <a:pos x="1238" y="1388"/>
                </a:cxn>
                <a:cxn ang="0">
                  <a:pos x="1331" y="1608"/>
                </a:cxn>
                <a:cxn ang="0">
                  <a:pos x="1400" y="1809"/>
                </a:cxn>
                <a:cxn ang="0">
                  <a:pos x="1447" y="1979"/>
                </a:cxn>
                <a:cxn ang="0">
                  <a:pos x="1490" y="2190"/>
                </a:cxn>
                <a:cxn ang="0">
                  <a:pos x="1511" y="2374"/>
                </a:cxn>
                <a:cxn ang="0">
                  <a:pos x="1523" y="2611"/>
                </a:cxn>
              </a:cxnLst>
              <a:rect l="0" t="0" r="r" b="b"/>
              <a:pathLst>
                <a:path w="3699" h="2613">
                  <a:moveTo>
                    <a:pt x="1523" y="2611"/>
                  </a:moveTo>
                  <a:lnTo>
                    <a:pt x="3698" y="2612"/>
                  </a:lnTo>
                  <a:lnTo>
                    <a:pt x="3698" y="2228"/>
                  </a:lnTo>
                  <a:lnTo>
                    <a:pt x="0" y="0"/>
                  </a:lnTo>
                  <a:lnTo>
                    <a:pt x="160" y="118"/>
                  </a:lnTo>
                  <a:lnTo>
                    <a:pt x="292" y="219"/>
                  </a:lnTo>
                  <a:lnTo>
                    <a:pt x="441" y="347"/>
                  </a:lnTo>
                  <a:lnTo>
                    <a:pt x="585" y="482"/>
                  </a:lnTo>
                  <a:lnTo>
                    <a:pt x="796" y="711"/>
                  </a:lnTo>
                  <a:lnTo>
                    <a:pt x="983" y="955"/>
                  </a:lnTo>
                  <a:lnTo>
                    <a:pt x="1119" y="1168"/>
                  </a:lnTo>
                  <a:lnTo>
                    <a:pt x="1238" y="1388"/>
                  </a:lnTo>
                  <a:lnTo>
                    <a:pt x="1331" y="1608"/>
                  </a:lnTo>
                  <a:lnTo>
                    <a:pt x="1400" y="1809"/>
                  </a:lnTo>
                  <a:lnTo>
                    <a:pt x="1447" y="1979"/>
                  </a:lnTo>
                  <a:lnTo>
                    <a:pt x="1490" y="2190"/>
                  </a:lnTo>
                  <a:lnTo>
                    <a:pt x="1511" y="2374"/>
                  </a:lnTo>
                  <a:lnTo>
                    <a:pt x="1523" y="2611"/>
                  </a:lnTo>
                </a:path>
              </a:pathLst>
            </a:custGeom>
            <a:gradFill rotWithShape="0">
              <a:gsLst>
                <a:gs pos="0">
                  <a:schemeClr val="accent2">
                    <a:gamma/>
                    <a:shade val="46275"/>
                    <a:invGamma/>
                  </a:schemeClr>
                </a:gs>
                <a:gs pos="100000">
                  <a:schemeClr val="accent2"/>
                </a:gs>
              </a:gsLst>
              <a:lin ang="0" scaled="1"/>
            </a:gradFill>
            <a:ln w="9525" cap="rnd">
              <a:no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r-EG" sz="18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6" name="Arc 1028"/>
            <p:cNvSpPr>
              <a:spLocks/>
            </p:cNvSpPr>
            <p:nvPr/>
          </p:nvSpPr>
          <p:spPr bwMode="auto">
            <a:xfrm>
              <a:off x="-652" y="978"/>
              <a:ext cx="4237" cy="3342"/>
            </a:xfrm>
            <a:custGeom>
              <a:avLst/>
              <a:gdLst>
                <a:gd name="G0" fmla="+- 0 0 0"/>
                <a:gd name="G1" fmla="+- 21231 0 0"/>
                <a:gd name="G2" fmla="+- 21600 0 0"/>
                <a:gd name="T0" fmla="*/ 3977 w 21600"/>
                <a:gd name="T1" fmla="*/ 0 h 21231"/>
                <a:gd name="T2" fmla="*/ 21600 w 21600"/>
                <a:gd name="T3" fmla="*/ 21231 h 21231"/>
                <a:gd name="T4" fmla="*/ 0 w 21600"/>
                <a:gd name="T5" fmla="*/ 21231 h 21231"/>
              </a:gdLst>
              <a:ahLst/>
              <a:cxnLst>
                <a:cxn ang="0">
                  <a:pos x="T0" y="T1"/>
                </a:cxn>
                <a:cxn ang="0">
                  <a:pos x="T2" y="T3"/>
                </a:cxn>
                <a:cxn ang="0">
                  <a:pos x="T4" y="T5"/>
                </a:cxn>
              </a:cxnLst>
              <a:rect l="0" t="0" r="r" b="b"/>
              <a:pathLst>
                <a:path w="21600" h="21231" fill="none" extrusionOk="0">
                  <a:moveTo>
                    <a:pt x="3976" y="0"/>
                  </a:moveTo>
                  <a:cubicBezTo>
                    <a:pt x="14194" y="1914"/>
                    <a:pt x="21600" y="10835"/>
                    <a:pt x="21600" y="21231"/>
                  </a:cubicBezTo>
                </a:path>
                <a:path w="21600" h="21231" stroke="0" extrusionOk="0">
                  <a:moveTo>
                    <a:pt x="3976" y="0"/>
                  </a:moveTo>
                  <a:cubicBezTo>
                    <a:pt x="14194" y="1914"/>
                    <a:pt x="21600" y="10835"/>
                    <a:pt x="21600" y="21231"/>
                  </a:cubicBezTo>
                  <a:lnTo>
                    <a:pt x="0" y="21231"/>
                  </a:lnTo>
                  <a:close/>
                </a:path>
              </a:pathLst>
            </a:custGeom>
            <a:noFill/>
            <a:ln w="12700" cap="rnd">
              <a:solidFill>
                <a:schemeClr val="accent2"/>
              </a:solidFill>
              <a:round/>
              <a:headEnd type="none" w="sm" len="sm"/>
              <a:tailEnd type="none" w="sm" len="sm"/>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r-EG" sz="1800" b="0" i="0" u="none" strike="noStrike" kern="1200" cap="none" spc="0" normalizeH="0" baseline="0" noProof="0">
                <a:ln>
                  <a:noFill/>
                </a:ln>
                <a:solidFill>
                  <a:srgbClr val="FFFFFF"/>
                </a:solidFill>
                <a:effectLst/>
                <a:uLnTx/>
                <a:uFillTx/>
                <a:latin typeface="Times New Roman"/>
                <a:ea typeface="SimSun"/>
                <a:cs typeface="+mn-cs"/>
              </a:endParaRPr>
            </a:p>
          </p:txBody>
        </p:sp>
      </p:grpSp>
      <p:sp>
        <p:nvSpPr>
          <p:cNvPr id="82949" name="Rectangle 1029"/>
          <p:cNvSpPr>
            <a:spLocks noGrp="1" noChangeArrowheads="1"/>
          </p:cNvSpPr>
          <p:nvPr>
            <p:ph type="ctrTitle" sz="quarter"/>
          </p:nvPr>
        </p:nvSpPr>
        <p:spPr>
          <a:xfrm>
            <a:off x="1293813" y="762000"/>
            <a:ext cx="7772400" cy="1143000"/>
          </a:xfrm>
        </p:spPr>
        <p:txBody>
          <a:bodyPr anchor="b"/>
          <a:lstStyle>
            <a:lvl1pPr>
              <a:defRPr/>
            </a:lvl1pPr>
          </a:lstStyle>
          <a:p>
            <a:r>
              <a:rPr lang="zh-CN" altLang="en-US"/>
              <a:t>单击此处编辑母版标题样式</a:t>
            </a:r>
          </a:p>
        </p:txBody>
      </p:sp>
      <p:sp>
        <p:nvSpPr>
          <p:cNvPr id="82950" name="Rectangle 1030"/>
          <p:cNvSpPr>
            <a:spLocks noGrp="1" noChangeArrowheads="1"/>
          </p:cNvSpPr>
          <p:nvPr>
            <p:ph type="subTitle" sz="quarter" idx="1"/>
          </p:nvPr>
        </p:nvSpPr>
        <p:spPr>
          <a:xfrm>
            <a:off x="685800" y="3429000"/>
            <a:ext cx="6400800" cy="1752600"/>
          </a:xfrm>
        </p:spPr>
        <p:txBody>
          <a:bodyPr lIns="92075" tIns="46038" rIns="92075" bIns="46038" anchor="ctr"/>
          <a:lstStyle>
            <a:lvl1pPr marL="0" indent="0" algn="ctr">
              <a:buFont typeface="Wingdings" pitchFamily="2" charset="2"/>
              <a:buNone/>
              <a:defRPr/>
            </a:lvl1pPr>
          </a:lstStyle>
          <a:p>
            <a:r>
              <a:rPr lang="zh-CN" altLang="en-US"/>
              <a:t>单击此处编辑母版副标题样式</a:t>
            </a:r>
          </a:p>
        </p:txBody>
      </p:sp>
      <p:sp>
        <p:nvSpPr>
          <p:cNvPr id="7" name="Rectangle 1031"/>
          <p:cNvSpPr>
            <a:spLocks noGrp="1" noChangeArrowheads="1"/>
          </p:cNvSpPr>
          <p:nvPr>
            <p:ph type="dt" sz="quarter"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8" name="Rectangle 1032"/>
          <p:cNvSpPr>
            <a:spLocks noGrp="1" noChangeArrowheads="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9" name="Rectangle 1033"/>
          <p:cNvSpPr>
            <a:spLocks noGrp="1" noChangeArrowheads="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7F282E7-5025-46A7-B033-538B5B313A8A}" type="slidenum">
              <a:rPr kumimoji="0" lang="en-US" altLang="zh-CN" sz="1400" b="0" i="0" u="none" strike="noStrike" kern="1200" cap="none" spc="0" normalizeH="0" baseline="0" noProof="0">
                <a:ln>
                  <a:noFill/>
                </a:ln>
                <a:solidFill>
                  <a:srgbClr val="FFFFFF"/>
                </a:solidFill>
                <a:effectLst/>
                <a:uLnTx/>
                <a:uFillTx/>
                <a:latin typeface="Times New Roman"/>
                <a:ea typeface="SimSun"/>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Tree>
    <p:extLst>
      <p:ext uri="{BB962C8B-B14F-4D97-AF65-F5344CB8AC3E}">
        <p14:creationId xmlns:p14="http://schemas.microsoft.com/office/powerpoint/2010/main" val="201427293"/>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EG"/>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4" name="Rectangle 1030"/>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5" name="Rectangle 1031"/>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6" name="Rectangle 1032"/>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97A170D-7540-4A79-8823-FA3ADB67D221}" type="slidenum">
              <a:rPr kumimoji="0" lang="en-US" altLang="zh-CN" sz="1400" b="0" i="0" u="none" strike="noStrike" kern="1200" cap="none" spc="0" normalizeH="0" baseline="0" noProof="0">
                <a:ln>
                  <a:noFill/>
                </a:ln>
                <a:solidFill>
                  <a:srgbClr val="FFFFFF"/>
                </a:solidFill>
                <a:effectLst/>
                <a:uLnTx/>
                <a:uFillTx/>
                <a:latin typeface="Times New Roman"/>
                <a:ea typeface="SimSun"/>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Tree>
    <p:extLst>
      <p:ext uri="{BB962C8B-B14F-4D97-AF65-F5344CB8AC3E}">
        <p14:creationId xmlns:p14="http://schemas.microsoft.com/office/powerpoint/2010/main" val="1287947382"/>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r">
              <a:defRPr sz="4000" b="1" cap="all"/>
            </a:lvl1pPr>
          </a:lstStyle>
          <a:p>
            <a:r>
              <a:rPr lang="en-US" smtClean="0"/>
              <a:t>Click to edit Master title style</a:t>
            </a:r>
            <a:endParaRPr lang="ar-EG"/>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030"/>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5" name="Rectangle 1031"/>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6" name="Rectangle 1032"/>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DF0D2C4-9562-4094-A5C6-1CC6C1CD3E23}" type="slidenum">
              <a:rPr kumimoji="0" lang="en-US" altLang="zh-CN" sz="1400" b="0" i="0" u="none" strike="noStrike" kern="1200" cap="none" spc="0" normalizeH="0" baseline="0" noProof="0">
                <a:ln>
                  <a:noFill/>
                </a:ln>
                <a:solidFill>
                  <a:srgbClr val="FFFFFF"/>
                </a:solidFill>
                <a:effectLst/>
                <a:uLnTx/>
                <a:uFillTx/>
                <a:latin typeface="Times New Roman"/>
                <a:ea typeface="SimSun"/>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Tree>
    <p:extLst>
      <p:ext uri="{BB962C8B-B14F-4D97-AF65-F5344CB8AC3E}">
        <p14:creationId xmlns:p14="http://schemas.microsoft.com/office/powerpoint/2010/main" val="3742287629"/>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EG"/>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5" name="Rectangle 1030"/>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6" name="Rectangle 1031"/>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7" name="Rectangle 1032"/>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F6A789D-D142-462A-9AE0-953CF9360352}" type="slidenum">
              <a:rPr kumimoji="0" lang="en-US" altLang="zh-CN" sz="1400" b="0" i="0" u="none" strike="noStrike" kern="1200" cap="none" spc="0" normalizeH="0" baseline="0" noProof="0">
                <a:ln>
                  <a:noFill/>
                </a:ln>
                <a:solidFill>
                  <a:srgbClr val="FFFFFF"/>
                </a:solidFill>
                <a:effectLst/>
                <a:uLnTx/>
                <a:uFillTx/>
                <a:latin typeface="Times New Roman"/>
                <a:ea typeface="SimSun"/>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Tree>
    <p:extLst>
      <p:ext uri="{BB962C8B-B14F-4D97-AF65-F5344CB8AC3E}">
        <p14:creationId xmlns:p14="http://schemas.microsoft.com/office/powerpoint/2010/main" val="181829478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ar-EG"/>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7" name="Rectangle 1030"/>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8" name="Rectangle 1031"/>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9" name="Rectangle 1032"/>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45711B-0325-4C20-BFF1-AC3268020DC2}" type="slidenum">
              <a:rPr kumimoji="0" lang="en-US" altLang="zh-CN" sz="1400" b="0" i="0" u="none" strike="noStrike" kern="1200" cap="none" spc="0" normalizeH="0" baseline="0" noProof="0">
                <a:ln>
                  <a:noFill/>
                </a:ln>
                <a:solidFill>
                  <a:srgbClr val="FFFFFF"/>
                </a:solidFill>
                <a:effectLst/>
                <a:uLnTx/>
                <a:uFillTx/>
                <a:latin typeface="Times New Roman"/>
                <a:ea typeface="SimSun"/>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Tree>
    <p:extLst>
      <p:ext uri="{BB962C8B-B14F-4D97-AF65-F5344CB8AC3E}">
        <p14:creationId xmlns:p14="http://schemas.microsoft.com/office/powerpoint/2010/main" val="552580432"/>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EG"/>
          </a:p>
        </p:txBody>
      </p:sp>
      <p:sp>
        <p:nvSpPr>
          <p:cNvPr id="3" name="Rectangle 1030"/>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4" name="Rectangle 1031"/>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5" name="Rectangle 1032"/>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A7977B6-D0AE-4B58-B890-2BFA938D8143}" type="slidenum">
              <a:rPr kumimoji="0" lang="en-US" altLang="zh-CN" sz="1400" b="0" i="0" u="none" strike="noStrike" kern="1200" cap="none" spc="0" normalizeH="0" baseline="0" noProof="0">
                <a:ln>
                  <a:noFill/>
                </a:ln>
                <a:solidFill>
                  <a:srgbClr val="FFFFFF"/>
                </a:solidFill>
                <a:effectLst/>
                <a:uLnTx/>
                <a:uFillTx/>
                <a:latin typeface="Times New Roman"/>
                <a:ea typeface="SimSun"/>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Tree>
    <p:extLst>
      <p:ext uri="{BB962C8B-B14F-4D97-AF65-F5344CB8AC3E}">
        <p14:creationId xmlns:p14="http://schemas.microsoft.com/office/powerpoint/2010/main" val="21733008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030"/>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3" name="Rectangle 1031"/>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4" name="Rectangle 1032"/>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1B19FDB-9085-4B08-9AE0-4AB7912FF13F}" type="slidenum">
              <a:rPr kumimoji="0" lang="en-US" altLang="zh-CN" sz="1400" b="0" i="0" u="none" strike="noStrike" kern="1200" cap="none" spc="0" normalizeH="0" baseline="0" noProof="0">
                <a:ln>
                  <a:noFill/>
                </a:ln>
                <a:solidFill>
                  <a:srgbClr val="FFFFFF"/>
                </a:solidFill>
                <a:effectLst/>
                <a:uLnTx/>
                <a:uFillTx/>
                <a:latin typeface="Times New Roman"/>
                <a:ea typeface="SimSun"/>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Tree>
    <p:extLst>
      <p:ext uri="{BB962C8B-B14F-4D97-AF65-F5344CB8AC3E}">
        <p14:creationId xmlns:p14="http://schemas.microsoft.com/office/powerpoint/2010/main" val="3096089471"/>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r">
              <a:defRPr sz="2000" b="1"/>
            </a:lvl1pPr>
          </a:lstStyle>
          <a:p>
            <a:r>
              <a:rPr lang="en-US" smtClean="0"/>
              <a:t>Click to edit Master title style</a:t>
            </a:r>
            <a:endParaRPr lang="ar-EG"/>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030"/>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6" name="Rectangle 1031"/>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7" name="Rectangle 1032"/>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481962B-D457-4271-B950-7A908A372EEF}" type="slidenum">
              <a:rPr kumimoji="0" lang="en-US" altLang="zh-CN" sz="1400" b="0" i="0" u="none" strike="noStrike" kern="1200" cap="none" spc="0" normalizeH="0" baseline="0" noProof="0">
                <a:ln>
                  <a:noFill/>
                </a:ln>
                <a:solidFill>
                  <a:srgbClr val="FFFFFF"/>
                </a:solidFill>
                <a:effectLst/>
                <a:uLnTx/>
                <a:uFillTx/>
                <a:latin typeface="Times New Roman"/>
                <a:ea typeface="SimSun"/>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Tree>
    <p:extLst>
      <p:ext uri="{BB962C8B-B14F-4D97-AF65-F5344CB8AC3E}">
        <p14:creationId xmlns:p14="http://schemas.microsoft.com/office/powerpoint/2010/main" val="17461776"/>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r">
              <a:defRPr sz="2000" b="1"/>
            </a:lvl1pPr>
          </a:lstStyle>
          <a:p>
            <a:r>
              <a:rPr lang="en-US" smtClean="0"/>
              <a:t>Click to edit Master title style</a:t>
            </a:r>
            <a:endParaRPr lang="ar-EG"/>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ar-EG"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030"/>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6" name="Rectangle 1031"/>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7" name="Rectangle 1032"/>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822CF13-1BC8-43F7-B7A8-950D9A17634D}" type="slidenum">
              <a:rPr kumimoji="0" lang="en-US" altLang="zh-CN" sz="1400" b="0" i="0" u="none" strike="noStrike" kern="1200" cap="none" spc="0" normalizeH="0" baseline="0" noProof="0">
                <a:ln>
                  <a:noFill/>
                </a:ln>
                <a:solidFill>
                  <a:srgbClr val="FFFFFF"/>
                </a:solidFill>
                <a:effectLst/>
                <a:uLnTx/>
                <a:uFillTx/>
                <a:latin typeface="Times New Roman"/>
                <a:ea typeface="SimSun"/>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Tree>
    <p:extLst>
      <p:ext uri="{BB962C8B-B14F-4D97-AF65-F5344CB8AC3E}">
        <p14:creationId xmlns:p14="http://schemas.microsoft.com/office/powerpoint/2010/main" val="58005072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EG"/>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4" name="Rectangle 1030"/>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5" name="Rectangle 1031"/>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6" name="Rectangle 1032"/>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5625A1C-8A49-4876-B320-F985E2CBDCD9}" type="slidenum">
              <a:rPr kumimoji="0" lang="en-US" altLang="zh-CN" sz="1400" b="0" i="0" u="none" strike="noStrike" kern="1200" cap="none" spc="0" normalizeH="0" baseline="0" noProof="0">
                <a:ln>
                  <a:noFill/>
                </a:ln>
                <a:solidFill>
                  <a:srgbClr val="FFFFFF"/>
                </a:solidFill>
                <a:effectLst/>
                <a:uLnTx/>
                <a:uFillTx/>
                <a:latin typeface="Times New Roman"/>
                <a:ea typeface="SimSun"/>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Tree>
    <p:extLst>
      <p:ext uri="{BB962C8B-B14F-4D97-AF65-F5344CB8AC3E}">
        <p14:creationId xmlns:p14="http://schemas.microsoft.com/office/powerpoint/2010/main" val="21845134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9CE51718-343F-4BC2-965B-E3D0AE931C51}"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115594270"/>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ar-EG"/>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4" name="Rectangle 1030"/>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5" name="Rectangle 1031"/>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6" name="Rectangle 1032"/>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C43E02-C38B-4A75-8E20-9E03385C992B}" type="slidenum">
              <a:rPr kumimoji="0" lang="en-US" altLang="zh-CN" sz="1400" b="0" i="0" u="none" strike="noStrike" kern="1200" cap="none" spc="0" normalizeH="0" baseline="0" noProof="0">
                <a:ln>
                  <a:noFill/>
                </a:ln>
                <a:solidFill>
                  <a:srgbClr val="FFFFFF"/>
                </a:solidFill>
                <a:effectLst/>
                <a:uLnTx/>
                <a:uFillTx/>
                <a:latin typeface="Times New Roman"/>
                <a:ea typeface="SimSun"/>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Tree>
    <p:extLst>
      <p:ext uri="{BB962C8B-B14F-4D97-AF65-F5344CB8AC3E}">
        <p14:creationId xmlns:p14="http://schemas.microsoft.com/office/powerpoint/2010/main" val="1759751036"/>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ar-EG"/>
          </a:p>
        </p:txBody>
      </p:sp>
      <p:sp>
        <p:nvSpPr>
          <p:cNvPr id="3" name="Text Placeholder 2"/>
          <p:cNvSpPr>
            <a:spLocks noGrp="1"/>
          </p:cNvSpPr>
          <p:nvPr>
            <p:ph type="body"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4" name="ClipArt Placeholder 3"/>
          <p:cNvSpPr>
            <a:spLocks noGrp="1"/>
          </p:cNvSpPr>
          <p:nvPr>
            <p:ph type="clipArt" sz="half" idx="2"/>
          </p:nvPr>
        </p:nvSpPr>
        <p:spPr>
          <a:xfrm>
            <a:off x="4648200" y="1981200"/>
            <a:ext cx="3810000" cy="4114800"/>
          </a:xfrm>
        </p:spPr>
        <p:txBody>
          <a:bodyPr/>
          <a:lstStyle/>
          <a:p>
            <a:pPr lvl="0"/>
            <a:endParaRPr lang="ar-EG" noProof="0" smtClean="0"/>
          </a:p>
        </p:txBody>
      </p:sp>
      <p:sp>
        <p:nvSpPr>
          <p:cNvPr id="5" name="Rectangle 1030"/>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6" name="Rectangle 1031"/>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7" name="Rectangle 1032"/>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52598FF-136C-471D-9A0F-1E1B9F98A09F}" type="slidenum">
              <a:rPr kumimoji="0" lang="en-US" altLang="zh-CN" sz="1400" b="0" i="0" u="none" strike="noStrike" kern="1200" cap="none" spc="0" normalizeH="0" baseline="0" noProof="0">
                <a:ln>
                  <a:noFill/>
                </a:ln>
                <a:solidFill>
                  <a:srgbClr val="FFFFFF"/>
                </a:solidFill>
                <a:effectLst/>
                <a:uLnTx/>
                <a:uFillTx/>
                <a:latin typeface="Times New Roman"/>
                <a:ea typeface="SimSun"/>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Tree>
    <p:extLst>
      <p:ext uri="{BB962C8B-B14F-4D97-AF65-F5344CB8AC3E}">
        <p14:creationId xmlns:p14="http://schemas.microsoft.com/office/powerpoint/2010/main" val="1028783736"/>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ar-EG"/>
          </a:p>
        </p:txBody>
      </p:sp>
      <p:sp>
        <p:nvSpPr>
          <p:cNvPr id="3" name="Table Placeholder 2"/>
          <p:cNvSpPr>
            <a:spLocks noGrp="1"/>
          </p:cNvSpPr>
          <p:nvPr>
            <p:ph type="tbl" idx="1"/>
          </p:nvPr>
        </p:nvSpPr>
        <p:spPr>
          <a:xfrm>
            <a:off x="685800" y="1981200"/>
            <a:ext cx="7772400" cy="4114800"/>
          </a:xfrm>
        </p:spPr>
        <p:txBody>
          <a:bodyPr/>
          <a:lstStyle/>
          <a:p>
            <a:pPr lvl="0"/>
            <a:endParaRPr lang="ar-EG" noProof="0" smtClean="0"/>
          </a:p>
        </p:txBody>
      </p:sp>
      <p:sp>
        <p:nvSpPr>
          <p:cNvPr id="4" name="Rectangle 1030"/>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5" name="Rectangle 1031"/>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6" name="Rectangle 1032"/>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34724EA-02E5-4640-B69D-9A99C99FEA27}" type="slidenum">
              <a:rPr kumimoji="0" lang="en-US" altLang="zh-CN" sz="1400" b="0" i="0" u="none" strike="noStrike" kern="1200" cap="none" spc="0" normalizeH="0" baseline="0" noProof="0">
                <a:ln>
                  <a:noFill/>
                </a:ln>
                <a:solidFill>
                  <a:srgbClr val="FFFFFF"/>
                </a:solidFill>
                <a:effectLst/>
                <a:uLnTx/>
                <a:uFillTx/>
                <a:latin typeface="Times New Roman"/>
                <a:ea typeface="SimSun"/>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Tree>
    <p:extLst>
      <p:ext uri="{BB962C8B-B14F-4D97-AF65-F5344CB8AC3E}">
        <p14:creationId xmlns:p14="http://schemas.microsoft.com/office/powerpoint/2010/main" val="138778846"/>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ar-EG"/>
          </a:p>
        </p:txBody>
      </p:sp>
      <p:sp>
        <p:nvSpPr>
          <p:cNvPr id="3" name="Text Placeholder 2"/>
          <p:cNvSpPr>
            <a:spLocks noGrp="1"/>
          </p:cNvSpPr>
          <p:nvPr>
            <p:ph type="body"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4" name="Content Placeholder 3"/>
          <p:cNvSpPr>
            <a:spLocks noGrp="1"/>
          </p:cNvSpPr>
          <p:nvPr>
            <p:ph sz="half" idx="2"/>
          </p:nvPr>
        </p:nvSpPr>
        <p:spPr>
          <a:xfrm>
            <a:off x="46482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5" name="Rectangle 1030"/>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6" name="Rectangle 1031"/>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7" name="Rectangle 1032"/>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5DFE12E-9496-4CE1-87FF-AD081EE58591}" type="slidenum">
              <a:rPr kumimoji="0" lang="en-US" altLang="zh-CN" sz="1400" b="0" i="0" u="none" strike="noStrike" kern="1200" cap="none" spc="0" normalizeH="0" baseline="0" noProof="0">
                <a:ln>
                  <a:noFill/>
                </a:ln>
                <a:solidFill>
                  <a:srgbClr val="FFFFFF"/>
                </a:solidFill>
                <a:effectLst/>
                <a:uLnTx/>
                <a:uFillTx/>
                <a:latin typeface="Times New Roman"/>
                <a:ea typeface="SimSun"/>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Tree>
    <p:extLst>
      <p:ext uri="{BB962C8B-B14F-4D97-AF65-F5344CB8AC3E}">
        <p14:creationId xmlns:p14="http://schemas.microsoft.com/office/powerpoint/2010/main" val="307295665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ontent Placeholder 2"/>
          <p:cNvSpPr>
            <a:spLocks noGrp="1"/>
          </p:cNvSpPr>
          <p:nvPr>
            <p:ph sz="half" idx="1"/>
          </p:nvPr>
        </p:nvSpPr>
        <p:spPr>
          <a:xfrm>
            <a:off x="457200" y="1600200"/>
            <a:ext cx="82296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3938588"/>
            <a:ext cx="82296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553200" y="6245225"/>
            <a:ext cx="2133600" cy="476250"/>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400" b="0" i="0" u="none" strike="noStrike" kern="1200" cap="none" spc="0" normalizeH="0" baseline="0" noProof="0">
              <a:ln>
                <a:noFill/>
              </a:ln>
              <a:solidFill>
                <a:srgbClr val="000000"/>
              </a:solidFill>
              <a:effectLst/>
              <a:uLnTx/>
              <a:uFillTx/>
              <a:latin typeface="Times New Roman"/>
              <a:ea typeface="SimSun"/>
              <a:cs typeface="+mn-cs"/>
            </a:endParaRPr>
          </a:p>
        </p:txBody>
      </p:sp>
      <p:sp>
        <p:nvSpPr>
          <p:cNvPr id="6" name="Footer Placeholder 5"/>
          <p:cNvSpPr>
            <a:spLocks noGrp="1"/>
          </p:cNvSpPr>
          <p:nvPr>
            <p:ph type="ftr" sz="quarter" idx="11"/>
          </p:nvPr>
        </p:nvSpPr>
        <p:spPr>
          <a:xfrm>
            <a:off x="3124200" y="6245225"/>
            <a:ext cx="2895600" cy="476250"/>
          </a:xfrm>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1400" b="0" i="0" u="none" strike="noStrike" kern="1200" cap="none" spc="0" normalizeH="0" baseline="0" noProof="0">
              <a:ln>
                <a:noFill/>
              </a:ln>
              <a:solidFill>
                <a:srgbClr val="000000"/>
              </a:solidFill>
              <a:effectLst/>
              <a:uLnTx/>
              <a:uFillTx/>
              <a:latin typeface="Times New Roman"/>
              <a:ea typeface="SimSun"/>
              <a:cs typeface="+mn-cs"/>
            </a:endParaRPr>
          </a:p>
        </p:txBody>
      </p:sp>
      <p:sp>
        <p:nvSpPr>
          <p:cNvPr id="7" name="Slide Number Placeholder 6"/>
          <p:cNvSpPr>
            <a:spLocks noGrp="1"/>
          </p:cNvSpPr>
          <p:nvPr>
            <p:ph type="sldNum" sz="quarter" idx="12"/>
          </p:nvPr>
        </p:nvSpPr>
        <p:spPr>
          <a:xfrm>
            <a:off x="457200" y="6245225"/>
            <a:ext cx="2133600" cy="476250"/>
          </a:xfrm>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02CA4D1-A1AB-403B-B5CB-9CD0FCCD6A0C}" type="slidenum">
              <a:rPr kumimoji="0" lang="ar-SA" altLang="en-US" sz="1400" b="0" i="0" u="none" strike="noStrike" kern="1200" cap="none" spc="0" normalizeH="0" baseline="0" noProof="0">
                <a:ln>
                  <a:noFill/>
                </a:ln>
                <a:solidFill>
                  <a:srgbClr val="000000"/>
                </a:solidFill>
                <a:effectLst/>
                <a:uLnTx/>
                <a:uFillTx/>
                <a:latin typeface="Times New Roman"/>
                <a:ea typeface="SimSun"/>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Times New Roman"/>
              <a:ea typeface="SimSun"/>
              <a:cs typeface="+mn-cs"/>
            </a:endParaRPr>
          </a:p>
        </p:txBody>
      </p:sp>
    </p:spTree>
    <p:extLst>
      <p:ext uri="{BB962C8B-B14F-4D97-AF65-F5344CB8AC3E}">
        <p14:creationId xmlns:p14="http://schemas.microsoft.com/office/powerpoint/2010/main" val="174207671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7E2D701D-A80C-DA70-5D1C-A69D0355E29B}"/>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0E5A31A-5355-4487-9D28-FD7E2DE638CF}"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1C13EC87-2686-A617-59D6-0D746E25A4C6}"/>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6E259C64-B71A-2531-DE32-52D485396048}"/>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344C3AC3-1DE5-4CA6-B7DC-7724C5212AD9}"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858392002"/>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A2E1B9-0720-2EEB-4E5B-B5C58F8B25E1}"/>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D7F50FF-4D00-40CA-A2A1-9F25103BC6A1}"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16DD6027-069C-1E37-7508-3D059A5ABEBE}"/>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6FFB2B07-9339-14AF-C549-4C6A3D5026E2}"/>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76A10902-4581-4466-A040-400166ACFA46}"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114294365"/>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8"/>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DCB323-579D-B2B0-0EC0-8282A060EE5D}"/>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D2EF164-B7E1-4E75-BE15-26CF577729C0}"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1B1A0842-0677-473E-6472-73AC4F0F4BD8}"/>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EDE27F18-3E6A-23FD-2370-D979701F3367}"/>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3A15892-447C-483A-A009-AA608C5F9217}"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854612504"/>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8D8058EA-00A7-E544-1DA3-C0E4CB77C3A2}"/>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3896A0F-1C12-4717-AB26-628D6503ADEC}"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Footer Placeholder 4">
            <a:extLst>
              <a:ext uri="{FF2B5EF4-FFF2-40B4-BE49-F238E27FC236}">
                <a16:creationId xmlns:a16="http://schemas.microsoft.com/office/drawing/2014/main" id="{3274D52A-61CB-B07B-ECEC-EFB4DC239C99}"/>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7" name="Slide Number Placeholder 5">
            <a:extLst>
              <a:ext uri="{FF2B5EF4-FFF2-40B4-BE49-F238E27FC236}">
                <a16:creationId xmlns:a16="http://schemas.microsoft.com/office/drawing/2014/main" id="{7959D501-3798-B666-47D0-5A5EAFD0988F}"/>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E8D92F1-E8D1-4355-B36E-3195C1045B16}"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70059307"/>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4"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4"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9BB77253-28B2-8DC4-A772-D758B29E00F6}"/>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B76C5AF-6028-4253-ABFF-9A78AB70E26B}"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8" name="Footer Placeholder 4">
            <a:extLst>
              <a:ext uri="{FF2B5EF4-FFF2-40B4-BE49-F238E27FC236}">
                <a16:creationId xmlns:a16="http://schemas.microsoft.com/office/drawing/2014/main" id="{CEECCB7C-3AD2-F2DB-7C19-B53D76F22E76}"/>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9" name="Slide Number Placeholder 5">
            <a:extLst>
              <a:ext uri="{FF2B5EF4-FFF2-40B4-BE49-F238E27FC236}">
                <a16:creationId xmlns:a16="http://schemas.microsoft.com/office/drawing/2014/main" id="{AAEC791F-877F-F874-E1A8-57AE16426ECE}"/>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745C4F9-BFF9-46BA-B221-1A0AF76C2743}"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37801574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C8C99F93-219B-4E52-9E2E-7C2927E003B6}"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717177953"/>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425D0691-BBE1-CE97-5961-6136622C14F3}"/>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CBB1E7F-B7D7-4589-9FB7-3BFF786342B3}"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4" name="Footer Placeholder 4">
            <a:extLst>
              <a:ext uri="{FF2B5EF4-FFF2-40B4-BE49-F238E27FC236}">
                <a16:creationId xmlns:a16="http://schemas.microsoft.com/office/drawing/2014/main" id="{04DDE9F5-BD53-D4E9-A358-32FC0B32E86D}"/>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Slide Number Placeholder 5">
            <a:extLst>
              <a:ext uri="{FF2B5EF4-FFF2-40B4-BE49-F238E27FC236}">
                <a16:creationId xmlns:a16="http://schemas.microsoft.com/office/drawing/2014/main" id="{FF5A31A8-695B-5CF3-884B-E8B49609DFBB}"/>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509F0B00-EFE7-4CA1-A9DD-59122AF3E44C}"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968511969"/>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74D88FD3-538C-E712-9CE3-16F5325B3AC7}"/>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38ADCF7-A1F3-467B-9D83-FE21DD14A892}"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3" name="Footer Placeholder 4">
            <a:extLst>
              <a:ext uri="{FF2B5EF4-FFF2-40B4-BE49-F238E27FC236}">
                <a16:creationId xmlns:a16="http://schemas.microsoft.com/office/drawing/2014/main" id="{22495ACB-4430-9DF4-9DB1-05BB9CDF91F5}"/>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4" name="Slide Number Placeholder 5">
            <a:extLst>
              <a:ext uri="{FF2B5EF4-FFF2-40B4-BE49-F238E27FC236}">
                <a16:creationId xmlns:a16="http://schemas.microsoft.com/office/drawing/2014/main" id="{447C6CA7-7B6B-3878-9113-86CA2B52CFBB}"/>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FE2678E1-693E-4A95-BAD2-F8FFC30826A9}"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771334023"/>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FD88D249-E77D-55B9-90AB-0CB4AC6C6A1A}"/>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5FFBA9C-9A44-4B85-8B20-5C7E9FC95DCA}"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Footer Placeholder 4">
            <a:extLst>
              <a:ext uri="{FF2B5EF4-FFF2-40B4-BE49-F238E27FC236}">
                <a16:creationId xmlns:a16="http://schemas.microsoft.com/office/drawing/2014/main" id="{F46A729B-3E6C-7DF2-3BDE-5B4C558F3CFE}"/>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7" name="Slide Number Placeholder 5">
            <a:extLst>
              <a:ext uri="{FF2B5EF4-FFF2-40B4-BE49-F238E27FC236}">
                <a16:creationId xmlns:a16="http://schemas.microsoft.com/office/drawing/2014/main" id="{C060E326-8CAD-4FCC-BEDC-E97F4920ABF0}"/>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724F8F8-43B2-4578-AF4E-BE31F7B747BB}"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726102236"/>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9A240EED-0BCF-9890-DD7C-7427ABCECD9B}"/>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CF9A411-630B-430E-B0C1-A1EA1BABEF6A}"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Footer Placeholder 4">
            <a:extLst>
              <a:ext uri="{FF2B5EF4-FFF2-40B4-BE49-F238E27FC236}">
                <a16:creationId xmlns:a16="http://schemas.microsoft.com/office/drawing/2014/main" id="{0B8F5E76-FB5B-A470-0332-174F2844BB70}"/>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7" name="Slide Number Placeholder 5">
            <a:extLst>
              <a:ext uri="{FF2B5EF4-FFF2-40B4-BE49-F238E27FC236}">
                <a16:creationId xmlns:a16="http://schemas.microsoft.com/office/drawing/2014/main" id="{33B81A2D-EB77-5122-68E7-F042378827D0}"/>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97CCA52-00D1-428B-8230-810899CE78C6}"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91137324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EC769C-EE72-9918-8B54-295A95F3ED05}"/>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172AC4C-0D08-4F4C-AFD3-8F9A6CCF7FBE}"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A5C58CF9-A8E4-F85C-376D-080B0600202A}"/>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81447AAC-AA31-55B5-DDB1-D88ABCE705D1}"/>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383064C-8F39-4FCE-BB71-D57E8AAFC75A}"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781216490"/>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6"/>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56"/>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CD05FA-23F1-92A8-E89C-F5DF678D231D}"/>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523C604-0424-4E7E-8A2C-076572A8E495}"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598F20B3-ABD1-39C1-1EFF-9A37679577A6}"/>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D8597A83-9887-0F5B-E1EC-E178C8C7E782}"/>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8C75062-BF8B-4415-9CAF-7716E482BA4D}"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774723493"/>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7E2D701D-A80C-DA70-5D1C-A69D0355E29B}"/>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0E5A31A-5355-4487-9D28-FD7E2DE638CF}"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1C13EC87-2686-A617-59D6-0D746E25A4C6}"/>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6E259C64-B71A-2531-DE32-52D485396048}"/>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344C3AC3-1DE5-4CA6-B7DC-7724C5212AD9}"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3720209348"/>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A2E1B9-0720-2EEB-4E5B-B5C58F8B25E1}"/>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D7F50FF-4D00-40CA-A2A1-9F25103BC6A1}"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16DD6027-069C-1E37-7508-3D059A5ABEBE}"/>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6FFB2B07-9339-14AF-C549-4C6A3D5026E2}"/>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76A10902-4581-4466-A040-400166ACFA46}"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742834085"/>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8"/>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DCB323-579D-B2B0-0EC0-8282A060EE5D}"/>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D2EF164-B7E1-4E75-BE15-26CF577729C0}"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1B1A0842-0677-473E-6472-73AC4F0F4BD8}"/>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EDE27F18-3E6A-23FD-2370-D979701F3367}"/>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3A15892-447C-483A-A009-AA608C5F9217}"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390427796"/>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8D8058EA-00A7-E544-1DA3-C0E4CB77C3A2}"/>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3896A0F-1C12-4717-AB26-628D6503ADEC}"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Footer Placeholder 4">
            <a:extLst>
              <a:ext uri="{FF2B5EF4-FFF2-40B4-BE49-F238E27FC236}">
                <a16:creationId xmlns:a16="http://schemas.microsoft.com/office/drawing/2014/main" id="{3274D52A-61CB-B07B-ECEC-EFB4DC239C99}"/>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7" name="Slide Number Placeholder 5">
            <a:extLst>
              <a:ext uri="{FF2B5EF4-FFF2-40B4-BE49-F238E27FC236}">
                <a16:creationId xmlns:a16="http://schemas.microsoft.com/office/drawing/2014/main" id="{7959D501-3798-B666-47D0-5A5EAFD0988F}"/>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E8D92F1-E8D1-4355-B36E-3195C1045B16}"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3763645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4D18A2B2-9536-4C53-B1C3-F82AF8446741}"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313990513"/>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4"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4"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9BB77253-28B2-8DC4-A772-D758B29E00F6}"/>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B76C5AF-6028-4253-ABFF-9A78AB70E26B}"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8" name="Footer Placeholder 4">
            <a:extLst>
              <a:ext uri="{FF2B5EF4-FFF2-40B4-BE49-F238E27FC236}">
                <a16:creationId xmlns:a16="http://schemas.microsoft.com/office/drawing/2014/main" id="{CEECCB7C-3AD2-F2DB-7C19-B53D76F22E76}"/>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9" name="Slide Number Placeholder 5">
            <a:extLst>
              <a:ext uri="{FF2B5EF4-FFF2-40B4-BE49-F238E27FC236}">
                <a16:creationId xmlns:a16="http://schemas.microsoft.com/office/drawing/2014/main" id="{AAEC791F-877F-F874-E1A8-57AE16426ECE}"/>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745C4F9-BFF9-46BA-B221-1A0AF76C2743}"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799734324"/>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425D0691-BBE1-CE97-5961-6136622C14F3}"/>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CBB1E7F-B7D7-4589-9FB7-3BFF786342B3}"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4" name="Footer Placeholder 4">
            <a:extLst>
              <a:ext uri="{FF2B5EF4-FFF2-40B4-BE49-F238E27FC236}">
                <a16:creationId xmlns:a16="http://schemas.microsoft.com/office/drawing/2014/main" id="{04DDE9F5-BD53-D4E9-A358-32FC0B32E86D}"/>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Slide Number Placeholder 5">
            <a:extLst>
              <a:ext uri="{FF2B5EF4-FFF2-40B4-BE49-F238E27FC236}">
                <a16:creationId xmlns:a16="http://schemas.microsoft.com/office/drawing/2014/main" id="{FF5A31A8-695B-5CF3-884B-E8B49609DFBB}"/>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509F0B00-EFE7-4CA1-A9DD-59122AF3E44C}"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3769787682"/>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74D88FD3-538C-E712-9CE3-16F5325B3AC7}"/>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38ADCF7-A1F3-467B-9D83-FE21DD14A892}"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3" name="Footer Placeholder 4">
            <a:extLst>
              <a:ext uri="{FF2B5EF4-FFF2-40B4-BE49-F238E27FC236}">
                <a16:creationId xmlns:a16="http://schemas.microsoft.com/office/drawing/2014/main" id="{22495ACB-4430-9DF4-9DB1-05BB9CDF91F5}"/>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4" name="Slide Number Placeholder 5">
            <a:extLst>
              <a:ext uri="{FF2B5EF4-FFF2-40B4-BE49-F238E27FC236}">
                <a16:creationId xmlns:a16="http://schemas.microsoft.com/office/drawing/2014/main" id="{447C6CA7-7B6B-3878-9113-86CA2B52CFBB}"/>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FE2678E1-693E-4A95-BAD2-F8FFC30826A9}"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202385583"/>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FD88D249-E77D-55B9-90AB-0CB4AC6C6A1A}"/>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5FFBA9C-9A44-4B85-8B20-5C7E9FC95DCA}"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Footer Placeholder 4">
            <a:extLst>
              <a:ext uri="{FF2B5EF4-FFF2-40B4-BE49-F238E27FC236}">
                <a16:creationId xmlns:a16="http://schemas.microsoft.com/office/drawing/2014/main" id="{F46A729B-3E6C-7DF2-3BDE-5B4C558F3CFE}"/>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7" name="Slide Number Placeholder 5">
            <a:extLst>
              <a:ext uri="{FF2B5EF4-FFF2-40B4-BE49-F238E27FC236}">
                <a16:creationId xmlns:a16="http://schemas.microsoft.com/office/drawing/2014/main" id="{C060E326-8CAD-4FCC-BEDC-E97F4920ABF0}"/>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724F8F8-43B2-4578-AF4E-BE31F7B747BB}"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384862791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9A240EED-0BCF-9890-DD7C-7427ABCECD9B}"/>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CF9A411-630B-430E-B0C1-A1EA1BABEF6A}"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Footer Placeholder 4">
            <a:extLst>
              <a:ext uri="{FF2B5EF4-FFF2-40B4-BE49-F238E27FC236}">
                <a16:creationId xmlns:a16="http://schemas.microsoft.com/office/drawing/2014/main" id="{0B8F5E76-FB5B-A470-0332-174F2844BB70}"/>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7" name="Slide Number Placeholder 5">
            <a:extLst>
              <a:ext uri="{FF2B5EF4-FFF2-40B4-BE49-F238E27FC236}">
                <a16:creationId xmlns:a16="http://schemas.microsoft.com/office/drawing/2014/main" id="{33B81A2D-EB77-5122-68E7-F042378827D0}"/>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97CCA52-00D1-428B-8230-810899CE78C6}"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3703869729"/>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EC769C-EE72-9918-8B54-295A95F3ED05}"/>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172AC4C-0D08-4F4C-AFD3-8F9A6CCF7FBE}"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A5C58CF9-A8E4-F85C-376D-080B0600202A}"/>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81447AAC-AA31-55B5-DDB1-D88ABCE705D1}"/>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383064C-8F39-4FCE-BB71-D57E8AAFC75A}"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03892291"/>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6"/>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56"/>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CD05FA-23F1-92A8-E89C-F5DF678D231D}"/>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523C604-0424-4E7E-8A2C-076572A8E495}"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598F20B3-ABD1-39C1-1EFF-9A37679577A6}"/>
              </a:ext>
            </a:extLst>
          </p:cNvPr>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D8597A83-9887-0F5B-E1EC-E178C8C7E782}"/>
              </a:ext>
            </a:extLst>
          </p:cNvPr>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8C75062-BF8B-4415-9CAF-7716E482BA4D}"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3435644931"/>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949712061"/>
      </p:ext>
    </p:extLst>
  </p:cSld>
  <p:clrMapOvr>
    <a:masterClrMapping/>
  </p:clrMapOvr>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FD293D"/>
                </a:solidFill>
                <a:latin typeface="Arial Black"/>
                <a:cs typeface="Arial Black"/>
              </a:defRPr>
            </a:lvl1pPr>
          </a:lstStyle>
          <a:p>
            <a:endParaRPr/>
          </a:p>
        </p:txBody>
      </p:sp>
      <p:sp>
        <p:nvSpPr>
          <p:cNvPr id="3" name="Holder 3"/>
          <p:cNvSpPr>
            <a:spLocks noGrp="1"/>
          </p:cNvSpPr>
          <p:nvPr>
            <p:ph type="body" idx="1"/>
          </p:nvPr>
        </p:nvSpPr>
        <p:spPr/>
        <p:txBody>
          <a:bodyPr lIns="0" tIns="0" rIns="0" bIns="0"/>
          <a:lstStyle>
            <a:lvl1pPr>
              <a:defRPr sz="220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02340950"/>
      </p:ext>
    </p:extLst>
  </p:cSld>
  <p:clrMapOvr>
    <a:masterClrMapping/>
  </p:clrMapOvr>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FD293D"/>
                </a:solidFill>
                <a:latin typeface="Arial Black"/>
                <a:cs typeface="Arial Black"/>
              </a:defRPr>
            </a:lvl1pPr>
          </a:lstStyle>
          <a:p>
            <a:endParaRPr/>
          </a:p>
        </p:txBody>
      </p:sp>
      <p:sp>
        <p:nvSpPr>
          <p:cNvPr id="3" name="Holder 3"/>
          <p:cNvSpPr>
            <a:spLocks noGrp="1"/>
          </p:cNvSpPr>
          <p:nvPr>
            <p:ph sz="half" idx="2"/>
          </p:nvPr>
        </p:nvSpPr>
        <p:spPr>
          <a:xfrm>
            <a:off x="916940" y="2335890"/>
            <a:ext cx="3135629" cy="3712210"/>
          </a:xfrm>
          <a:prstGeom prst="rect">
            <a:avLst/>
          </a:prstGeom>
        </p:spPr>
        <p:txBody>
          <a:bodyPr wrap="square" lIns="0" tIns="0" rIns="0" bIns="0">
            <a:spAutoFit/>
          </a:bodyPr>
          <a:lstStyle>
            <a:lvl1pPr>
              <a:defRPr sz="2400" b="0" i="0">
                <a:solidFill>
                  <a:schemeClr val="tx1"/>
                </a:solidFill>
                <a:latin typeface="Arial"/>
                <a:cs typeface="Arial"/>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256709802"/>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20BB1B1E-1E6A-4FDF-8663-21C13DF04F61}"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095864115"/>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type="obj" preserve="1">
  <p:cSld name="Title Only">
    <p:spTree>
      <p:nvGrpSpPr>
        <p:cNvPr id="1" name=""/>
        <p:cNvGrpSpPr/>
        <p:nvPr/>
      </p:nvGrpSpPr>
      <p:grpSpPr>
        <a:xfrm>
          <a:off x="0" y="0"/>
          <a:ext cx="0" cy="0"/>
          <a:chOff x="0" y="0"/>
          <a:chExt cx="0" cy="0"/>
        </a:xfrm>
      </p:grpSpPr>
      <p:sp>
        <p:nvSpPr>
          <p:cNvPr id="16" name="bk object 16"/>
          <p:cNvSpPr/>
          <p:nvPr/>
        </p:nvSpPr>
        <p:spPr>
          <a:xfrm>
            <a:off x="167639" y="228600"/>
            <a:ext cx="8823960" cy="6096000"/>
          </a:xfrm>
          <a:custGeom>
            <a:avLst/>
            <a:gdLst/>
            <a:ahLst/>
            <a:cxnLst/>
            <a:rect l="l" t="t" r="r" b="b"/>
            <a:pathLst>
              <a:path w="8823960" h="6096000">
                <a:moveTo>
                  <a:pt x="673095" y="0"/>
                </a:moveTo>
                <a:lnTo>
                  <a:pt x="622656" y="2482"/>
                </a:lnTo>
                <a:lnTo>
                  <a:pt x="572469" y="9760"/>
                </a:lnTo>
                <a:lnTo>
                  <a:pt x="522787" y="21581"/>
                </a:lnTo>
                <a:lnTo>
                  <a:pt x="473861" y="37694"/>
                </a:lnTo>
                <a:lnTo>
                  <a:pt x="425946" y="57845"/>
                </a:lnTo>
                <a:lnTo>
                  <a:pt x="379292" y="81783"/>
                </a:lnTo>
                <a:lnTo>
                  <a:pt x="334152" y="109254"/>
                </a:lnTo>
                <a:lnTo>
                  <a:pt x="290780" y="140007"/>
                </a:lnTo>
                <a:lnTo>
                  <a:pt x="249426" y="173788"/>
                </a:lnTo>
                <a:lnTo>
                  <a:pt x="210344" y="210346"/>
                </a:lnTo>
                <a:lnTo>
                  <a:pt x="173786" y="249428"/>
                </a:lnTo>
                <a:lnTo>
                  <a:pt x="140005" y="290781"/>
                </a:lnTo>
                <a:lnTo>
                  <a:pt x="109253" y="334153"/>
                </a:lnTo>
                <a:lnTo>
                  <a:pt x="81782" y="379292"/>
                </a:lnTo>
                <a:lnTo>
                  <a:pt x="57845" y="425946"/>
                </a:lnTo>
                <a:lnTo>
                  <a:pt x="37693" y="473861"/>
                </a:lnTo>
                <a:lnTo>
                  <a:pt x="21581" y="522785"/>
                </a:lnTo>
                <a:lnTo>
                  <a:pt x="9760" y="572466"/>
                </a:lnTo>
                <a:lnTo>
                  <a:pt x="2482" y="622652"/>
                </a:lnTo>
                <a:lnTo>
                  <a:pt x="0" y="673089"/>
                </a:lnTo>
                <a:lnTo>
                  <a:pt x="0" y="5422903"/>
                </a:lnTo>
                <a:lnTo>
                  <a:pt x="2482" y="5473343"/>
                </a:lnTo>
                <a:lnTo>
                  <a:pt x="9760" y="5523530"/>
                </a:lnTo>
                <a:lnTo>
                  <a:pt x="21581" y="5573212"/>
                </a:lnTo>
                <a:lnTo>
                  <a:pt x="37693" y="5622137"/>
                </a:lnTo>
                <a:lnTo>
                  <a:pt x="57845" y="5670053"/>
                </a:lnTo>
                <a:lnTo>
                  <a:pt x="81782" y="5716707"/>
                </a:lnTo>
                <a:lnTo>
                  <a:pt x="109253" y="5761847"/>
                </a:lnTo>
                <a:lnTo>
                  <a:pt x="140005" y="5805219"/>
                </a:lnTo>
                <a:lnTo>
                  <a:pt x="173786" y="5846573"/>
                </a:lnTo>
                <a:lnTo>
                  <a:pt x="210344" y="5885655"/>
                </a:lnTo>
                <a:lnTo>
                  <a:pt x="249426" y="5922212"/>
                </a:lnTo>
                <a:lnTo>
                  <a:pt x="290780" y="5955994"/>
                </a:lnTo>
                <a:lnTo>
                  <a:pt x="334152" y="5986746"/>
                </a:lnTo>
                <a:lnTo>
                  <a:pt x="379292" y="6014217"/>
                </a:lnTo>
                <a:lnTo>
                  <a:pt x="425946" y="6038154"/>
                </a:lnTo>
                <a:lnTo>
                  <a:pt x="473861" y="6058305"/>
                </a:lnTo>
                <a:lnTo>
                  <a:pt x="522787" y="6074418"/>
                </a:lnTo>
                <a:lnTo>
                  <a:pt x="572469" y="6086239"/>
                </a:lnTo>
                <a:lnTo>
                  <a:pt x="622656" y="6093517"/>
                </a:lnTo>
                <a:lnTo>
                  <a:pt x="673095" y="6095999"/>
                </a:lnTo>
                <a:lnTo>
                  <a:pt x="8150869" y="6095999"/>
                </a:lnTo>
                <a:lnTo>
                  <a:pt x="8201307" y="6093517"/>
                </a:lnTo>
                <a:lnTo>
                  <a:pt x="8251493" y="6086239"/>
                </a:lnTo>
                <a:lnTo>
                  <a:pt x="8301174" y="6074418"/>
                </a:lnTo>
                <a:lnTo>
                  <a:pt x="8350098" y="6058305"/>
                </a:lnTo>
                <a:lnTo>
                  <a:pt x="8398013" y="6038154"/>
                </a:lnTo>
                <a:lnTo>
                  <a:pt x="8444666" y="6014217"/>
                </a:lnTo>
                <a:lnTo>
                  <a:pt x="8489806" y="5986746"/>
                </a:lnTo>
                <a:lnTo>
                  <a:pt x="8533178" y="5955994"/>
                </a:lnTo>
                <a:lnTo>
                  <a:pt x="8574531" y="5922212"/>
                </a:lnTo>
                <a:lnTo>
                  <a:pt x="8613613" y="5885655"/>
                </a:lnTo>
                <a:lnTo>
                  <a:pt x="8650171" y="5846573"/>
                </a:lnTo>
                <a:lnTo>
                  <a:pt x="8683952" y="5805219"/>
                </a:lnTo>
                <a:lnTo>
                  <a:pt x="8714705" y="5761847"/>
                </a:lnTo>
                <a:lnTo>
                  <a:pt x="8742176" y="5716707"/>
                </a:lnTo>
                <a:lnTo>
                  <a:pt x="8766114" y="5670053"/>
                </a:lnTo>
                <a:lnTo>
                  <a:pt x="8786265" y="5622137"/>
                </a:lnTo>
                <a:lnTo>
                  <a:pt x="8802377" y="5573212"/>
                </a:lnTo>
                <a:lnTo>
                  <a:pt x="8814199" y="5523530"/>
                </a:lnTo>
                <a:lnTo>
                  <a:pt x="8821477" y="5473343"/>
                </a:lnTo>
                <a:lnTo>
                  <a:pt x="8823959" y="5422903"/>
                </a:lnTo>
                <a:lnTo>
                  <a:pt x="8823959" y="673089"/>
                </a:lnTo>
                <a:lnTo>
                  <a:pt x="8821477" y="622652"/>
                </a:lnTo>
                <a:lnTo>
                  <a:pt x="8814199" y="572466"/>
                </a:lnTo>
                <a:lnTo>
                  <a:pt x="8802377" y="522785"/>
                </a:lnTo>
                <a:lnTo>
                  <a:pt x="8786265" y="473861"/>
                </a:lnTo>
                <a:lnTo>
                  <a:pt x="8766114" y="425946"/>
                </a:lnTo>
                <a:lnTo>
                  <a:pt x="8742176" y="379292"/>
                </a:lnTo>
                <a:lnTo>
                  <a:pt x="8714705" y="334153"/>
                </a:lnTo>
                <a:lnTo>
                  <a:pt x="8683952" y="290781"/>
                </a:lnTo>
                <a:lnTo>
                  <a:pt x="8650171" y="249428"/>
                </a:lnTo>
                <a:lnTo>
                  <a:pt x="8613613" y="210346"/>
                </a:lnTo>
                <a:lnTo>
                  <a:pt x="8574531" y="173788"/>
                </a:lnTo>
                <a:lnTo>
                  <a:pt x="8533178" y="140007"/>
                </a:lnTo>
                <a:lnTo>
                  <a:pt x="8489806" y="109254"/>
                </a:lnTo>
                <a:lnTo>
                  <a:pt x="8444666" y="81783"/>
                </a:lnTo>
                <a:lnTo>
                  <a:pt x="8398013" y="57845"/>
                </a:lnTo>
                <a:lnTo>
                  <a:pt x="8350098" y="37694"/>
                </a:lnTo>
                <a:lnTo>
                  <a:pt x="8301174" y="21581"/>
                </a:lnTo>
                <a:lnTo>
                  <a:pt x="8251493" y="9760"/>
                </a:lnTo>
                <a:lnTo>
                  <a:pt x="8201307" y="2482"/>
                </a:lnTo>
                <a:lnTo>
                  <a:pt x="8150869" y="0"/>
                </a:lnTo>
                <a:lnTo>
                  <a:pt x="673095" y="0"/>
                </a:lnTo>
                <a:close/>
              </a:path>
            </a:pathLst>
          </a:custGeom>
          <a:ln w="28393">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bk object 17"/>
          <p:cNvSpPr/>
          <p:nvPr/>
        </p:nvSpPr>
        <p:spPr>
          <a:xfrm>
            <a:off x="167639" y="228600"/>
            <a:ext cx="0" cy="0"/>
          </a:xfrm>
          <a:custGeom>
            <a:avLst/>
            <a:gdLst/>
            <a:ahLst/>
            <a:cxnLst/>
            <a:rect l="l" t="t" r="r" b="b"/>
            <a:pathLst>
              <a:path>
                <a:moveTo>
                  <a:pt x="0" y="0"/>
                </a:moveTo>
                <a:lnTo>
                  <a:pt x="0" y="0"/>
                </a:lnTo>
              </a:path>
            </a:pathLst>
          </a:custGeom>
          <a:ln w="28393">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bk object 18"/>
          <p:cNvSpPr/>
          <p:nvPr/>
        </p:nvSpPr>
        <p:spPr>
          <a:xfrm>
            <a:off x="8991600" y="6324600"/>
            <a:ext cx="0" cy="0"/>
          </a:xfrm>
          <a:custGeom>
            <a:avLst/>
            <a:gdLst/>
            <a:ahLst/>
            <a:cxnLst/>
            <a:rect l="l" t="t" r="r" b="b"/>
            <a:pathLst>
              <a:path>
                <a:moveTo>
                  <a:pt x="0" y="0"/>
                </a:moveTo>
                <a:lnTo>
                  <a:pt x="0" y="0"/>
                </a:lnTo>
              </a:path>
            </a:pathLst>
          </a:custGeom>
          <a:ln w="28393">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bk object 19"/>
          <p:cNvSpPr/>
          <p:nvPr/>
        </p:nvSpPr>
        <p:spPr>
          <a:xfrm>
            <a:off x="762000" y="1709410"/>
            <a:ext cx="7696200" cy="0"/>
          </a:xfrm>
          <a:custGeom>
            <a:avLst/>
            <a:gdLst/>
            <a:ahLst/>
            <a:cxnLst/>
            <a:rect l="l" t="t" r="r" b="b"/>
            <a:pathLst>
              <a:path w="7696200">
                <a:moveTo>
                  <a:pt x="0" y="0"/>
                </a:moveTo>
                <a:lnTo>
                  <a:pt x="7696199" y="0"/>
                </a:lnTo>
              </a:path>
            </a:pathLst>
          </a:custGeom>
          <a:ln w="38097">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Holder 2"/>
          <p:cNvSpPr>
            <a:spLocks noGrp="1"/>
          </p:cNvSpPr>
          <p:nvPr>
            <p:ph type="title"/>
          </p:nvPr>
        </p:nvSpPr>
        <p:spPr/>
        <p:txBody>
          <a:bodyPr lIns="0" tIns="0" rIns="0" bIns="0"/>
          <a:lstStyle>
            <a:lvl1pPr>
              <a:defRPr sz="3600" b="1" i="0">
                <a:solidFill>
                  <a:srgbClr val="FD293D"/>
                </a:solidFill>
                <a:latin typeface="Arial Black"/>
                <a:cs typeface="Arial Black"/>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00135459"/>
      </p:ext>
    </p:extLst>
  </p:cSld>
  <p:clrMapOvr>
    <a:masterClrMapping/>
  </p:clrMapOvr>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628863804"/>
      </p:ext>
    </p:extLst>
  </p:cSld>
  <p:clrMapOvr>
    <a:masterClrMapping/>
  </p:clrMapOvr>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28600"/>
            <a:ext cx="8229600" cy="5867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2"/>
          <p:cNvSpPr>
            <a:spLocks noGrp="1"/>
          </p:cNvSpPr>
          <p:nvPr>
            <p:ph type="dt" sz="half" idx="10"/>
          </p:nvPr>
        </p:nvSpPr>
        <p:spPr>
          <a:xfrm>
            <a:off x="457200" y="6248400"/>
            <a:ext cx="2133600" cy="457200"/>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a:xfrm>
            <a:off x="3124200" y="6248400"/>
            <a:ext cx="2895600" cy="457200"/>
          </a:xfrm>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a:xfrm>
            <a:off x="6553200" y="6248400"/>
            <a:ext cx="2133600" cy="457200"/>
          </a:xfrm>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1B18891-A162-4432-A34B-D467C745B02A}" type="slidenum">
              <a:rPr kumimoji="0" lang="ar-SA" sz="18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348196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321B70E-BC81-4438-A064-AA49C974EA6C}"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2515932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6C8508E-24DA-47E5-A447-CAC8B6A3BB7E}"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4263300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0B9F56C-6A77-4874-B019-2F2298B7E49F}"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4540500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981200"/>
            <a:ext cx="3810000"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4114800"/>
            <a:ext cx="3810000"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12E06272-75BA-44D6-9999-17F996D8A045}"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9097669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85800" y="609600"/>
            <a:ext cx="7772400" cy="5486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E3CBEEFE-C1F3-4F73-8A6A-8884CD14AEC1}"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6791033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273050"/>
            <a:ext cx="7772400" cy="1143000"/>
          </a:xfrm>
        </p:spPr>
        <p:txBody>
          <a:bodyPr anchor="b" anchorCtr="0"/>
          <a:lstStyle>
            <a:lvl1pPr>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9144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9530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7" name="Date Placeholder 6"/>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88F465F-DAF4-455E-950B-4E617B86F3AD}" type="slidenum">
              <a:rPr lang="en-US" smtClean="0"/>
              <a:pPr/>
              <a:t>‹#›</a:t>
            </a:fld>
            <a:endParaRPr lang="en-US"/>
          </a:p>
        </p:txBody>
      </p:sp>
      <p:sp>
        <p:nvSpPr>
          <p:cNvPr id="11" name="Content Placeholder 10"/>
          <p:cNvSpPr>
            <a:spLocks noGrp="1"/>
          </p:cNvSpPr>
          <p:nvPr>
            <p:ph sz="half" idx="2"/>
          </p:nvPr>
        </p:nvSpPr>
        <p:spPr>
          <a:xfrm>
            <a:off x="914400" y="2247900"/>
            <a:ext cx="3733800" cy="38862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half" idx="4"/>
          </p:nvPr>
        </p:nvSpPr>
        <p:spPr>
          <a:xfrm>
            <a:off x="4953000" y="2247900"/>
            <a:ext cx="3733800" cy="38862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C51EAA5-55C5-4D94-BFC1-B28D283DC19A}"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4454954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1C7C0B1-7CD8-4283-B5E6-6E76B669DB03}"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187398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2EEDB84-4D88-4889-AF52-90F5129F075A}"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7805271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8988B35-5041-4E5F-91F9-C1BE79D39C2B}"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422769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9CE51718-343F-4BC2-965B-E3D0AE931C51}"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9167393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C8C99F93-219B-4E52-9E2E-7C2927E003B6}"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725877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4D18A2B2-9536-4C53-B1C3-F82AF8446741}"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233118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20BB1B1E-1E6A-4FDF-8663-21C13DF04F61}"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9281689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321B70E-BC81-4438-A064-AA49C974EA6C}"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185954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6C8508E-24DA-47E5-A447-CAC8B6A3BB7E}"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2293069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88F465F-DAF4-455E-950B-4E617B86F3AD}" type="slidenum">
              <a:rPr lang="en-US" smtClean="0"/>
              <a:pPr/>
              <a:t>‹#›</a:t>
            </a:fld>
            <a:endParaRPr lang="en-US"/>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0B9F56C-6A77-4874-B019-2F2298B7E49F}"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840416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981200"/>
            <a:ext cx="3810000"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4114800"/>
            <a:ext cx="3810000"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12E06272-75BA-44D6-9999-17F996D8A045}"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761086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85800" y="609600"/>
            <a:ext cx="7772400" cy="5486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E3CBEEFE-C1F3-4F73-8A6A-8884CD14AEC1}" type="slidenum">
              <a:rPr lang="ar-SA">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1545419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2" name="Rectangle 11"/>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13" name="Rounded Rectangle 12"/>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9" name="Subtitle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17" name="Footer Placeholder 16"/>
          <p:cNvSpPr>
            <a:spLocks noGrp="1"/>
          </p:cNvSpPr>
          <p:nvPr>
            <p:ph type="ftr" sz="quarter" idx="11"/>
          </p:nvPr>
        </p:nvSpPr>
        <p:spPr/>
        <p:txBody>
          <a:bodyPr/>
          <a:lstStyle/>
          <a:p>
            <a:endParaRPr lang="en-US"/>
          </a:p>
        </p:txBody>
      </p:sp>
      <p:sp>
        <p:nvSpPr>
          <p:cNvPr id="29" name="Slide Number Placeholder 28"/>
          <p:cNvSpPr>
            <a:spLocks noGrp="1"/>
          </p:cNvSpPr>
          <p:nvPr>
            <p:ph type="sldNum" sz="quarter" idx="12"/>
          </p:nvPr>
        </p:nvSpPr>
        <p:spPr/>
        <p:txBody>
          <a:bodyPr lIns="0" tIns="0" rIns="0" bIns="0">
            <a:noAutofit/>
          </a:bodyPr>
          <a:lstStyle>
            <a:lvl1pPr>
              <a:defRPr sz="1400">
                <a:solidFill>
                  <a:srgbClr val="FFFFFF"/>
                </a:solidFill>
              </a:defRPr>
            </a:lvl1pPr>
          </a:lstStyle>
          <a:p>
            <a:fld id="{588F465F-DAF4-455E-950B-4E617B86F3AD}" type="slidenum">
              <a:rPr lang="en-US" smtClean="0"/>
              <a:pPr/>
              <a:t>‹#›</a:t>
            </a:fld>
            <a:endParaRPr lang="en-US"/>
          </a:p>
        </p:txBody>
      </p:sp>
      <p:sp>
        <p:nvSpPr>
          <p:cNvPr id="7" name="Rectangle 6"/>
          <p:cNvSpPr/>
          <p:nvPr/>
        </p:nvSpPr>
        <p:spPr>
          <a:xfrm>
            <a:off x="62931" y="1449303"/>
            <a:ext cx="9021537" cy="1527349"/>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62931" y="1396720"/>
            <a:ext cx="9021537" cy="12058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p:nvSpPr>
        <p:spPr>
          <a:xfrm>
            <a:off x="62931" y="2976649"/>
            <a:ext cx="9021537" cy="11053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le 7"/>
          <p:cNvSpPr>
            <a:spLocks noGrp="1"/>
          </p:cNvSpPr>
          <p:nvPr>
            <p:ph type="ctrTitle"/>
          </p:nvPr>
        </p:nvSpPr>
        <p:spPr>
          <a:xfrm>
            <a:off x="457200" y="1505930"/>
            <a:ext cx="8229600" cy="1470025"/>
          </a:xfrm>
        </p:spPr>
        <p:txBody>
          <a:bodyPr anchor="ctr"/>
          <a:lstStyle>
            <a:lvl1pPr algn="ctr">
              <a:defRPr lang="en-US" dirty="0">
                <a:solidFill>
                  <a:srgbClr val="FFFFFF"/>
                </a:solidFill>
              </a:defRPr>
            </a:lvl1pPr>
          </a:lstStyle>
          <a:p>
            <a:r>
              <a:rPr kumimoji="0" lang="en-US" smtClean="0"/>
              <a:t>Click to edit Master title style</a:t>
            </a:r>
            <a:endParaRPr kumimoji="0" lang="en-US"/>
          </a:p>
        </p:txBody>
      </p:sp>
    </p:spTree>
  </p:cSld>
  <p:clrMapOvr>
    <a:overrideClrMapping bg1="lt1" tx1="dk1" bg2="lt2" tx2="dk2" accent1="accent1" accent2="accent2" accent3="accent3" accent4="accent4" accent5="accent5" accent6="accent6" hlink="hlink" folHlink="folHlink"/>
  </p:clrMapOvr>
  <p:transition>
    <p:dissolve/>
    <p:sndAc>
      <p:stSnd>
        <p:snd r:embed="rId1" name="chimes.wav"/>
      </p:stSnd>
    </p:sndAc>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4" name="Date Placeholder 3"/>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8F465F-DAF4-455E-950B-4E617B86F3AD}" type="slidenum">
              <a:rPr lang="en-US" smtClean="0"/>
              <a:pPr/>
              <a:t>‹#›</a:t>
            </a:fld>
            <a:endParaRPr lang="en-US"/>
          </a:p>
        </p:txBody>
      </p:sp>
      <p:sp>
        <p:nvSpPr>
          <p:cNvPr id="8" name="Content Placeholder 7"/>
          <p:cNvSpPr>
            <a:spLocks noGrp="1"/>
          </p:cNvSpPr>
          <p:nvPr>
            <p:ph sz="quarter" idx="1"/>
          </p:nvPr>
        </p:nvSpPr>
        <p:spPr>
          <a:xfrm>
            <a:off x="914400" y="1447800"/>
            <a:ext cx="7772400" cy="45720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10" name="Rounded Rectangle 9"/>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722313" y="952500"/>
            <a:ext cx="7772400" cy="1362075"/>
          </a:xfrm>
        </p:spPr>
        <p:txBody>
          <a:bodyPr anchor="b" anchorCtr="0"/>
          <a:lstStyle>
            <a:lvl1pPr algn="l">
              <a:buNone/>
              <a:defRPr sz="4000" b="0" cap="none"/>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722313" y="2547938"/>
            <a:ext cx="7772400" cy="1338262"/>
          </a:xfrm>
        </p:spPr>
        <p:txBody>
          <a:bodyPr anchor="t" anchorCtr="0"/>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5" name="Footer Placeholder 4"/>
          <p:cNvSpPr>
            <a:spLocks noGrp="1"/>
          </p:cNvSpPr>
          <p:nvPr>
            <p:ph type="ftr" sz="quarter" idx="11"/>
          </p:nvPr>
        </p:nvSpPr>
        <p:spPr>
          <a:xfrm>
            <a:off x="800100" y="6172200"/>
            <a:ext cx="4000500" cy="457200"/>
          </a:xfrm>
        </p:spPr>
        <p:txBody>
          <a:bodyPr/>
          <a:lstStyle/>
          <a:p>
            <a:endParaRPr lang="en-US"/>
          </a:p>
        </p:txBody>
      </p:sp>
      <p:sp>
        <p:nvSpPr>
          <p:cNvPr id="7" name="Rectangle 6"/>
          <p:cNvSpPr/>
          <p:nvPr/>
        </p:nvSpPr>
        <p:spPr>
          <a:xfrm flipV="1">
            <a:off x="69412" y="2376830"/>
            <a:ext cx="9013515"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69146" y="2341475"/>
            <a:ext cx="9013781"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68306" y="2468880"/>
            <a:ext cx="9014621" cy="45720"/>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6" name="Slide Number Placeholder 5"/>
          <p:cNvSpPr>
            <a:spLocks noGrp="1"/>
          </p:cNvSpPr>
          <p:nvPr>
            <p:ph type="sldNum" sz="quarter" idx="12"/>
          </p:nvPr>
        </p:nvSpPr>
        <p:spPr>
          <a:xfrm>
            <a:off x="146304" y="6208776"/>
            <a:ext cx="457200" cy="457200"/>
          </a:xfrm>
        </p:spPr>
        <p:txBody>
          <a:bodyPr/>
          <a:lstStyle/>
          <a:p>
            <a:fld id="{588F465F-DAF4-455E-950B-4E617B86F3AD}" type="slidenum">
              <a:rPr lang="en-US" smtClean="0"/>
              <a:pPr/>
              <a:t>‹#›</a:t>
            </a:fld>
            <a:endParaRPr lang="en-US"/>
          </a:p>
        </p:txBody>
      </p:sp>
    </p:spTree>
  </p:cSld>
  <p:clrMapOvr>
    <a:overrideClrMapping bg1="lt1" tx1="dk1" bg2="lt2" tx2="dk2" accent1="accent1" accent2="accent2" accent3="accent3" accent4="accent4" accent5="accent5" accent6="accent6" hlink="hlink" folHlink="folHlink"/>
  </p:clrMapOvr>
  <p:transition>
    <p:dissolve/>
    <p:sndAc>
      <p:stSnd>
        <p:snd r:embed="rId1" name="chimes.wav"/>
      </p:stSnd>
    </p:sndAc>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5" name="Date Placeholder 4"/>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88F465F-DAF4-455E-950B-4E617B86F3AD}" type="slidenum">
              <a:rPr lang="en-US" smtClean="0"/>
              <a:pPr/>
              <a:t>‹#›</a:t>
            </a:fld>
            <a:endParaRPr lang="en-US"/>
          </a:p>
        </p:txBody>
      </p:sp>
      <p:sp>
        <p:nvSpPr>
          <p:cNvPr id="9" name="Content Placeholder 8"/>
          <p:cNvSpPr>
            <a:spLocks noGrp="1"/>
          </p:cNvSpPr>
          <p:nvPr>
            <p:ph sz="quarter" idx="1"/>
          </p:nvPr>
        </p:nvSpPr>
        <p:spPr>
          <a:xfrm>
            <a:off x="914400" y="1447800"/>
            <a:ext cx="3749040" cy="45720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933950" y="1447800"/>
            <a:ext cx="3749040" cy="45720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273050"/>
            <a:ext cx="7772400" cy="1143000"/>
          </a:xfrm>
        </p:spPr>
        <p:txBody>
          <a:bodyPr anchor="b" anchorCtr="0"/>
          <a:lstStyle>
            <a:lvl1pPr>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9144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9530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7" name="Date Placeholder 6"/>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88F465F-DAF4-455E-950B-4E617B86F3AD}" type="slidenum">
              <a:rPr lang="en-US" smtClean="0"/>
              <a:pPr/>
              <a:t>‹#›</a:t>
            </a:fld>
            <a:endParaRPr lang="en-US"/>
          </a:p>
        </p:txBody>
      </p:sp>
      <p:sp>
        <p:nvSpPr>
          <p:cNvPr id="11" name="Content Placeholder 10"/>
          <p:cNvSpPr>
            <a:spLocks noGrp="1"/>
          </p:cNvSpPr>
          <p:nvPr>
            <p:ph sz="half" idx="2"/>
          </p:nvPr>
        </p:nvSpPr>
        <p:spPr>
          <a:xfrm>
            <a:off x="914400" y="2247900"/>
            <a:ext cx="3733800" cy="38862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half" idx="4"/>
          </p:nvPr>
        </p:nvSpPr>
        <p:spPr>
          <a:xfrm>
            <a:off x="4953000" y="2247900"/>
            <a:ext cx="3733800" cy="38862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88F465F-DAF4-455E-950B-4E617B86F3AD}" type="slidenum">
              <a:rPr lang="en-US" smtClean="0"/>
              <a:pPr/>
              <a:t>‹#›</a:t>
            </a:fld>
            <a:endParaRPr lang="en-US"/>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88F465F-DAF4-455E-950B-4E617B86F3AD}" type="slidenum">
              <a:rPr lang="en-US" smtClean="0"/>
              <a:pPr/>
              <a:t>‹#›</a:t>
            </a:fld>
            <a:endParaRPr lang="en-US"/>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88F465F-DAF4-455E-950B-4E617B86F3AD}" type="slidenum">
              <a:rPr lang="en-US" smtClean="0"/>
              <a:pPr/>
              <a:t>‹#›</a:t>
            </a:fld>
            <a:endParaRPr lang="en-US"/>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useBgFill="1">
        <p:nvSpPr>
          <p:cNvPr id="9" name="Rounded Rectangle 8"/>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914400" y="273050"/>
            <a:ext cx="7772400" cy="1143000"/>
          </a:xfrm>
        </p:spPr>
        <p:txBody>
          <a:bodyPr anchor="b" anchorCtr="0"/>
          <a:lstStyle>
            <a:lvl1pPr algn="l">
              <a:buNone/>
              <a:defRPr sz="4000" b="0"/>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88F465F-DAF4-455E-950B-4E617B86F3AD}" type="slidenum">
              <a:rPr lang="en-US" smtClean="0"/>
              <a:pPr/>
              <a:t>‹#›</a:t>
            </a:fld>
            <a:endParaRPr lang="en-US"/>
          </a:p>
        </p:txBody>
      </p:sp>
      <p:sp>
        <p:nvSpPr>
          <p:cNvPr id="11" name="Content Placeholder 10"/>
          <p:cNvSpPr>
            <a:spLocks noGrp="1"/>
          </p:cNvSpPr>
          <p:nvPr>
            <p:ph sz="quarter" idx="1"/>
          </p:nvPr>
        </p:nvSpPr>
        <p:spPr>
          <a:xfrm>
            <a:off x="2971800" y="1600200"/>
            <a:ext cx="5715000" cy="44958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0" y="4900550"/>
            <a:ext cx="7315200" cy="522288"/>
          </a:xfrm>
        </p:spPr>
        <p:txBody>
          <a:bodyPr anchor="ctr">
            <a:noAutofit/>
          </a:bodyPr>
          <a:lstStyle>
            <a:lvl1pPr algn="l">
              <a:buNone/>
              <a:defRPr sz="2800" b="0"/>
            </a:lvl1pPr>
          </a:lstStyle>
          <a:p>
            <a:r>
              <a:rPr kumimoji="0" lang="en-US" smtClean="0"/>
              <a:t>Click to edit Master title style</a:t>
            </a:r>
            <a:endParaRPr kumimoji="0" lang="en-US"/>
          </a:p>
        </p:txBody>
      </p:sp>
      <p:sp>
        <p:nvSpPr>
          <p:cNvPr id="4" name="Text Placeholder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6" name="Footer Placeholder 5"/>
          <p:cNvSpPr>
            <a:spLocks noGrp="1"/>
          </p:cNvSpPr>
          <p:nvPr>
            <p:ph type="ftr" sz="quarter" idx="11"/>
          </p:nvPr>
        </p:nvSpPr>
        <p:spPr>
          <a:xfrm>
            <a:off x="914400" y="6172200"/>
            <a:ext cx="3886200" cy="457200"/>
          </a:xfrm>
        </p:spPr>
        <p:txBody>
          <a:bodyPr/>
          <a:lstStyle/>
          <a:p>
            <a:endParaRPr lang="en-US"/>
          </a:p>
        </p:txBody>
      </p:sp>
      <p:sp>
        <p:nvSpPr>
          <p:cNvPr id="7" name="Slide Number Placeholder 6"/>
          <p:cNvSpPr>
            <a:spLocks noGrp="1"/>
          </p:cNvSpPr>
          <p:nvPr>
            <p:ph type="sldNum" sz="quarter" idx="12"/>
          </p:nvPr>
        </p:nvSpPr>
        <p:spPr>
          <a:xfrm>
            <a:off x="146304" y="6208776"/>
            <a:ext cx="457200" cy="457200"/>
          </a:xfrm>
        </p:spPr>
        <p:txBody>
          <a:bodyPr/>
          <a:lstStyle/>
          <a:p>
            <a:fld id="{588F465F-DAF4-455E-950B-4E617B86F3AD}" type="slidenum">
              <a:rPr lang="en-US" smtClean="0"/>
              <a:pPr/>
              <a:t>‹#›</a:t>
            </a:fld>
            <a:endParaRPr lang="en-US"/>
          </a:p>
        </p:txBody>
      </p:sp>
      <p:sp>
        <p:nvSpPr>
          <p:cNvPr id="11" name="Rectangle 10"/>
          <p:cNvSpPr/>
          <p:nvPr/>
        </p:nvSpPr>
        <p:spPr>
          <a:xfrm flipV="1">
            <a:off x="68307" y="4683555"/>
            <a:ext cx="9006840"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Rectangle 11"/>
          <p:cNvSpPr/>
          <p:nvPr/>
        </p:nvSpPr>
        <p:spPr>
          <a:xfrm>
            <a:off x="68508" y="4650474"/>
            <a:ext cx="9006639"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3" name="Rectangle 12"/>
          <p:cNvSpPr/>
          <p:nvPr/>
        </p:nvSpPr>
        <p:spPr>
          <a:xfrm>
            <a:off x="68510" y="4773224"/>
            <a:ext cx="9006637" cy="4880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 name="Picture Placeholder 2"/>
          <p:cNvSpPr>
            <a:spLocks noGrp="1"/>
          </p:cNvSpPr>
          <p:nvPr>
            <p:ph type="pic" idx="1"/>
          </p:nvPr>
        </p:nvSpPr>
        <p:spPr>
          <a:xfrm>
            <a:off x="68308" y="66675"/>
            <a:ext cx="9001873" cy="4581525"/>
          </a:xfrm>
          <a:prstGeom prst="round2SameRect">
            <a:avLst>
              <a:gd name="adj1" fmla="val 7101"/>
              <a:gd name="adj2" fmla="val 0"/>
            </a:avLst>
          </a:prstGeom>
          <a:solidFill>
            <a:schemeClr val="bg2"/>
          </a:solidFill>
          <a:ln w="6350">
            <a:solidFill>
              <a:schemeClr val="tx1"/>
            </a:solidFill>
          </a:ln>
        </p:spPr>
        <p:txBody>
          <a:bodyPr/>
          <a:lstStyle>
            <a:lvl1pPr marL="0" indent="0">
              <a:buNone/>
              <a:defRPr sz="3200"/>
            </a:lvl1pPr>
          </a:lstStyle>
          <a:p>
            <a:r>
              <a:rPr kumimoji="0" lang="en-US" smtClean="0"/>
              <a:t>Click icon to add picture</a:t>
            </a:r>
            <a:endParaRPr kumimoji="0" lang="en-US" dirty="0"/>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8F465F-DAF4-455E-950B-4E617B86F3AD}" type="slidenum">
              <a:rPr lang="en-US" smtClean="0"/>
              <a:pPr/>
              <a:t>‹#›</a:t>
            </a:fld>
            <a:endParaRPr lang="en-US"/>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1"/>
            <a:ext cx="2011680" cy="5851525"/>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914400" y="274640"/>
            <a:ext cx="5562600" cy="5851525"/>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8F465F-DAF4-455E-950B-4E617B86F3AD}" type="slidenum">
              <a:rPr lang="en-US" smtClean="0"/>
              <a:pPr/>
              <a:t>‹#›</a:t>
            </a:fld>
            <a:endParaRPr lang="en-US"/>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84D6BE53-E898-4631-AD7B-CF47A7D0234D}" type="slidenum">
              <a:rPr lang="ar-SA"/>
              <a:pPr/>
              <a:t>‹#›</a:t>
            </a:fld>
            <a:endParaRPr lang="en-US"/>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B00D3B62-FD16-46C9-B17F-A456F34E0478}" type="slidenum">
              <a:rPr lang="ar-SA"/>
              <a:pPr/>
              <a:t>‹#›</a:t>
            </a:fld>
            <a:endParaRPr lang="en-US"/>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9301F971-9D30-42BA-A170-759B41E333B2}" type="slidenum">
              <a:rPr lang="ar-SA"/>
              <a:pPr/>
              <a:t>‹#›</a:t>
            </a:fld>
            <a:endParaRPr lang="en-US"/>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AEE76A65-4C1F-4F76-B4AE-F0FBCAA32B49}" type="slidenum">
              <a:rPr lang="ar-SA"/>
              <a:pPr/>
              <a:t>‹#›</a:t>
            </a:fld>
            <a:endParaRPr lang="en-US"/>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endParaRPr lang="en-US"/>
          </a:p>
        </p:txBody>
      </p:sp>
      <p:sp>
        <p:nvSpPr>
          <p:cNvPr id="8" name="Footer Placeholder 7"/>
          <p:cNvSpPr>
            <a:spLocks noGrp="1"/>
          </p:cNvSpPr>
          <p:nvPr>
            <p:ph type="ftr" sz="quarter" idx="11"/>
          </p:nvPr>
        </p:nvSpPr>
        <p:spPr/>
        <p:txBody>
          <a:bodyPr/>
          <a:lstStyle>
            <a:lvl1pPr>
              <a:defRPr/>
            </a:lvl1pPr>
          </a:lstStyle>
          <a:p>
            <a:endParaRPr lang="en-US"/>
          </a:p>
        </p:txBody>
      </p:sp>
      <p:sp>
        <p:nvSpPr>
          <p:cNvPr id="9" name="Slide Number Placeholder 8"/>
          <p:cNvSpPr>
            <a:spLocks noGrp="1"/>
          </p:cNvSpPr>
          <p:nvPr>
            <p:ph type="sldNum" sz="quarter" idx="12"/>
          </p:nvPr>
        </p:nvSpPr>
        <p:spPr/>
        <p:txBody>
          <a:bodyPr/>
          <a:lstStyle>
            <a:lvl1pPr>
              <a:defRPr/>
            </a:lvl1pPr>
          </a:lstStyle>
          <a:p>
            <a:fld id="{5D3C36B5-A313-4443-B5C4-E597EB7C1B55}" type="slidenum">
              <a:rPr lang="ar-SA"/>
              <a:pPr/>
              <a:t>‹#›</a:t>
            </a:fld>
            <a:endParaRPr lang="en-US"/>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endParaRPr lang="en-US"/>
          </a:p>
        </p:txBody>
      </p:sp>
      <p:sp>
        <p:nvSpPr>
          <p:cNvPr id="4" name="Footer Placeholder 3"/>
          <p:cNvSpPr>
            <a:spLocks noGrp="1"/>
          </p:cNvSpPr>
          <p:nvPr>
            <p:ph type="ftr" sz="quarter" idx="11"/>
          </p:nvPr>
        </p:nvSpPr>
        <p:spPr/>
        <p:txBody>
          <a:bodyPr/>
          <a:lstStyle>
            <a:lvl1pPr>
              <a:defRPr/>
            </a:lvl1pPr>
          </a:lstStyle>
          <a:p>
            <a:endParaRPr lang="en-US"/>
          </a:p>
        </p:txBody>
      </p:sp>
      <p:sp>
        <p:nvSpPr>
          <p:cNvPr id="5" name="Slide Number Placeholder 4"/>
          <p:cNvSpPr>
            <a:spLocks noGrp="1"/>
          </p:cNvSpPr>
          <p:nvPr>
            <p:ph type="sldNum" sz="quarter" idx="12"/>
          </p:nvPr>
        </p:nvSpPr>
        <p:spPr/>
        <p:txBody>
          <a:bodyPr/>
          <a:lstStyle>
            <a:lvl1pPr>
              <a:defRPr/>
            </a:lvl1pPr>
          </a:lstStyle>
          <a:p>
            <a:fld id="{58A3F106-6E81-41B7-8EE6-2C4C640778E8}" type="slidenum">
              <a:rPr lang="ar-SA"/>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useBgFill="1">
        <p:nvSpPr>
          <p:cNvPr id="9" name="Rounded Rectangle 8"/>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914400" y="273050"/>
            <a:ext cx="7772400" cy="1143000"/>
          </a:xfrm>
        </p:spPr>
        <p:txBody>
          <a:bodyPr anchor="b" anchorCtr="0"/>
          <a:lstStyle>
            <a:lvl1pPr algn="l">
              <a:buNone/>
              <a:defRPr sz="4000" b="0"/>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88F465F-DAF4-455E-950B-4E617B86F3AD}" type="slidenum">
              <a:rPr lang="en-US" smtClean="0"/>
              <a:pPr/>
              <a:t>‹#›</a:t>
            </a:fld>
            <a:endParaRPr lang="en-US"/>
          </a:p>
        </p:txBody>
      </p:sp>
      <p:sp>
        <p:nvSpPr>
          <p:cNvPr id="11" name="Content Placeholder 10"/>
          <p:cNvSpPr>
            <a:spLocks noGrp="1"/>
          </p:cNvSpPr>
          <p:nvPr>
            <p:ph sz="quarter" idx="1"/>
          </p:nvPr>
        </p:nvSpPr>
        <p:spPr>
          <a:xfrm>
            <a:off x="2971800" y="1600200"/>
            <a:ext cx="5715000" cy="44958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p>
        </p:txBody>
      </p:sp>
      <p:sp>
        <p:nvSpPr>
          <p:cNvPr id="3" name="Footer Placeholder 2"/>
          <p:cNvSpPr>
            <a:spLocks noGrp="1"/>
          </p:cNvSpPr>
          <p:nvPr>
            <p:ph type="ftr" sz="quarter" idx="11"/>
          </p:nvPr>
        </p:nvSpPr>
        <p:spPr/>
        <p:txBody>
          <a:bodyPr/>
          <a:lstStyle>
            <a:lvl1pPr>
              <a:defRPr/>
            </a:lvl1pPr>
          </a:lstStyle>
          <a:p>
            <a:endParaRPr lang="en-US"/>
          </a:p>
        </p:txBody>
      </p:sp>
      <p:sp>
        <p:nvSpPr>
          <p:cNvPr id="4" name="Slide Number Placeholder 3"/>
          <p:cNvSpPr>
            <a:spLocks noGrp="1"/>
          </p:cNvSpPr>
          <p:nvPr>
            <p:ph type="sldNum" sz="quarter" idx="12"/>
          </p:nvPr>
        </p:nvSpPr>
        <p:spPr/>
        <p:txBody>
          <a:bodyPr/>
          <a:lstStyle>
            <a:lvl1pPr>
              <a:defRPr/>
            </a:lvl1pPr>
          </a:lstStyle>
          <a:p>
            <a:fld id="{3C9A4E81-2C98-41CD-9289-6311257248A6}" type="slidenum">
              <a:rPr lang="ar-SA"/>
              <a:pPr/>
              <a:t>‹#›</a:t>
            </a:fld>
            <a:endParaRPr lang="en-US"/>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03F5F23A-8ECA-428D-92A9-7E1EC036019A}" type="slidenum">
              <a:rPr lang="ar-SA"/>
              <a:pPr/>
              <a:t>‹#›</a:t>
            </a:fld>
            <a:endParaRPr 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EFF98DD0-86DF-474D-BE06-58A4AEC63284}" type="slidenum">
              <a:rPr lang="ar-SA"/>
              <a:pPr/>
              <a:t>‹#›</a:t>
            </a:fld>
            <a:endParaRPr 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546EDAE6-0965-474C-9166-E0ABD78E5154}" type="slidenum">
              <a:rPr lang="ar-SA"/>
              <a:pPr/>
              <a:t>‹#›</a:t>
            </a:fld>
            <a:endParaRPr lang="en-US"/>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F9B985CE-7E6E-4E34-8137-1141B88F2288}" type="slidenum">
              <a:rPr lang="ar-SA"/>
              <a:pPr/>
              <a:t>‹#›</a:t>
            </a:fld>
            <a:endParaRPr 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553200" y="6245225"/>
            <a:ext cx="2133600" cy="476250"/>
          </a:xfrm>
        </p:spPr>
        <p:txBody>
          <a:bodyPr/>
          <a:lstStyle>
            <a:lvl1pPr>
              <a:defRPr/>
            </a:lvl1pPr>
          </a:lstStyle>
          <a:p>
            <a:endParaRPr lang="en-US"/>
          </a:p>
        </p:txBody>
      </p:sp>
      <p:sp>
        <p:nvSpPr>
          <p:cNvPr id="6" name="Footer Placeholder 5"/>
          <p:cNvSpPr>
            <a:spLocks noGrp="1"/>
          </p:cNvSpPr>
          <p:nvPr>
            <p:ph type="ftr" sz="quarter" idx="11"/>
          </p:nvPr>
        </p:nvSpPr>
        <p:spPr>
          <a:xfrm>
            <a:off x="3124200" y="6245225"/>
            <a:ext cx="2895600" cy="476250"/>
          </a:xfrm>
        </p:spPr>
        <p:txBody>
          <a:bodyPr/>
          <a:lstStyle>
            <a:lvl1pPr>
              <a:defRPr/>
            </a:lvl1pPr>
          </a:lstStyle>
          <a:p>
            <a:endParaRPr lang="en-US"/>
          </a:p>
        </p:txBody>
      </p:sp>
      <p:sp>
        <p:nvSpPr>
          <p:cNvPr id="7" name="Slide Number Placeholder 6"/>
          <p:cNvSpPr>
            <a:spLocks noGrp="1"/>
          </p:cNvSpPr>
          <p:nvPr>
            <p:ph type="sldNum" sz="quarter" idx="12"/>
          </p:nvPr>
        </p:nvSpPr>
        <p:spPr>
          <a:xfrm>
            <a:off x="457200" y="6245225"/>
            <a:ext cx="2133600" cy="476250"/>
          </a:xfrm>
        </p:spPr>
        <p:txBody>
          <a:bodyPr/>
          <a:lstStyle>
            <a:lvl1pPr>
              <a:defRPr/>
            </a:lvl1pPr>
          </a:lstStyle>
          <a:p>
            <a:fld id="{26DE4CBB-54A0-4426-B93A-5DCD40AE6FCB}" type="slidenum">
              <a:rPr lang="ar-SA"/>
              <a:pPr/>
              <a:t>‹#›</a:t>
            </a:fld>
            <a:endParaRPr lang="en-US"/>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0"/>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38588"/>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5"/>
          <p:cNvSpPr>
            <a:spLocks noGrp="1"/>
          </p:cNvSpPr>
          <p:nvPr>
            <p:ph type="dt" sz="half" idx="10"/>
          </p:nvPr>
        </p:nvSpPr>
        <p:spPr>
          <a:xfrm>
            <a:off x="6553200" y="6245225"/>
            <a:ext cx="2133600" cy="476250"/>
          </a:xfrm>
        </p:spPr>
        <p:txBody>
          <a:bodyPr/>
          <a:lstStyle>
            <a:lvl1pPr>
              <a:defRPr/>
            </a:lvl1pPr>
          </a:lstStyle>
          <a:p>
            <a:endParaRPr lang="en-US"/>
          </a:p>
        </p:txBody>
      </p:sp>
      <p:sp>
        <p:nvSpPr>
          <p:cNvPr id="7" name="Footer Placeholder 6"/>
          <p:cNvSpPr>
            <a:spLocks noGrp="1"/>
          </p:cNvSpPr>
          <p:nvPr>
            <p:ph type="ftr" sz="quarter" idx="11"/>
          </p:nvPr>
        </p:nvSpPr>
        <p:spPr>
          <a:xfrm>
            <a:off x="3124200" y="6245225"/>
            <a:ext cx="2895600" cy="476250"/>
          </a:xfrm>
        </p:spPr>
        <p:txBody>
          <a:bodyPr/>
          <a:lstStyle>
            <a:lvl1pPr>
              <a:defRPr/>
            </a:lvl1pPr>
          </a:lstStyle>
          <a:p>
            <a:endParaRPr lang="en-US"/>
          </a:p>
        </p:txBody>
      </p:sp>
      <p:sp>
        <p:nvSpPr>
          <p:cNvPr id="8" name="Slide Number Placeholder 7"/>
          <p:cNvSpPr>
            <a:spLocks noGrp="1"/>
          </p:cNvSpPr>
          <p:nvPr>
            <p:ph type="sldNum" sz="quarter" idx="12"/>
          </p:nvPr>
        </p:nvSpPr>
        <p:spPr>
          <a:xfrm>
            <a:off x="457200" y="6245225"/>
            <a:ext cx="2133600" cy="476250"/>
          </a:xfrm>
        </p:spPr>
        <p:txBody>
          <a:bodyPr/>
          <a:lstStyle>
            <a:lvl1pPr>
              <a:defRPr/>
            </a:lvl1pPr>
          </a:lstStyle>
          <a:p>
            <a:fld id="{B78EC636-6886-4854-8967-D915FC6FBE7E}" type="slidenum">
              <a:rPr lang="ar-SA"/>
              <a:pPr/>
              <a:t>‹#›</a:t>
            </a:fld>
            <a:endParaRPr lang="en-US"/>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0"/>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38588"/>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5"/>
          <p:cNvSpPr>
            <a:spLocks noGrp="1"/>
          </p:cNvSpPr>
          <p:nvPr>
            <p:ph type="dt" sz="half" idx="10"/>
          </p:nvPr>
        </p:nvSpPr>
        <p:spPr>
          <a:xfrm>
            <a:off x="6553200" y="6245225"/>
            <a:ext cx="2133600" cy="476250"/>
          </a:xfrm>
        </p:spPr>
        <p:txBody>
          <a:bodyPr/>
          <a:lstStyle>
            <a:lvl1pPr>
              <a:defRPr/>
            </a:lvl1pPr>
          </a:lstStyle>
          <a:p>
            <a:endParaRPr lang="en-US"/>
          </a:p>
        </p:txBody>
      </p:sp>
      <p:sp>
        <p:nvSpPr>
          <p:cNvPr id="7" name="Footer Placeholder 6"/>
          <p:cNvSpPr>
            <a:spLocks noGrp="1"/>
          </p:cNvSpPr>
          <p:nvPr>
            <p:ph type="ftr" sz="quarter" idx="11"/>
          </p:nvPr>
        </p:nvSpPr>
        <p:spPr>
          <a:xfrm>
            <a:off x="3124200" y="6245225"/>
            <a:ext cx="2895600" cy="476250"/>
          </a:xfrm>
        </p:spPr>
        <p:txBody>
          <a:bodyPr/>
          <a:lstStyle>
            <a:lvl1pPr>
              <a:defRPr/>
            </a:lvl1pPr>
          </a:lstStyle>
          <a:p>
            <a:endParaRPr lang="en-US"/>
          </a:p>
        </p:txBody>
      </p:sp>
      <p:sp>
        <p:nvSpPr>
          <p:cNvPr id="8" name="Slide Number Placeholder 7"/>
          <p:cNvSpPr>
            <a:spLocks noGrp="1"/>
          </p:cNvSpPr>
          <p:nvPr>
            <p:ph type="sldNum" sz="quarter" idx="12"/>
          </p:nvPr>
        </p:nvSpPr>
        <p:spPr>
          <a:xfrm>
            <a:off x="457200" y="6245225"/>
            <a:ext cx="2133600" cy="476250"/>
          </a:xfrm>
        </p:spPr>
        <p:txBody>
          <a:bodyPr/>
          <a:lstStyle>
            <a:lvl1pPr>
              <a:defRPr/>
            </a:lvl1pPr>
          </a:lstStyle>
          <a:p>
            <a:fld id="{5E2D1429-E4A3-4205-BC47-2264BD0D6D0C}" type="slidenum">
              <a:rPr lang="ar-SA"/>
              <a:pPr/>
              <a:t>‹#›</a:t>
            </a:fld>
            <a:endParaRPr lang="en-US"/>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57200" y="274638"/>
            <a:ext cx="8229600" cy="1143000"/>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457200" y="1600200"/>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0"/>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7200" y="3938588"/>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8200" y="3938588"/>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553200" y="6245225"/>
            <a:ext cx="2133600" cy="476250"/>
          </a:xfrm>
        </p:spPr>
        <p:txBody>
          <a:bodyPr/>
          <a:lstStyle>
            <a:lvl1pPr>
              <a:defRPr/>
            </a:lvl1pPr>
          </a:lstStyle>
          <a:p>
            <a:endParaRPr lang="en-US"/>
          </a:p>
        </p:txBody>
      </p:sp>
      <p:sp>
        <p:nvSpPr>
          <p:cNvPr id="8" name="Footer Placeholder 7"/>
          <p:cNvSpPr>
            <a:spLocks noGrp="1"/>
          </p:cNvSpPr>
          <p:nvPr>
            <p:ph type="ftr" sz="quarter" idx="11"/>
          </p:nvPr>
        </p:nvSpPr>
        <p:spPr>
          <a:xfrm>
            <a:off x="3124200" y="6245225"/>
            <a:ext cx="2895600" cy="476250"/>
          </a:xfrm>
        </p:spPr>
        <p:txBody>
          <a:bodyPr/>
          <a:lstStyle>
            <a:lvl1pPr>
              <a:defRPr/>
            </a:lvl1pPr>
          </a:lstStyle>
          <a:p>
            <a:endParaRPr lang="en-US"/>
          </a:p>
        </p:txBody>
      </p:sp>
      <p:sp>
        <p:nvSpPr>
          <p:cNvPr id="9" name="Slide Number Placeholder 8"/>
          <p:cNvSpPr>
            <a:spLocks noGrp="1"/>
          </p:cNvSpPr>
          <p:nvPr>
            <p:ph type="sldNum" sz="quarter" idx="12"/>
          </p:nvPr>
        </p:nvSpPr>
        <p:spPr>
          <a:xfrm>
            <a:off x="457200" y="6245225"/>
            <a:ext cx="2133600" cy="476250"/>
          </a:xfrm>
        </p:spPr>
        <p:txBody>
          <a:bodyPr/>
          <a:lstStyle>
            <a:lvl1pPr>
              <a:defRPr/>
            </a:lvl1pPr>
          </a:lstStyle>
          <a:p>
            <a:fld id="{5EC2240D-FD42-45FD-9695-2E6D76FFABF5}" type="slidenum">
              <a:rPr lang="ar-SA"/>
              <a:pPr/>
              <a:t>‹#›</a:t>
            </a:fld>
            <a:endParaRPr lang="en-US"/>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9BD2B043-02CE-414B-B765-225F0BA5C925}" type="slidenum">
              <a:rPr lang="ar-SA"/>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0" y="4900550"/>
            <a:ext cx="7315200" cy="522288"/>
          </a:xfrm>
        </p:spPr>
        <p:txBody>
          <a:bodyPr anchor="ctr">
            <a:noAutofit/>
          </a:bodyPr>
          <a:lstStyle>
            <a:lvl1pPr algn="l">
              <a:buNone/>
              <a:defRPr sz="2800" b="0"/>
            </a:lvl1pPr>
          </a:lstStyle>
          <a:p>
            <a:r>
              <a:rPr kumimoji="0" lang="en-US" smtClean="0"/>
              <a:t>Click to edit Master title style</a:t>
            </a:r>
            <a:endParaRPr kumimoji="0" lang="en-US"/>
          </a:p>
        </p:txBody>
      </p:sp>
      <p:sp>
        <p:nvSpPr>
          <p:cNvPr id="4" name="Text Placeholder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fld id="{59B234A6-B6B0-408D-92A4-4618A986D937}" type="datetimeFigureOut">
              <a:rPr lang="en-US" smtClean="0"/>
              <a:pPr/>
              <a:t>15/08/2024</a:t>
            </a:fld>
            <a:endParaRPr lang="en-US"/>
          </a:p>
        </p:txBody>
      </p:sp>
      <p:sp>
        <p:nvSpPr>
          <p:cNvPr id="6" name="Footer Placeholder 5"/>
          <p:cNvSpPr>
            <a:spLocks noGrp="1"/>
          </p:cNvSpPr>
          <p:nvPr>
            <p:ph type="ftr" sz="quarter" idx="11"/>
          </p:nvPr>
        </p:nvSpPr>
        <p:spPr>
          <a:xfrm>
            <a:off x="914400" y="6172200"/>
            <a:ext cx="3886200" cy="457200"/>
          </a:xfrm>
        </p:spPr>
        <p:txBody>
          <a:bodyPr/>
          <a:lstStyle/>
          <a:p>
            <a:endParaRPr lang="en-US"/>
          </a:p>
        </p:txBody>
      </p:sp>
      <p:sp>
        <p:nvSpPr>
          <p:cNvPr id="7" name="Slide Number Placeholder 6"/>
          <p:cNvSpPr>
            <a:spLocks noGrp="1"/>
          </p:cNvSpPr>
          <p:nvPr>
            <p:ph type="sldNum" sz="quarter" idx="12"/>
          </p:nvPr>
        </p:nvSpPr>
        <p:spPr>
          <a:xfrm>
            <a:off x="146304" y="6208776"/>
            <a:ext cx="457200" cy="457200"/>
          </a:xfrm>
        </p:spPr>
        <p:txBody>
          <a:bodyPr/>
          <a:lstStyle/>
          <a:p>
            <a:fld id="{588F465F-DAF4-455E-950B-4E617B86F3AD}" type="slidenum">
              <a:rPr lang="en-US" smtClean="0"/>
              <a:pPr/>
              <a:t>‹#›</a:t>
            </a:fld>
            <a:endParaRPr lang="en-US"/>
          </a:p>
        </p:txBody>
      </p:sp>
      <p:sp>
        <p:nvSpPr>
          <p:cNvPr id="11" name="Rectangle 10"/>
          <p:cNvSpPr/>
          <p:nvPr/>
        </p:nvSpPr>
        <p:spPr>
          <a:xfrm flipV="1">
            <a:off x="68307" y="4683555"/>
            <a:ext cx="9006840"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Rectangle 11"/>
          <p:cNvSpPr/>
          <p:nvPr/>
        </p:nvSpPr>
        <p:spPr>
          <a:xfrm>
            <a:off x="68508" y="4650474"/>
            <a:ext cx="9006639"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3" name="Rectangle 12"/>
          <p:cNvSpPr/>
          <p:nvPr/>
        </p:nvSpPr>
        <p:spPr>
          <a:xfrm>
            <a:off x="68510" y="4773224"/>
            <a:ext cx="9006637" cy="4880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 name="Picture Placeholder 2"/>
          <p:cNvSpPr>
            <a:spLocks noGrp="1"/>
          </p:cNvSpPr>
          <p:nvPr>
            <p:ph type="pic" idx="1"/>
          </p:nvPr>
        </p:nvSpPr>
        <p:spPr>
          <a:xfrm>
            <a:off x="68308" y="66675"/>
            <a:ext cx="9001873" cy="4581525"/>
          </a:xfrm>
          <a:prstGeom prst="round2SameRect">
            <a:avLst>
              <a:gd name="adj1" fmla="val 7101"/>
              <a:gd name="adj2" fmla="val 0"/>
            </a:avLst>
          </a:prstGeom>
          <a:solidFill>
            <a:schemeClr val="bg2"/>
          </a:solidFill>
          <a:ln w="6350">
            <a:solidFill>
              <a:schemeClr val="tx1"/>
            </a:solidFill>
          </a:ln>
        </p:spPr>
        <p:txBody>
          <a:bodyPr/>
          <a:lstStyle>
            <a:lvl1pPr marL="0" indent="0">
              <a:buNone/>
              <a:defRPr sz="3200"/>
            </a:lvl1pPr>
          </a:lstStyle>
          <a:p>
            <a:r>
              <a:rPr kumimoji="0" lang="en-US" smtClean="0"/>
              <a:t>Click icon to add picture</a:t>
            </a:r>
            <a:endParaRPr kumimoji="0" lang="en-US" dirty="0"/>
          </a:p>
        </p:txBody>
      </p:sp>
    </p:spTree>
  </p:cSld>
  <p:clrMapOvr>
    <a:masterClrMapping/>
  </p:clrMapOvr>
  <p:transition>
    <p:dissolve/>
    <p:sndAc>
      <p:stSnd>
        <p:snd r:embed="rId1" name="chimes.wav"/>
      </p:stSnd>
    </p:sndAc>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692973A2-DEDD-4CA5-A05C-DF386CC4FDAE}" type="slidenum">
              <a:rPr lang="ar-SA"/>
              <a:pPr/>
              <a:t>‹#›</a:t>
            </a:fld>
            <a:endParaRPr lang="en-US"/>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2AC1172B-9951-44CD-A366-6F38450B4B51}" type="slidenum">
              <a:rPr lang="ar-SA"/>
              <a:pPr/>
              <a:t>‹#›</a:t>
            </a:fld>
            <a:endParaRPr lang="en-US"/>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2873B45E-4A02-48E5-A50B-9450F5D47E69}" type="slidenum">
              <a:rPr lang="ar-SA"/>
              <a:pPr/>
              <a:t>‹#›</a:t>
            </a:fld>
            <a:endParaRPr lang="en-US"/>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endParaRPr lang="en-US"/>
          </a:p>
        </p:txBody>
      </p:sp>
      <p:sp>
        <p:nvSpPr>
          <p:cNvPr id="8" name="Footer Placeholder 7"/>
          <p:cNvSpPr>
            <a:spLocks noGrp="1"/>
          </p:cNvSpPr>
          <p:nvPr>
            <p:ph type="ftr" sz="quarter" idx="11"/>
          </p:nvPr>
        </p:nvSpPr>
        <p:spPr/>
        <p:txBody>
          <a:bodyPr/>
          <a:lstStyle>
            <a:lvl1pPr>
              <a:defRPr/>
            </a:lvl1pPr>
          </a:lstStyle>
          <a:p>
            <a:endParaRPr lang="en-US"/>
          </a:p>
        </p:txBody>
      </p:sp>
      <p:sp>
        <p:nvSpPr>
          <p:cNvPr id="9" name="Slide Number Placeholder 8"/>
          <p:cNvSpPr>
            <a:spLocks noGrp="1"/>
          </p:cNvSpPr>
          <p:nvPr>
            <p:ph type="sldNum" sz="quarter" idx="12"/>
          </p:nvPr>
        </p:nvSpPr>
        <p:spPr/>
        <p:txBody>
          <a:bodyPr/>
          <a:lstStyle>
            <a:lvl1pPr>
              <a:defRPr/>
            </a:lvl1pPr>
          </a:lstStyle>
          <a:p>
            <a:fld id="{043B1570-F647-4430-9E6E-EA34A27CAD04}" type="slidenum">
              <a:rPr lang="ar-SA"/>
              <a:pPr/>
              <a:t>‹#›</a:t>
            </a:fld>
            <a:endParaRPr lang="en-US"/>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endParaRPr lang="en-US"/>
          </a:p>
        </p:txBody>
      </p:sp>
      <p:sp>
        <p:nvSpPr>
          <p:cNvPr id="4" name="Footer Placeholder 3"/>
          <p:cNvSpPr>
            <a:spLocks noGrp="1"/>
          </p:cNvSpPr>
          <p:nvPr>
            <p:ph type="ftr" sz="quarter" idx="11"/>
          </p:nvPr>
        </p:nvSpPr>
        <p:spPr/>
        <p:txBody>
          <a:bodyPr/>
          <a:lstStyle>
            <a:lvl1pPr>
              <a:defRPr/>
            </a:lvl1pPr>
          </a:lstStyle>
          <a:p>
            <a:endParaRPr lang="en-US"/>
          </a:p>
        </p:txBody>
      </p:sp>
      <p:sp>
        <p:nvSpPr>
          <p:cNvPr id="5" name="Slide Number Placeholder 4"/>
          <p:cNvSpPr>
            <a:spLocks noGrp="1"/>
          </p:cNvSpPr>
          <p:nvPr>
            <p:ph type="sldNum" sz="quarter" idx="12"/>
          </p:nvPr>
        </p:nvSpPr>
        <p:spPr/>
        <p:txBody>
          <a:bodyPr/>
          <a:lstStyle>
            <a:lvl1pPr>
              <a:defRPr/>
            </a:lvl1pPr>
          </a:lstStyle>
          <a:p>
            <a:fld id="{8A791F50-C2B1-43BA-815D-1A3254649112}" type="slidenum">
              <a:rPr lang="ar-SA"/>
              <a:pPr/>
              <a:t>‹#›</a:t>
            </a:fld>
            <a:endParaRPr lang="en-US"/>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p>
        </p:txBody>
      </p:sp>
      <p:sp>
        <p:nvSpPr>
          <p:cNvPr id="3" name="Footer Placeholder 2"/>
          <p:cNvSpPr>
            <a:spLocks noGrp="1"/>
          </p:cNvSpPr>
          <p:nvPr>
            <p:ph type="ftr" sz="quarter" idx="11"/>
          </p:nvPr>
        </p:nvSpPr>
        <p:spPr/>
        <p:txBody>
          <a:bodyPr/>
          <a:lstStyle>
            <a:lvl1pPr>
              <a:defRPr/>
            </a:lvl1pPr>
          </a:lstStyle>
          <a:p>
            <a:endParaRPr lang="en-US"/>
          </a:p>
        </p:txBody>
      </p:sp>
      <p:sp>
        <p:nvSpPr>
          <p:cNvPr id="4" name="Slide Number Placeholder 3"/>
          <p:cNvSpPr>
            <a:spLocks noGrp="1"/>
          </p:cNvSpPr>
          <p:nvPr>
            <p:ph type="sldNum" sz="quarter" idx="12"/>
          </p:nvPr>
        </p:nvSpPr>
        <p:spPr/>
        <p:txBody>
          <a:bodyPr/>
          <a:lstStyle>
            <a:lvl1pPr>
              <a:defRPr/>
            </a:lvl1pPr>
          </a:lstStyle>
          <a:p>
            <a:fld id="{9F0DA883-4B99-4D10-9825-E397ACD1FDA8}" type="slidenum">
              <a:rPr lang="ar-SA"/>
              <a:pPr/>
              <a:t>‹#›</a:t>
            </a:fld>
            <a:endParaRPr lang="en-US"/>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80B47EFC-407C-4C8E-A3A9-7202760091BC}" type="slidenum">
              <a:rPr lang="ar-SA"/>
              <a:pPr/>
              <a:t>‹#›</a:t>
            </a:fld>
            <a:endParaRPr lang="en-US"/>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720C86A2-680D-4ADA-8E56-8A250284A89D}" type="slidenum">
              <a:rPr lang="ar-SA"/>
              <a:pPr/>
              <a:t>‹#›</a:t>
            </a:fld>
            <a:endParaRPr lang="en-US"/>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99624BC6-669E-482C-8B9B-96212C71824A}" type="slidenum">
              <a:rPr lang="ar-SA"/>
              <a:pPr/>
              <a:t>‹#›</a:t>
            </a:fld>
            <a:endParaRPr lang="en-US"/>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CF50E93F-F1A6-43E5-BB5B-5CBDAB6AD248}" type="slidenum">
              <a:rPr lang="ar-SA"/>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audio" Target="../media/audio1.wav"/></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14.xml"/><Relationship Id="rId7" Type="http://schemas.openxmlformats.org/officeDocument/2006/relationships/theme" Target="../theme/theme10.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5" Type="http://schemas.openxmlformats.org/officeDocument/2006/relationships/slideLayout" Target="../slideLayouts/slideLayout116.xml"/><Relationship Id="rId4" Type="http://schemas.openxmlformats.org/officeDocument/2006/relationships/slideLayout" Target="../slideLayouts/slideLayout11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5.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theme" Target="../theme/theme11.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theme" Target="../theme/theme12.xml"/><Relationship Id="rId10" Type="http://schemas.openxmlformats.org/officeDocument/2006/relationships/slideLayout" Target="../slideLayouts/slideLayout138.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0.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theme" Target="../theme/theme13.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5" Type="http://schemas.openxmlformats.org/officeDocument/2006/relationships/theme" Target="../theme/theme14.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slideLayout" Target="../slideLayouts/slideLayout193.xml"/><Relationship Id="rId21" Type="http://schemas.openxmlformats.org/officeDocument/2006/relationships/slideLayout" Target="../slideLayouts/slideLayout188.xml"/><Relationship Id="rId34" Type="http://schemas.openxmlformats.org/officeDocument/2006/relationships/slideLayout" Target="../slideLayouts/slideLayout201.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33" Type="http://schemas.openxmlformats.org/officeDocument/2006/relationships/slideLayout" Target="../slideLayouts/slideLayout200.xml"/><Relationship Id="rId38" Type="http://schemas.openxmlformats.org/officeDocument/2006/relationships/theme" Target="../theme/theme15.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29" Type="http://schemas.openxmlformats.org/officeDocument/2006/relationships/slideLayout" Target="../slideLayouts/slideLayout196.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32" Type="http://schemas.openxmlformats.org/officeDocument/2006/relationships/slideLayout" Target="../slideLayouts/slideLayout199.xml"/><Relationship Id="rId37" Type="http://schemas.openxmlformats.org/officeDocument/2006/relationships/slideLayout" Target="../slideLayouts/slideLayout204.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36" Type="http://schemas.openxmlformats.org/officeDocument/2006/relationships/slideLayout" Target="../slideLayouts/slideLayout203.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31" Type="http://schemas.openxmlformats.org/officeDocument/2006/relationships/slideLayout" Target="../slideLayouts/slideLayout198.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30" Type="http://schemas.openxmlformats.org/officeDocument/2006/relationships/slideLayout" Target="../slideLayouts/slideLayout197.xml"/><Relationship Id="rId35" Type="http://schemas.openxmlformats.org/officeDocument/2006/relationships/slideLayout" Target="../slideLayouts/slideLayout202.xml"/><Relationship Id="rId8" Type="http://schemas.openxmlformats.org/officeDocument/2006/relationships/slideLayout" Target="../slideLayouts/slideLayout175.xml"/><Relationship Id="rId3" Type="http://schemas.openxmlformats.org/officeDocument/2006/relationships/slideLayout" Target="../slideLayouts/slideLayout17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12.xml"/><Relationship Id="rId3" Type="http://schemas.openxmlformats.org/officeDocument/2006/relationships/slideLayout" Target="../slideLayouts/slideLayout207.xml"/><Relationship Id="rId7" Type="http://schemas.openxmlformats.org/officeDocument/2006/relationships/slideLayout" Target="../slideLayouts/slideLayout211.xml"/><Relationship Id="rId12" Type="http://schemas.openxmlformats.org/officeDocument/2006/relationships/theme" Target="../theme/theme16.xml"/><Relationship Id="rId2" Type="http://schemas.openxmlformats.org/officeDocument/2006/relationships/slideLayout" Target="../slideLayouts/slideLayout206.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5" Type="http://schemas.openxmlformats.org/officeDocument/2006/relationships/slideLayout" Target="../slideLayouts/slideLayout209.xml"/><Relationship Id="rId10" Type="http://schemas.openxmlformats.org/officeDocument/2006/relationships/slideLayout" Target="../slideLayouts/slideLayout214.xml"/><Relationship Id="rId4" Type="http://schemas.openxmlformats.org/officeDocument/2006/relationships/slideLayout" Target="../slideLayouts/slideLayout208.xml"/><Relationship Id="rId9" Type="http://schemas.openxmlformats.org/officeDocument/2006/relationships/slideLayout" Target="../slideLayouts/slideLayout21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3.xml"/><Relationship Id="rId3" Type="http://schemas.openxmlformats.org/officeDocument/2006/relationships/slideLayout" Target="../slideLayouts/slideLayout218.xml"/><Relationship Id="rId7" Type="http://schemas.openxmlformats.org/officeDocument/2006/relationships/slideLayout" Target="../slideLayouts/slideLayout222.xml"/><Relationship Id="rId12" Type="http://schemas.openxmlformats.org/officeDocument/2006/relationships/theme" Target="../theme/theme17.xml"/><Relationship Id="rId2" Type="http://schemas.openxmlformats.org/officeDocument/2006/relationships/slideLayout" Target="../slideLayouts/slideLayout217.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5" Type="http://schemas.openxmlformats.org/officeDocument/2006/relationships/slideLayout" Target="../slideLayouts/slideLayout220.xml"/><Relationship Id="rId10" Type="http://schemas.openxmlformats.org/officeDocument/2006/relationships/slideLayout" Target="../slideLayouts/slideLayout225.xml"/><Relationship Id="rId4" Type="http://schemas.openxmlformats.org/officeDocument/2006/relationships/slideLayout" Target="../slideLayouts/slideLayout219.xml"/><Relationship Id="rId9" Type="http://schemas.openxmlformats.org/officeDocument/2006/relationships/slideLayout" Target="../slideLayouts/slideLayout22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34.xml"/><Relationship Id="rId3" Type="http://schemas.openxmlformats.org/officeDocument/2006/relationships/slideLayout" Target="../slideLayouts/slideLayout229.xml"/><Relationship Id="rId7" Type="http://schemas.openxmlformats.org/officeDocument/2006/relationships/slideLayout" Target="../slideLayouts/slideLayout233.xml"/><Relationship Id="rId12" Type="http://schemas.openxmlformats.org/officeDocument/2006/relationships/theme" Target="../theme/theme18.xml"/><Relationship Id="rId2" Type="http://schemas.openxmlformats.org/officeDocument/2006/relationships/slideLayout" Target="../slideLayouts/slideLayout228.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5" Type="http://schemas.openxmlformats.org/officeDocument/2006/relationships/slideLayout" Target="../slideLayouts/slideLayout231.xml"/><Relationship Id="rId10" Type="http://schemas.openxmlformats.org/officeDocument/2006/relationships/slideLayout" Target="../slideLayouts/slideLayout236.xml"/><Relationship Id="rId4" Type="http://schemas.openxmlformats.org/officeDocument/2006/relationships/slideLayout" Target="../slideLayouts/slideLayout230.xml"/><Relationship Id="rId9" Type="http://schemas.openxmlformats.org/officeDocument/2006/relationships/slideLayout" Target="../slideLayouts/slideLayout23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45.xml"/><Relationship Id="rId3" Type="http://schemas.openxmlformats.org/officeDocument/2006/relationships/slideLayout" Target="../slideLayouts/slideLayout240.xml"/><Relationship Id="rId7" Type="http://schemas.openxmlformats.org/officeDocument/2006/relationships/slideLayout" Target="../slideLayouts/slideLayout244.xml"/><Relationship Id="rId12" Type="http://schemas.openxmlformats.org/officeDocument/2006/relationships/theme" Target="../theme/theme19.xml"/><Relationship Id="rId2" Type="http://schemas.openxmlformats.org/officeDocument/2006/relationships/slideLayout" Target="../slideLayouts/slideLayout239.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5" Type="http://schemas.openxmlformats.org/officeDocument/2006/relationships/slideLayout" Target="../slideLayouts/slideLayout242.xml"/><Relationship Id="rId10" Type="http://schemas.openxmlformats.org/officeDocument/2006/relationships/slideLayout" Target="../slideLayouts/slideLayout247.xml"/><Relationship Id="rId4" Type="http://schemas.openxmlformats.org/officeDocument/2006/relationships/slideLayout" Target="../slideLayouts/slideLayout241.xml"/><Relationship Id="rId9" Type="http://schemas.openxmlformats.org/officeDocument/2006/relationships/slideLayout" Target="../slideLayouts/slideLayout24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5.jpe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56.xml"/><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theme" Target="../theme/theme20.xml"/><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5" Type="http://schemas.openxmlformats.org/officeDocument/2006/relationships/slideLayout" Target="../slideLayouts/slideLayout253.xml"/><Relationship Id="rId10" Type="http://schemas.openxmlformats.org/officeDocument/2006/relationships/slideLayout" Target="../slideLayouts/slideLayout258.xml"/><Relationship Id="rId4" Type="http://schemas.openxmlformats.org/officeDocument/2006/relationships/slideLayout" Target="../slideLayouts/slideLayout252.xml"/><Relationship Id="rId9" Type="http://schemas.openxmlformats.org/officeDocument/2006/relationships/slideLayout" Target="../slideLayouts/slideLayout257.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image" Target="../media/image13.png"/><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10" Type="http://schemas.openxmlformats.org/officeDocument/2006/relationships/slideLayout" Target="../slideLayouts/slideLayout269.xml"/><Relationship Id="rId19" Type="http://schemas.openxmlformats.org/officeDocument/2006/relationships/theme" Target="../theme/theme21.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3" Type="http://schemas.openxmlformats.org/officeDocument/2006/relationships/slideLayout" Target="../slideLayouts/slideLayout280.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2" Type="http://schemas.openxmlformats.org/officeDocument/2006/relationships/slideLayout" Target="../slideLayouts/slideLayout279.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5" Type="http://schemas.openxmlformats.org/officeDocument/2006/relationships/slideLayout" Target="../slideLayouts/slideLayout282.xml"/><Relationship Id="rId10" Type="http://schemas.openxmlformats.org/officeDocument/2006/relationships/slideLayout" Target="../slideLayouts/slideLayout287.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image" Target="../media/image14.jpeg"/><Relationship Id="rId3" Type="http://schemas.openxmlformats.org/officeDocument/2006/relationships/slideLayout" Target="../slideLayouts/slideLayout293.xml"/><Relationship Id="rId7" Type="http://schemas.openxmlformats.org/officeDocument/2006/relationships/slideLayout" Target="../slideLayouts/slideLayout297.xml"/><Relationship Id="rId12" Type="http://schemas.openxmlformats.org/officeDocument/2006/relationships/theme" Target="../theme/theme23.xml"/><Relationship Id="rId2" Type="http://schemas.openxmlformats.org/officeDocument/2006/relationships/slideLayout" Target="../slideLayouts/slideLayout292.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5" Type="http://schemas.openxmlformats.org/officeDocument/2006/relationships/slideLayout" Target="../slideLayouts/slideLayout295.xml"/><Relationship Id="rId10" Type="http://schemas.openxmlformats.org/officeDocument/2006/relationships/slideLayout" Target="../slideLayouts/slideLayout300.xml"/><Relationship Id="rId4" Type="http://schemas.openxmlformats.org/officeDocument/2006/relationships/slideLayout" Target="../slideLayouts/slideLayout294.xml"/><Relationship Id="rId9" Type="http://schemas.openxmlformats.org/officeDocument/2006/relationships/slideLayout" Target="../slideLayouts/slideLayout299.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09.xml"/><Relationship Id="rId13" Type="http://schemas.openxmlformats.org/officeDocument/2006/relationships/image" Target="../media/image14.jpeg"/><Relationship Id="rId3" Type="http://schemas.openxmlformats.org/officeDocument/2006/relationships/slideLayout" Target="../slideLayouts/slideLayout304.xml"/><Relationship Id="rId7" Type="http://schemas.openxmlformats.org/officeDocument/2006/relationships/slideLayout" Target="../slideLayouts/slideLayout308.xml"/><Relationship Id="rId12" Type="http://schemas.openxmlformats.org/officeDocument/2006/relationships/theme" Target="../theme/theme24.xml"/><Relationship Id="rId2" Type="http://schemas.openxmlformats.org/officeDocument/2006/relationships/slideLayout" Target="../slideLayouts/slideLayout303.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5" Type="http://schemas.openxmlformats.org/officeDocument/2006/relationships/slideLayout" Target="../slideLayouts/slideLayout306.xml"/><Relationship Id="rId10" Type="http://schemas.openxmlformats.org/officeDocument/2006/relationships/slideLayout" Target="../slideLayouts/slideLayout311.xml"/><Relationship Id="rId4" Type="http://schemas.openxmlformats.org/officeDocument/2006/relationships/slideLayout" Target="../slideLayouts/slideLayout305.xml"/><Relationship Id="rId9" Type="http://schemas.openxmlformats.org/officeDocument/2006/relationships/slideLayout" Target="../slideLayouts/slideLayout310.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20.xml"/><Relationship Id="rId13" Type="http://schemas.openxmlformats.org/officeDocument/2006/relationships/image" Target="../media/image14.jpeg"/><Relationship Id="rId3" Type="http://schemas.openxmlformats.org/officeDocument/2006/relationships/slideLayout" Target="../slideLayouts/slideLayout315.xml"/><Relationship Id="rId7" Type="http://schemas.openxmlformats.org/officeDocument/2006/relationships/slideLayout" Target="../slideLayouts/slideLayout319.xml"/><Relationship Id="rId12" Type="http://schemas.openxmlformats.org/officeDocument/2006/relationships/theme" Target="../theme/theme25.xml"/><Relationship Id="rId2" Type="http://schemas.openxmlformats.org/officeDocument/2006/relationships/slideLayout" Target="../slideLayouts/slideLayout314.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11" Type="http://schemas.openxmlformats.org/officeDocument/2006/relationships/slideLayout" Target="../slideLayouts/slideLayout323.xml"/><Relationship Id="rId5" Type="http://schemas.openxmlformats.org/officeDocument/2006/relationships/slideLayout" Target="../slideLayouts/slideLayout317.xml"/><Relationship Id="rId10" Type="http://schemas.openxmlformats.org/officeDocument/2006/relationships/slideLayout" Target="../slideLayouts/slideLayout322.xml"/><Relationship Id="rId4" Type="http://schemas.openxmlformats.org/officeDocument/2006/relationships/slideLayout" Target="../slideLayouts/slideLayout316.xml"/><Relationship Id="rId9" Type="http://schemas.openxmlformats.org/officeDocument/2006/relationships/slideLayout" Target="../slideLayouts/slideLayout321.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31.xml"/><Relationship Id="rId3" Type="http://schemas.openxmlformats.org/officeDocument/2006/relationships/slideLayout" Target="../slideLayouts/slideLayout326.xml"/><Relationship Id="rId7" Type="http://schemas.openxmlformats.org/officeDocument/2006/relationships/slideLayout" Target="../slideLayouts/slideLayout330.xml"/><Relationship Id="rId12" Type="http://schemas.openxmlformats.org/officeDocument/2006/relationships/theme" Target="../theme/theme26.xml"/><Relationship Id="rId2" Type="http://schemas.openxmlformats.org/officeDocument/2006/relationships/slideLayout" Target="../slideLayouts/slideLayout325.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5" Type="http://schemas.openxmlformats.org/officeDocument/2006/relationships/slideLayout" Target="../slideLayouts/slideLayout328.xml"/><Relationship Id="rId10" Type="http://schemas.openxmlformats.org/officeDocument/2006/relationships/slideLayout" Target="../slideLayouts/slideLayout333.xml"/><Relationship Id="rId4" Type="http://schemas.openxmlformats.org/officeDocument/2006/relationships/slideLayout" Target="../slideLayouts/slideLayout327.xml"/><Relationship Id="rId9" Type="http://schemas.openxmlformats.org/officeDocument/2006/relationships/slideLayout" Target="../slideLayouts/slideLayout33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theme" Target="../theme/theme27.xml"/><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2" Type="http://schemas.openxmlformats.org/officeDocument/2006/relationships/slideLayout" Target="../slideLayouts/slideLayout336.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0" Type="http://schemas.openxmlformats.org/officeDocument/2006/relationships/slideLayout" Target="../slideLayouts/slideLayout344.xml"/><Relationship Id="rId4" Type="http://schemas.openxmlformats.org/officeDocument/2006/relationships/slideLayout" Target="../slideLayouts/slideLayout338.xml"/><Relationship Id="rId9" Type="http://schemas.openxmlformats.org/officeDocument/2006/relationships/slideLayout" Target="../slideLayouts/slideLayout343.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54.xml"/><Relationship Id="rId13" Type="http://schemas.openxmlformats.org/officeDocument/2006/relationships/image" Target="../media/image7.jpeg"/><Relationship Id="rId3" Type="http://schemas.openxmlformats.org/officeDocument/2006/relationships/slideLayout" Target="../slideLayouts/slideLayout349.xml"/><Relationship Id="rId7" Type="http://schemas.openxmlformats.org/officeDocument/2006/relationships/slideLayout" Target="../slideLayouts/slideLayout353.xml"/><Relationship Id="rId12" Type="http://schemas.openxmlformats.org/officeDocument/2006/relationships/theme" Target="../theme/theme28.xml"/><Relationship Id="rId2" Type="http://schemas.openxmlformats.org/officeDocument/2006/relationships/slideLayout" Target="../slideLayouts/slideLayout348.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slideLayout" Target="../slideLayouts/slideLayout357.xml"/><Relationship Id="rId5" Type="http://schemas.openxmlformats.org/officeDocument/2006/relationships/slideLayout" Target="../slideLayouts/slideLayout351.xml"/><Relationship Id="rId10" Type="http://schemas.openxmlformats.org/officeDocument/2006/relationships/slideLayout" Target="../slideLayouts/slideLayout356.xml"/><Relationship Id="rId4" Type="http://schemas.openxmlformats.org/officeDocument/2006/relationships/slideLayout" Target="../slideLayouts/slideLayout350.xml"/><Relationship Id="rId9" Type="http://schemas.openxmlformats.org/officeDocument/2006/relationships/slideLayout" Target="../slideLayouts/slideLayout355.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theme" Target="../theme/theme29.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10" Type="http://schemas.openxmlformats.org/officeDocument/2006/relationships/slideLayout" Target="../slideLayouts/slideLayout367.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5.jpe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2.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81.xml"/><Relationship Id="rId3" Type="http://schemas.openxmlformats.org/officeDocument/2006/relationships/slideLayout" Target="../slideLayouts/slideLayout376.xml"/><Relationship Id="rId7" Type="http://schemas.openxmlformats.org/officeDocument/2006/relationships/slideLayout" Target="../slideLayouts/slideLayout380.xml"/><Relationship Id="rId12" Type="http://schemas.openxmlformats.org/officeDocument/2006/relationships/theme" Target="../theme/theme30.xml"/><Relationship Id="rId2" Type="http://schemas.openxmlformats.org/officeDocument/2006/relationships/slideLayout" Target="../slideLayouts/slideLayout375.xml"/><Relationship Id="rId1" Type="http://schemas.openxmlformats.org/officeDocument/2006/relationships/slideLayout" Target="../slideLayouts/slideLayout374.xml"/><Relationship Id="rId6" Type="http://schemas.openxmlformats.org/officeDocument/2006/relationships/slideLayout" Target="../slideLayouts/slideLayout379.xml"/><Relationship Id="rId11" Type="http://schemas.openxmlformats.org/officeDocument/2006/relationships/slideLayout" Target="../slideLayouts/slideLayout384.xml"/><Relationship Id="rId5" Type="http://schemas.openxmlformats.org/officeDocument/2006/relationships/slideLayout" Target="../slideLayouts/slideLayout378.xml"/><Relationship Id="rId10" Type="http://schemas.openxmlformats.org/officeDocument/2006/relationships/slideLayout" Target="../slideLayouts/slideLayout383.xml"/><Relationship Id="rId4" Type="http://schemas.openxmlformats.org/officeDocument/2006/relationships/slideLayout" Target="../slideLayouts/slideLayout377.xml"/><Relationship Id="rId9" Type="http://schemas.openxmlformats.org/officeDocument/2006/relationships/slideLayout" Target="../slideLayouts/slideLayout382.xml"/></Relationships>
</file>

<file path=ppt/slideMasters/_rels/slideMaster31.xml.rels><?xml version="1.0" encoding="UTF-8" standalone="yes"?>
<Relationships xmlns="http://schemas.openxmlformats.org/package/2006/relationships"><Relationship Id="rId3" Type="http://schemas.openxmlformats.org/officeDocument/2006/relationships/slideLayout" Target="../slideLayouts/slideLayout387.xml"/><Relationship Id="rId2" Type="http://schemas.openxmlformats.org/officeDocument/2006/relationships/slideLayout" Target="../slideLayouts/slideLayout386.xml"/><Relationship Id="rId1" Type="http://schemas.openxmlformats.org/officeDocument/2006/relationships/slideLayout" Target="../slideLayouts/slideLayout385.xml"/><Relationship Id="rId5" Type="http://schemas.openxmlformats.org/officeDocument/2006/relationships/theme" Target="../theme/theme31.xml"/><Relationship Id="rId4" Type="http://schemas.openxmlformats.org/officeDocument/2006/relationships/slideLayout" Target="../slideLayouts/slideLayout388.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396.xml"/><Relationship Id="rId13" Type="http://schemas.openxmlformats.org/officeDocument/2006/relationships/image" Target="../media/image2.jpeg"/><Relationship Id="rId3" Type="http://schemas.openxmlformats.org/officeDocument/2006/relationships/slideLayout" Target="../slideLayouts/slideLayout391.xml"/><Relationship Id="rId7" Type="http://schemas.openxmlformats.org/officeDocument/2006/relationships/slideLayout" Target="../slideLayouts/slideLayout395.xml"/><Relationship Id="rId12" Type="http://schemas.openxmlformats.org/officeDocument/2006/relationships/theme" Target="../theme/theme32.xml"/><Relationship Id="rId2" Type="http://schemas.openxmlformats.org/officeDocument/2006/relationships/slideLayout" Target="../slideLayouts/slideLayout390.xml"/><Relationship Id="rId1" Type="http://schemas.openxmlformats.org/officeDocument/2006/relationships/slideLayout" Target="../slideLayouts/slideLayout389.xml"/><Relationship Id="rId6" Type="http://schemas.openxmlformats.org/officeDocument/2006/relationships/slideLayout" Target="../slideLayouts/slideLayout394.xml"/><Relationship Id="rId11" Type="http://schemas.openxmlformats.org/officeDocument/2006/relationships/slideLayout" Target="../slideLayouts/slideLayout399.xml"/><Relationship Id="rId5" Type="http://schemas.openxmlformats.org/officeDocument/2006/relationships/slideLayout" Target="../slideLayouts/slideLayout393.xml"/><Relationship Id="rId10" Type="http://schemas.openxmlformats.org/officeDocument/2006/relationships/slideLayout" Target="../slideLayouts/slideLayout398.xml"/><Relationship Id="rId4" Type="http://schemas.openxmlformats.org/officeDocument/2006/relationships/slideLayout" Target="../slideLayouts/slideLayout392.xml"/><Relationship Id="rId9" Type="http://schemas.openxmlformats.org/officeDocument/2006/relationships/slideLayout" Target="../slideLayouts/slideLayout397.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slideLayout" Target="../slideLayouts/slideLayout412.xml"/><Relationship Id="rId3" Type="http://schemas.openxmlformats.org/officeDocument/2006/relationships/slideLayout" Target="../slideLayouts/slideLayout402.xml"/><Relationship Id="rId7" Type="http://schemas.openxmlformats.org/officeDocument/2006/relationships/slideLayout" Target="../slideLayouts/slideLayout406.xml"/><Relationship Id="rId12" Type="http://schemas.openxmlformats.org/officeDocument/2006/relationships/slideLayout" Target="../slideLayouts/slideLayout411.xml"/><Relationship Id="rId2" Type="http://schemas.openxmlformats.org/officeDocument/2006/relationships/slideLayout" Target="../slideLayouts/slideLayout401.xml"/><Relationship Id="rId16" Type="http://schemas.openxmlformats.org/officeDocument/2006/relationships/theme" Target="../theme/theme33.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slideLayout" Target="../slideLayouts/slideLayout410.xml"/><Relationship Id="rId5" Type="http://schemas.openxmlformats.org/officeDocument/2006/relationships/slideLayout" Target="../slideLayouts/slideLayout404.xml"/><Relationship Id="rId15" Type="http://schemas.openxmlformats.org/officeDocument/2006/relationships/slideLayout" Target="../slideLayouts/slideLayout414.xml"/><Relationship Id="rId10" Type="http://schemas.openxmlformats.org/officeDocument/2006/relationships/slideLayout" Target="../slideLayouts/slideLayout409.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slideLayout" Target="../slideLayouts/slideLayout413.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422.xml"/><Relationship Id="rId13" Type="http://schemas.openxmlformats.org/officeDocument/2006/relationships/image" Target="../media/image14.jpeg"/><Relationship Id="rId3" Type="http://schemas.openxmlformats.org/officeDocument/2006/relationships/slideLayout" Target="../slideLayouts/slideLayout417.xml"/><Relationship Id="rId7" Type="http://schemas.openxmlformats.org/officeDocument/2006/relationships/slideLayout" Target="../slideLayouts/slideLayout421.xml"/><Relationship Id="rId12" Type="http://schemas.openxmlformats.org/officeDocument/2006/relationships/theme" Target="../theme/theme34.xml"/><Relationship Id="rId2" Type="http://schemas.openxmlformats.org/officeDocument/2006/relationships/slideLayout" Target="../slideLayouts/slideLayout416.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slideLayout" Target="../slideLayouts/slideLayout425.xml"/><Relationship Id="rId5" Type="http://schemas.openxmlformats.org/officeDocument/2006/relationships/slideLayout" Target="../slideLayouts/slideLayout419.xml"/><Relationship Id="rId10" Type="http://schemas.openxmlformats.org/officeDocument/2006/relationships/slideLayout" Target="../slideLayouts/slideLayout424.xml"/><Relationship Id="rId4" Type="http://schemas.openxmlformats.org/officeDocument/2006/relationships/slideLayout" Target="../slideLayouts/slideLayout418.xml"/><Relationship Id="rId9" Type="http://schemas.openxmlformats.org/officeDocument/2006/relationships/slideLayout" Target="../slideLayouts/slideLayout423.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433.xml"/><Relationship Id="rId13" Type="http://schemas.openxmlformats.org/officeDocument/2006/relationships/image" Target="../media/image14.jpeg"/><Relationship Id="rId3" Type="http://schemas.openxmlformats.org/officeDocument/2006/relationships/slideLayout" Target="../slideLayouts/slideLayout428.xml"/><Relationship Id="rId7" Type="http://schemas.openxmlformats.org/officeDocument/2006/relationships/slideLayout" Target="../slideLayouts/slideLayout432.xml"/><Relationship Id="rId12" Type="http://schemas.openxmlformats.org/officeDocument/2006/relationships/theme" Target="../theme/theme35.xml"/><Relationship Id="rId2" Type="http://schemas.openxmlformats.org/officeDocument/2006/relationships/slideLayout" Target="../slideLayouts/slideLayout427.xml"/><Relationship Id="rId1" Type="http://schemas.openxmlformats.org/officeDocument/2006/relationships/slideLayout" Target="../slideLayouts/slideLayout426.xml"/><Relationship Id="rId6" Type="http://schemas.openxmlformats.org/officeDocument/2006/relationships/slideLayout" Target="../slideLayouts/slideLayout431.xml"/><Relationship Id="rId11" Type="http://schemas.openxmlformats.org/officeDocument/2006/relationships/slideLayout" Target="../slideLayouts/slideLayout436.xml"/><Relationship Id="rId5" Type="http://schemas.openxmlformats.org/officeDocument/2006/relationships/slideLayout" Target="../slideLayouts/slideLayout430.xml"/><Relationship Id="rId10" Type="http://schemas.openxmlformats.org/officeDocument/2006/relationships/slideLayout" Target="../slideLayouts/slideLayout435.xml"/><Relationship Id="rId4" Type="http://schemas.openxmlformats.org/officeDocument/2006/relationships/slideLayout" Target="../slideLayouts/slideLayout429.xml"/><Relationship Id="rId9" Type="http://schemas.openxmlformats.org/officeDocument/2006/relationships/slideLayout" Target="../slideLayouts/slideLayout434.xml"/></Relationships>
</file>

<file path=ppt/slideMasters/_rels/slideMaster36.xml.rels><?xml version="1.0" encoding="UTF-8" standalone="yes"?>
<Relationships xmlns="http://schemas.openxmlformats.org/package/2006/relationships"><Relationship Id="rId3" Type="http://schemas.openxmlformats.org/officeDocument/2006/relationships/slideLayout" Target="../slideLayouts/slideLayout439.xml"/><Relationship Id="rId7" Type="http://schemas.openxmlformats.org/officeDocument/2006/relationships/theme" Target="../theme/theme36.xml"/><Relationship Id="rId2" Type="http://schemas.openxmlformats.org/officeDocument/2006/relationships/slideLayout" Target="../slideLayouts/slideLayout438.xml"/><Relationship Id="rId1" Type="http://schemas.openxmlformats.org/officeDocument/2006/relationships/slideLayout" Target="../slideLayouts/slideLayout437.xml"/><Relationship Id="rId6" Type="http://schemas.openxmlformats.org/officeDocument/2006/relationships/slideLayout" Target="../slideLayouts/slideLayout442.xml"/><Relationship Id="rId5" Type="http://schemas.openxmlformats.org/officeDocument/2006/relationships/slideLayout" Target="../slideLayouts/slideLayout441.xml"/><Relationship Id="rId4" Type="http://schemas.openxmlformats.org/officeDocument/2006/relationships/slideLayout" Target="../slideLayouts/slideLayout4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image" Target="../media/image2.jpeg"/><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2.jpeg"/><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audio" Target="../media/audio1.wav"/><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heme" Target="../theme/theme6.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image" Target="../media/image6.jpeg"/><Relationship Id="rId2" Type="http://schemas.openxmlformats.org/officeDocument/2006/relationships/slideLayout" Target="../slideLayouts/slideLayout75.xml"/><Relationship Id="rId16" Type="http://schemas.openxmlformats.org/officeDocument/2006/relationships/theme" Target="../theme/theme7.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theme" Target="../theme/theme8.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image" Target="../media/image7.jpeg"/><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9.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alphaModFix amt="51000"/>
            <a:lum/>
          </a:blip>
          <a:srcRect/>
          <a:tile tx="0" ty="0" sx="75000" sy="80000" flip="none" algn="tl"/>
        </a:blipFill>
        <a:effectLst/>
      </p:bgPr>
    </p:bg>
    <p:spTree>
      <p:nvGrpSpPr>
        <p:cNvPr id="1" name=""/>
        <p:cNvGrpSpPr/>
        <p:nvPr/>
      </p:nvGrpSpPr>
      <p:grpSpPr>
        <a:xfrm>
          <a:off x="0" y="0"/>
          <a:ext cx="0" cy="0"/>
          <a:chOff x="0" y="0"/>
          <a:chExt cx="0" cy="0"/>
        </a:xfrm>
      </p:grpSpPr>
      <p:sp>
        <p:nvSpPr>
          <p:cNvPr id="9" name="Rectangle 8"/>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8" name="Rounded Rectangle 7"/>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2" name="Title Placeholder 21"/>
          <p:cNvSpPr>
            <a:spLocks noGrp="1"/>
          </p:cNvSpPr>
          <p:nvPr>
            <p:ph type="title"/>
          </p:nvPr>
        </p:nvSpPr>
        <p:spPr>
          <a:xfrm>
            <a:off x="914400" y="274638"/>
            <a:ext cx="7772400" cy="1143000"/>
          </a:xfrm>
          <a:prstGeom prst="rect">
            <a:avLst/>
          </a:prstGeom>
        </p:spPr>
        <p:txBody>
          <a:bodyPr bIns="91440" anchor="b" anchorCtr="0">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914400" y="1447800"/>
            <a:ext cx="7772400" cy="4572000"/>
          </a:xfrm>
          <a:prstGeom prst="rect">
            <a:avLst/>
          </a:prstGeom>
        </p:spPr>
        <p:txBody>
          <a:bodyPr>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4" name="Date Placeholder 13"/>
          <p:cNvSpPr>
            <a:spLocks noGrp="1"/>
          </p:cNvSpPr>
          <p:nvPr>
            <p:ph type="dt" sz="half" idx="2"/>
          </p:nvPr>
        </p:nvSpPr>
        <p:spPr>
          <a:xfrm>
            <a:off x="6172200" y="6191250"/>
            <a:ext cx="2476500" cy="476250"/>
          </a:xfrm>
          <a:prstGeom prst="rect">
            <a:avLst/>
          </a:prstGeom>
        </p:spPr>
        <p:txBody>
          <a:bodyPr anchor="ctr" anchorCtr="0"/>
          <a:lstStyle>
            <a:lvl1pPr algn="r" eaLnBrk="1" latinLnBrk="0" hangingPunct="1">
              <a:defRPr kumimoji="0" sz="1400">
                <a:solidFill>
                  <a:schemeClr val="tx2"/>
                </a:solidFill>
              </a:defRPr>
            </a:lvl1pPr>
          </a:lstStyle>
          <a:p>
            <a:fld id="{59B234A6-B6B0-408D-92A4-4618A986D937}" type="datetimeFigureOut">
              <a:rPr lang="en-US" smtClean="0"/>
              <a:pPr/>
              <a:t>15/08/2024</a:t>
            </a:fld>
            <a:endParaRPr lang="en-US"/>
          </a:p>
        </p:txBody>
      </p:sp>
      <p:sp>
        <p:nvSpPr>
          <p:cNvPr id="3" name="Footer Placeholder 2"/>
          <p:cNvSpPr>
            <a:spLocks noGrp="1"/>
          </p:cNvSpPr>
          <p:nvPr>
            <p:ph type="ftr" sz="quarter" idx="3"/>
          </p:nvPr>
        </p:nvSpPr>
        <p:spPr>
          <a:xfrm>
            <a:off x="914400" y="6172200"/>
            <a:ext cx="3962400" cy="457200"/>
          </a:xfrm>
          <a:prstGeom prst="rect">
            <a:avLst/>
          </a:prstGeom>
        </p:spPr>
        <p:txBody>
          <a:bodyPr anchor="ctr" anchorCtr="0"/>
          <a:lstStyle>
            <a:lvl1pPr eaLnBrk="1" latinLnBrk="0" hangingPunct="1">
              <a:defRPr kumimoji="0" sz="1400">
                <a:solidFill>
                  <a:schemeClr val="tx2"/>
                </a:solidFill>
              </a:defRPr>
            </a:lvl1pPr>
          </a:lstStyle>
          <a:p>
            <a:endParaRPr lang="en-US"/>
          </a:p>
        </p:txBody>
      </p:sp>
      <p:sp>
        <p:nvSpPr>
          <p:cNvPr id="23" name="Slide Number Placeholder 22"/>
          <p:cNvSpPr>
            <a:spLocks noGrp="1"/>
          </p:cNvSpPr>
          <p:nvPr>
            <p:ph type="sldNum" sz="quarter" idx="4"/>
          </p:nvPr>
        </p:nvSpPr>
        <p:spPr>
          <a:xfrm>
            <a:off x="146304" y="6210300"/>
            <a:ext cx="457200" cy="457200"/>
          </a:xfrm>
          <a:prstGeom prst="ellipse">
            <a:avLst/>
          </a:prstGeom>
          <a:solidFill>
            <a:schemeClr val="accent1"/>
          </a:solidFill>
        </p:spPr>
        <p:txBody>
          <a:bodyPr wrap="none" lIns="0" tIns="0" rIns="0" bIns="0" anchor="ctr" anchorCtr="1">
            <a:noAutofit/>
          </a:bodyPr>
          <a:lstStyle>
            <a:lvl1pPr algn="ctr" eaLnBrk="1" latinLnBrk="0" hangingPunct="1">
              <a:defRPr kumimoji="0" sz="1400">
                <a:solidFill>
                  <a:srgbClr val="FFFFFF"/>
                </a:solidFill>
                <a:latin typeface="+mj-lt"/>
                <a:ea typeface="+mj-ea"/>
                <a:cs typeface="+mj-cs"/>
              </a:defRPr>
            </a:lvl1pPr>
          </a:lstStyle>
          <a:p>
            <a:fld id="{588F465F-DAF4-455E-950B-4E617B86F3AD}"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4196" r:id="rId12"/>
  </p:sldLayoutIdLst>
  <p:transition>
    <p:dissolve/>
    <p:sndAc>
      <p:stSnd>
        <p:snd r:embed="rId14" name="chimes.wav"/>
      </p:stSnd>
    </p:sndAc>
  </p:transition>
  <p:timing>
    <p:tnLst>
      <p:par>
        <p:cTn id="1" dur="indefinite" restart="never" nodeType="tmRoot"/>
      </p:par>
    </p:tnLst>
  </p:timing>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67639" y="228600"/>
            <a:ext cx="8823960" cy="6096000"/>
          </a:xfrm>
          <a:custGeom>
            <a:avLst/>
            <a:gdLst/>
            <a:ahLst/>
            <a:cxnLst/>
            <a:rect l="l" t="t" r="r" b="b"/>
            <a:pathLst>
              <a:path w="8823960" h="6096000">
                <a:moveTo>
                  <a:pt x="673095" y="0"/>
                </a:moveTo>
                <a:lnTo>
                  <a:pt x="622656" y="2482"/>
                </a:lnTo>
                <a:lnTo>
                  <a:pt x="572469" y="9760"/>
                </a:lnTo>
                <a:lnTo>
                  <a:pt x="522787" y="21581"/>
                </a:lnTo>
                <a:lnTo>
                  <a:pt x="473861" y="37694"/>
                </a:lnTo>
                <a:lnTo>
                  <a:pt x="425946" y="57845"/>
                </a:lnTo>
                <a:lnTo>
                  <a:pt x="379292" y="81783"/>
                </a:lnTo>
                <a:lnTo>
                  <a:pt x="334152" y="109254"/>
                </a:lnTo>
                <a:lnTo>
                  <a:pt x="290780" y="140007"/>
                </a:lnTo>
                <a:lnTo>
                  <a:pt x="249426" y="173788"/>
                </a:lnTo>
                <a:lnTo>
                  <a:pt x="210344" y="210346"/>
                </a:lnTo>
                <a:lnTo>
                  <a:pt x="173786" y="249428"/>
                </a:lnTo>
                <a:lnTo>
                  <a:pt x="140005" y="290781"/>
                </a:lnTo>
                <a:lnTo>
                  <a:pt x="109253" y="334153"/>
                </a:lnTo>
                <a:lnTo>
                  <a:pt x="81782" y="379292"/>
                </a:lnTo>
                <a:lnTo>
                  <a:pt x="57845" y="425946"/>
                </a:lnTo>
                <a:lnTo>
                  <a:pt x="37693" y="473861"/>
                </a:lnTo>
                <a:lnTo>
                  <a:pt x="21581" y="522785"/>
                </a:lnTo>
                <a:lnTo>
                  <a:pt x="9760" y="572466"/>
                </a:lnTo>
                <a:lnTo>
                  <a:pt x="2482" y="622652"/>
                </a:lnTo>
                <a:lnTo>
                  <a:pt x="0" y="673089"/>
                </a:lnTo>
                <a:lnTo>
                  <a:pt x="0" y="5422903"/>
                </a:lnTo>
                <a:lnTo>
                  <a:pt x="2482" y="5473343"/>
                </a:lnTo>
                <a:lnTo>
                  <a:pt x="9760" y="5523530"/>
                </a:lnTo>
                <a:lnTo>
                  <a:pt x="21581" y="5573212"/>
                </a:lnTo>
                <a:lnTo>
                  <a:pt x="37693" y="5622137"/>
                </a:lnTo>
                <a:lnTo>
                  <a:pt x="57845" y="5670053"/>
                </a:lnTo>
                <a:lnTo>
                  <a:pt x="81782" y="5716707"/>
                </a:lnTo>
                <a:lnTo>
                  <a:pt x="109253" y="5761847"/>
                </a:lnTo>
                <a:lnTo>
                  <a:pt x="140005" y="5805219"/>
                </a:lnTo>
                <a:lnTo>
                  <a:pt x="173786" y="5846573"/>
                </a:lnTo>
                <a:lnTo>
                  <a:pt x="210344" y="5885655"/>
                </a:lnTo>
                <a:lnTo>
                  <a:pt x="249426" y="5922212"/>
                </a:lnTo>
                <a:lnTo>
                  <a:pt x="290780" y="5955994"/>
                </a:lnTo>
                <a:lnTo>
                  <a:pt x="334152" y="5986746"/>
                </a:lnTo>
                <a:lnTo>
                  <a:pt x="379292" y="6014217"/>
                </a:lnTo>
                <a:lnTo>
                  <a:pt x="425946" y="6038154"/>
                </a:lnTo>
                <a:lnTo>
                  <a:pt x="473861" y="6058305"/>
                </a:lnTo>
                <a:lnTo>
                  <a:pt x="522787" y="6074418"/>
                </a:lnTo>
                <a:lnTo>
                  <a:pt x="572469" y="6086239"/>
                </a:lnTo>
                <a:lnTo>
                  <a:pt x="622656" y="6093517"/>
                </a:lnTo>
                <a:lnTo>
                  <a:pt x="673095" y="6095999"/>
                </a:lnTo>
                <a:lnTo>
                  <a:pt x="8150869" y="6095999"/>
                </a:lnTo>
                <a:lnTo>
                  <a:pt x="8201307" y="6093517"/>
                </a:lnTo>
                <a:lnTo>
                  <a:pt x="8251493" y="6086239"/>
                </a:lnTo>
                <a:lnTo>
                  <a:pt x="8301174" y="6074418"/>
                </a:lnTo>
                <a:lnTo>
                  <a:pt x="8350098" y="6058305"/>
                </a:lnTo>
                <a:lnTo>
                  <a:pt x="8398013" y="6038154"/>
                </a:lnTo>
                <a:lnTo>
                  <a:pt x="8444666" y="6014217"/>
                </a:lnTo>
                <a:lnTo>
                  <a:pt x="8489806" y="5986746"/>
                </a:lnTo>
                <a:lnTo>
                  <a:pt x="8533178" y="5955994"/>
                </a:lnTo>
                <a:lnTo>
                  <a:pt x="8574531" y="5922212"/>
                </a:lnTo>
                <a:lnTo>
                  <a:pt x="8613613" y="5885655"/>
                </a:lnTo>
                <a:lnTo>
                  <a:pt x="8650171" y="5846573"/>
                </a:lnTo>
                <a:lnTo>
                  <a:pt x="8683952" y="5805219"/>
                </a:lnTo>
                <a:lnTo>
                  <a:pt x="8714705" y="5761847"/>
                </a:lnTo>
                <a:lnTo>
                  <a:pt x="8742176" y="5716707"/>
                </a:lnTo>
                <a:lnTo>
                  <a:pt x="8766114" y="5670053"/>
                </a:lnTo>
                <a:lnTo>
                  <a:pt x="8786265" y="5622137"/>
                </a:lnTo>
                <a:lnTo>
                  <a:pt x="8802377" y="5573212"/>
                </a:lnTo>
                <a:lnTo>
                  <a:pt x="8814199" y="5523530"/>
                </a:lnTo>
                <a:lnTo>
                  <a:pt x="8821477" y="5473343"/>
                </a:lnTo>
                <a:lnTo>
                  <a:pt x="8823959" y="5422903"/>
                </a:lnTo>
                <a:lnTo>
                  <a:pt x="8823959" y="673089"/>
                </a:lnTo>
                <a:lnTo>
                  <a:pt x="8821477" y="622652"/>
                </a:lnTo>
                <a:lnTo>
                  <a:pt x="8814199" y="572466"/>
                </a:lnTo>
                <a:lnTo>
                  <a:pt x="8802377" y="522785"/>
                </a:lnTo>
                <a:lnTo>
                  <a:pt x="8786265" y="473861"/>
                </a:lnTo>
                <a:lnTo>
                  <a:pt x="8766114" y="425946"/>
                </a:lnTo>
                <a:lnTo>
                  <a:pt x="8742176" y="379292"/>
                </a:lnTo>
                <a:lnTo>
                  <a:pt x="8714705" y="334153"/>
                </a:lnTo>
                <a:lnTo>
                  <a:pt x="8683952" y="290781"/>
                </a:lnTo>
                <a:lnTo>
                  <a:pt x="8650171" y="249428"/>
                </a:lnTo>
                <a:lnTo>
                  <a:pt x="8613613" y="210346"/>
                </a:lnTo>
                <a:lnTo>
                  <a:pt x="8574531" y="173788"/>
                </a:lnTo>
                <a:lnTo>
                  <a:pt x="8533178" y="140007"/>
                </a:lnTo>
                <a:lnTo>
                  <a:pt x="8489806" y="109254"/>
                </a:lnTo>
                <a:lnTo>
                  <a:pt x="8444666" y="81783"/>
                </a:lnTo>
                <a:lnTo>
                  <a:pt x="8398013" y="57845"/>
                </a:lnTo>
                <a:lnTo>
                  <a:pt x="8350098" y="37694"/>
                </a:lnTo>
                <a:lnTo>
                  <a:pt x="8301174" y="21581"/>
                </a:lnTo>
                <a:lnTo>
                  <a:pt x="8251493" y="9760"/>
                </a:lnTo>
                <a:lnTo>
                  <a:pt x="8201307" y="2482"/>
                </a:lnTo>
                <a:lnTo>
                  <a:pt x="8150869" y="0"/>
                </a:lnTo>
                <a:lnTo>
                  <a:pt x="673095" y="0"/>
                </a:lnTo>
                <a:close/>
              </a:path>
            </a:pathLst>
          </a:custGeom>
          <a:ln w="28393">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bk object 17"/>
          <p:cNvSpPr/>
          <p:nvPr/>
        </p:nvSpPr>
        <p:spPr>
          <a:xfrm>
            <a:off x="167639" y="228600"/>
            <a:ext cx="0" cy="0"/>
          </a:xfrm>
          <a:custGeom>
            <a:avLst/>
            <a:gdLst/>
            <a:ahLst/>
            <a:cxnLst/>
            <a:rect l="l" t="t" r="r" b="b"/>
            <a:pathLst>
              <a:path>
                <a:moveTo>
                  <a:pt x="0" y="0"/>
                </a:moveTo>
                <a:lnTo>
                  <a:pt x="0" y="0"/>
                </a:lnTo>
              </a:path>
            </a:pathLst>
          </a:custGeom>
          <a:ln w="28393">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bk object 18"/>
          <p:cNvSpPr/>
          <p:nvPr/>
        </p:nvSpPr>
        <p:spPr>
          <a:xfrm>
            <a:off x="8991600" y="6324600"/>
            <a:ext cx="0" cy="0"/>
          </a:xfrm>
          <a:custGeom>
            <a:avLst/>
            <a:gdLst/>
            <a:ahLst/>
            <a:cxnLst/>
            <a:rect l="l" t="t" r="r" b="b"/>
            <a:pathLst>
              <a:path>
                <a:moveTo>
                  <a:pt x="0" y="0"/>
                </a:moveTo>
                <a:lnTo>
                  <a:pt x="0" y="0"/>
                </a:lnTo>
              </a:path>
            </a:pathLst>
          </a:custGeom>
          <a:ln w="28393">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Holder 2"/>
          <p:cNvSpPr>
            <a:spLocks noGrp="1"/>
          </p:cNvSpPr>
          <p:nvPr>
            <p:ph type="title"/>
          </p:nvPr>
        </p:nvSpPr>
        <p:spPr>
          <a:xfrm>
            <a:off x="534666" y="523377"/>
            <a:ext cx="8074666" cy="1913255"/>
          </a:xfrm>
          <a:prstGeom prst="rect">
            <a:avLst/>
          </a:prstGeom>
        </p:spPr>
        <p:txBody>
          <a:bodyPr wrap="square" lIns="0" tIns="0" rIns="0" bIns="0">
            <a:spAutoFit/>
          </a:bodyPr>
          <a:lstStyle>
            <a:lvl1pPr>
              <a:defRPr sz="3600" b="1" i="0">
                <a:solidFill>
                  <a:srgbClr val="FD293D"/>
                </a:solidFill>
                <a:latin typeface="Arial Black"/>
                <a:cs typeface="Arial Black"/>
              </a:defRPr>
            </a:lvl1pPr>
          </a:lstStyle>
          <a:p>
            <a:endParaRPr/>
          </a:p>
        </p:txBody>
      </p:sp>
      <p:sp>
        <p:nvSpPr>
          <p:cNvPr id="3" name="Holder 3"/>
          <p:cNvSpPr>
            <a:spLocks noGrp="1"/>
          </p:cNvSpPr>
          <p:nvPr>
            <p:ph type="body" idx="1"/>
          </p:nvPr>
        </p:nvSpPr>
        <p:spPr>
          <a:xfrm>
            <a:off x="401316" y="1449731"/>
            <a:ext cx="8341366" cy="3895725"/>
          </a:xfrm>
          <a:prstGeom prst="rect">
            <a:avLst/>
          </a:prstGeom>
        </p:spPr>
        <p:txBody>
          <a:bodyPr wrap="square" lIns="0" tIns="0" rIns="0" bIns="0">
            <a:spAutoFit/>
          </a:bodyPr>
          <a:lstStyle>
            <a:lvl1pPr>
              <a:defRPr sz="2200" b="0" i="0">
                <a:solidFill>
                  <a:schemeClr val="tx1"/>
                </a:solidFill>
                <a:latin typeface="Arial"/>
                <a:cs typeface="Arial"/>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wrap="square" lIns="0" tIns="0" rIns="0" bIns="0">
            <a:spAutoFit/>
          </a:bodyPr>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86203924"/>
      </p:ext>
    </p:extLst>
  </p:cSld>
  <p:clrMap bg1="lt1" tx1="dk1" bg2="lt2" tx2="dk2" accent1="accent1" accent2="accent2" accent3="accent3" accent4="accent4" accent5="accent5" accent6="accent6" hlink="hlink" folHlink="folHlink"/>
  <p:sldLayoutIdLst>
    <p:sldLayoutId id="2147484308" r:id="rId1"/>
    <p:sldLayoutId id="2147484309" r:id="rId2"/>
    <p:sldLayoutId id="2147484310" r:id="rId3"/>
    <p:sldLayoutId id="2147484311" r:id="rId4"/>
    <p:sldLayoutId id="2147484312" r:id="rId5"/>
    <p:sldLayoutId id="2147484313" r:id="rId6"/>
  </p:sldLayoutIdLst>
  <p:transition/>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813205003"/>
      </p:ext>
    </p:extLst>
  </p:cSld>
  <p:clrMap bg1="lt1" tx1="dk1" bg2="lt2" tx2="dk2" accent1="accent1" accent2="accent2" accent3="accent3" accent4="accent4" accent5="accent5" accent6="accent6" hlink="hlink" folHlink="folHlink"/>
  <p:sldLayoutIdLst>
    <p:sldLayoutId id="2147484315" r:id="rId1"/>
    <p:sldLayoutId id="2147484316" r:id="rId2"/>
    <p:sldLayoutId id="2147484317" r:id="rId3"/>
    <p:sldLayoutId id="2147484318" r:id="rId4"/>
    <p:sldLayoutId id="2147484319" r:id="rId5"/>
    <p:sldLayoutId id="2147484320" r:id="rId6"/>
    <p:sldLayoutId id="2147484321" r:id="rId7"/>
    <p:sldLayoutId id="2147484322" r:id="rId8"/>
    <p:sldLayoutId id="2147484323" r:id="rId9"/>
    <p:sldLayoutId id="2147484324" r:id="rId10"/>
    <p:sldLayoutId id="214748432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gradFill rotWithShape="0">
          <a:gsLst>
            <a:gs pos="0">
              <a:schemeClr val="bg1">
                <a:gamma/>
                <a:shade val="46275"/>
                <a:invGamma/>
              </a:schemeClr>
            </a:gs>
            <a:gs pos="100000">
              <a:schemeClr val="bg1"/>
            </a:gs>
          </a:gsLst>
          <a:lin ang="5400000" scaled="1"/>
        </a:gradFill>
        <a:effectLst/>
      </p:bgPr>
    </p:bg>
    <p:spTree>
      <p:nvGrpSpPr>
        <p:cNvPr id="1" name=""/>
        <p:cNvGrpSpPr/>
        <p:nvPr/>
      </p:nvGrpSpPr>
      <p:grpSpPr>
        <a:xfrm>
          <a:off x="0" y="0"/>
          <a:ext cx="0" cy="0"/>
          <a:chOff x="0" y="0"/>
          <a:chExt cx="0" cy="0"/>
        </a:xfrm>
      </p:grpSpPr>
      <p:grpSp>
        <p:nvGrpSpPr>
          <p:cNvPr id="2" name="Group 2"/>
          <p:cNvGrpSpPr>
            <a:grpSpLocks/>
          </p:cNvGrpSpPr>
          <p:nvPr/>
        </p:nvGrpSpPr>
        <p:grpSpPr bwMode="auto">
          <a:xfrm>
            <a:off x="0" y="0"/>
            <a:ext cx="9144000" cy="6858000"/>
            <a:chOff x="0" y="0"/>
            <a:chExt cx="5760" cy="4320"/>
          </a:xfrm>
        </p:grpSpPr>
        <p:sp>
          <p:nvSpPr>
            <p:cNvPr id="9219" name="Freeform 3"/>
            <p:cNvSpPr>
              <a:spLocks/>
            </p:cNvSpPr>
            <p:nvPr/>
          </p:nvSpPr>
          <p:spPr bwMode="hidden">
            <a:xfrm>
              <a:off x="0" y="3072"/>
              <a:ext cx="5760" cy="1248"/>
            </a:xfrm>
            <a:custGeom>
              <a:avLst/>
              <a:gdLst/>
              <a:ahLst/>
              <a:cxnLst>
                <a:cxn ang="0">
                  <a:pos x="6027" y="2296"/>
                </a:cxn>
                <a:cxn ang="0">
                  <a:pos x="0" y="2296"/>
                </a:cxn>
                <a:cxn ang="0">
                  <a:pos x="0" y="0"/>
                </a:cxn>
                <a:cxn ang="0">
                  <a:pos x="6027" y="0"/>
                </a:cxn>
                <a:cxn ang="0">
                  <a:pos x="6027" y="2296"/>
                </a:cxn>
                <a:cxn ang="0">
                  <a:pos x="6027" y="2296"/>
                </a:cxn>
              </a:cxnLst>
              <a:rect l="0" t="0" r="r" b="b"/>
              <a:pathLst>
                <a:path w="6027" h="2296">
                  <a:moveTo>
                    <a:pt x="6027" y="2296"/>
                  </a:moveTo>
                  <a:lnTo>
                    <a:pt x="0" y="2296"/>
                  </a:lnTo>
                  <a:lnTo>
                    <a:pt x="0" y="0"/>
                  </a:lnTo>
                  <a:lnTo>
                    <a:pt x="6027" y="0"/>
                  </a:lnTo>
                  <a:lnTo>
                    <a:pt x="6027" y="2296"/>
                  </a:lnTo>
                  <a:lnTo>
                    <a:pt x="6027" y="2296"/>
                  </a:lnTo>
                  <a:close/>
                </a:path>
              </a:pathLst>
            </a:custGeom>
            <a:gradFill rotWithShape="0">
              <a:gsLst>
                <a:gs pos="0">
                  <a:schemeClr val="bg1"/>
                </a:gs>
                <a:gs pos="100000">
                  <a:schemeClr val="accent2"/>
                </a:gs>
              </a:gsLst>
              <a:lin ang="54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20" name="Freeform 4"/>
            <p:cNvSpPr>
              <a:spLocks/>
            </p:cNvSpPr>
            <p:nvPr/>
          </p:nvSpPr>
          <p:spPr bwMode="hidden">
            <a:xfrm>
              <a:off x="0" y="0"/>
              <a:ext cx="5760" cy="3072"/>
            </a:xfrm>
            <a:custGeom>
              <a:avLst/>
              <a:gdLst/>
              <a:ahLst/>
              <a:cxnLst>
                <a:cxn ang="0">
                  <a:pos x="6027" y="2296"/>
                </a:cxn>
                <a:cxn ang="0">
                  <a:pos x="0" y="2296"/>
                </a:cxn>
                <a:cxn ang="0">
                  <a:pos x="0" y="0"/>
                </a:cxn>
                <a:cxn ang="0">
                  <a:pos x="6027" y="0"/>
                </a:cxn>
                <a:cxn ang="0">
                  <a:pos x="6027" y="2296"/>
                </a:cxn>
                <a:cxn ang="0">
                  <a:pos x="6027" y="2296"/>
                </a:cxn>
              </a:cxnLst>
              <a:rect l="0" t="0" r="r" b="b"/>
              <a:pathLst>
                <a:path w="6027" h="2296">
                  <a:moveTo>
                    <a:pt x="6027" y="2296"/>
                  </a:moveTo>
                  <a:lnTo>
                    <a:pt x="0" y="2296"/>
                  </a:lnTo>
                  <a:lnTo>
                    <a:pt x="0" y="0"/>
                  </a:lnTo>
                  <a:lnTo>
                    <a:pt x="6027" y="0"/>
                  </a:lnTo>
                  <a:lnTo>
                    <a:pt x="6027" y="2296"/>
                  </a:lnTo>
                  <a:lnTo>
                    <a:pt x="6027" y="2296"/>
                  </a:lnTo>
                  <a:close/>
                </a:path>
              </a:pathLst>
            </a:custGeom>
            <a:gradFill rotWithShape="0">
              <a:gsLst>
                <a:gs pos="0">
                  <a:schemeClr val="bg1">
                    <a:gamma/>
                    <a:shade val="46275"/>
                    <a:invGamma/>
                  </a:schemeClr>
                </a:gs>
                <a:gs pos="100000">
                  <a:schemeClr val="bg1"/>
                </a:gs>
              </a:gsLst>
              <a:lin ang="54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sp>
        <p:nvSpPr>
          <p:cNvPr id="9221" name="Freeform 5"/>
          <p:cNvSpPr>
            <a:spLocks/>
          </p:cNvSpPr>
          <p:nvPr/>
        </p:nvSpPr>
        <p:spPr bwMode="hidden">
          <a:xfrm>
            <a:off x="6248400" y="6262688"/>
            <a:ext cx="2895600" cy="609600"/>
          </a:xfrm>
          <a:custGeom>
            <a:avLst/>
            <a:gdLst/>
            <a:ahLst/>
            <a:cxnLst>
              <a:cxn ang="0">
                <a:pos x="5748" y="246"/>
              </a:cxn>
              <a:cxn ang="0">
                <a:pos x="0" y="246"/>
              </a:cxn>
              <a:cxn ang="0">
                <a:pos x="0" y="0"/>
              </a:cxn>
              <a:cxn ang="0">
                <a:pos x="5748" y="0"/>
              </a:cxn>
              <a:cxn ang="0">
                <a:pos x="5748" y="246"/>
              </a:cxn>
              <a:cxn ang="0">
                <a:pos x="5748" y="246"/>
              </a:cxn>
            </a:cxnLst>
            <a:rect l="0" t="0" r="r" b="b"/>
            <a:pathLst>
              <a:path w="5748" h="246">
                <a:moveTo>
                  <a:pt x="5748" y="246"/>
                </a:moveTo>
                <a:lnTo>
                  <a:pt x="0" y="246"/>
                </a:lnTo>
                <a:lnTo>
                  <a:pt x="0" y="0"/>
                </a:lnTo>
                <a:lnTo>
                  <a:pt x="5748" y="0"/>
                </a:lnTo>
                <a:lnTo>
                  <a:pt x="5748" y="246"/>
                </a:lnTo>
                <a:lnTo>
                  <a:pt x="5748" y="246"/>
                </a:lnTo>
                <a:close/>
              </a:path>
            </a:pathLst>
          </a:custGeom>
          <a:gradFill rotWithShape="0">
            <a:gsLst>
              <a:gs pos="0">
                <a:schemeClr val="bg1"/>
              </a:gs>
              <a:gs pos="100000">
                <a:schemeClr val="hlink"/>
              </a:gs>
            </a:gsLst>
            <a:lin ang="189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nvGrpSpPr>
          <p:cNvPr id="3" name="Group 6"/>
          <p:cNvGrpSpPr>
            <a:grpSpLocks/>
          </p:cNvGrpSpPr>
          <p:nvPr/>
        </p:nvGrpSpPr>
        <p:grpSpPr bwMode="auto">
          <a:xfrm>
            <a:off x="0" y="6019800"/>
            <a:ext cx="7848600" cy="857250"/>
            <a:chOff x="0" y="3792"/>
            <a:chExt cx="4944" cy="540"/>
          </a:xfrm>
        </p:grpSpPr>
        <p:sp>
          <p:nvSpPr>
            <p:cNvPr id="9223" name="Freeform 7"/>
            <p:cNvSpPr>
              <a:spLocks/>
            </p:cNvSpPr>
            <p:nvPr userDrawn="1"/>
          </p:nvSpPr>
          <p:spPr bwMode="ltGray">
            <a:xfrm>
              <a:off x="1488" y="3792"/>
              <a:ext cx="3240" cy="536"/>
            </a:xfrm>
            <a:custGeom>
              <a:avLst/>
              <a:gdLst/>
              <a:ahLst/>
              <a:cxnLst>
                <a:cxn ang="0">
                  <a:pos x="3132" y="469"/>
                </a:cxn>
                <a:cxn ang="0">
                  <a:pos x="2995" y="395"/>
                </a:cxn>
                <a:cxn ang="0">
                  <a:pos x="2911" y="375"/>
                </a:cxn>
                <a:cxn ang="0">
                  <a:pos x="2678" y="228"/>
                </a:cxn>
                <a:cxn ang="0">
                  <a:pos x="2553" y="74"/>
                </a:cxn>
                <a:cxn ang="0">
                  <a:pos x="2457" y="7"/>
                </a:cxn>
                <a:cxn ang="0">
                  <a:pos x="2403" y="47"/>
                </a:cxn>
                <a:cxn ang="0">
                  <a:pos x="2289" y="74"/>
                </a:cxn>
                <a:cxn ang="0">
                  <a:pos x="2134" y="74"/>
                </a:cxn>
                <a:cxn ang="0">
                  <a:pos x="2044" y="128"/>
                </a:cxn>
                <a:cxn ang="0">
                  <a:pos x="1775" y="222"/>
                </a:cxn>
                <a:cxn ang="0">
                  <a:pos x="1602" y="181"/>
                </a:cxn>
                <a:cxn ang="0">
                  <a:pos x="1560" y="101"/>
                </a:cxn>
                <a:cxn ang="0">
                  <a:pos x="1542" y="87"/>
                </a:cxn>
                <a:cxn ang="0">
                  <a:pos x="1446" y="60"/>
                </a:cxn>
                <a:cxn ang="0">
                  <a:pos x="1375" y="74"/>
                </a:cxn>
                <a:cxn ang="0">
                  <a:pos x="1309" y="87"/>
                </a:cxn>
                <a:cxn ang="0">
                  <a:pos x="1243" y="13"/>
                </a:cxn>
                <a:cxn ang="0">
                  <a:pos x="1225" y="0"/>
                </a:cxn>
                <a:cxn ang="0">
                  <a:pos x="1189" y="0"/>
                </a:cxn>
                <a:cxn ang="0">
                  <a:pos x="1106" y="34"/>
                </a:cxn>
                <a:cxn ang="0">
                  <a:pos x="1106" y="34"/>
                </a:cxn>
                <a:cxn ang="0">
                  <a:pos x="1094" y="40"/>
                </a:cxn>
                <a:cxn ang="0">
                  <a:pos x="1070" y="54"/>
                </a:cxn>
                <a:cxn ang="0">
                  <a:pos x="1034" y="74"/>
                </a:cxn>
                <a:cxn ang="0">
                  <a:pos x="1004" y="74"/>
                </a:cxn>
                <a:cxn ang="0">
                  <a:pos x="986" y="74"/>
                </a:cxn>
                <a:cxn ang="0">
                  <a:pos x="956" y="81"/>
                </a:cxn>
                <a:cxn ang="0">
                  <a:pos x="920" y="94"/>
                </a:cxn>
                <a:cxn ang="0">
                  <a:pos x="884" y="107"/>
                </a:cxn>
                <a:cxn ang="0">
                  <a:pos x="843" y="128"/>
                </a:cxn>
                <a:cxn ang="0">
                  <a:pos x="813" y="141"/>
                </a:cxn>
                <a:cxn ang="0">
                  <a:pos x="789" y="148"/>
                </a:cxn>
                <a:cxn ang="0">
                  <a:pos x="783" y="154"/>
                </a:cxn>
                <a:cxn ang="0">
                  <a:pos x="556" y="228"/>
                </a:cxn>
                <a:cxn ang="0">
                  <a:pos x="394" y="294"/>
                </a:cxn>
                <a:cxn ang="0">
                  <a:pos x="107" y="462"/>
                </a:cxn>
                <a:cxn ang="0">
                  <a:pos x="0" y="536"/>
                </a:cxn>
                <a:cxn ang="0">
                  <a:pos x="3240" y="536"/>
                </a:cxn>
                <a:cxn ang="0">
                  <a:pos x="3132" y="469"/>
                </a:cxn>
                <a:cxn ang="0">
                  <a:pos x="3132" y="469"/>
                </a:cxn>
              </a:cxnLst>
              <a:rect l="0" t="0" r="r" b="b"/>
              <a:pathLst>
                <a:path w="3240" h="536">
                  <a:moveTo>
                    <a:pt x="3132" y="469"/>
                  </a:moveTo>
                  <a:lnTo>
                    <a:pt x="2995" y="395"/>
                  </a:lnTo>
                  <a:lnTo>
                    <a:pt x="2911" y="375"/>
                  </a:lnTo>
                  <a:lnTo>
                    <a:pt x="2678" y="228"/>
                  </a:lnTo>
                  <a:lnTo>
                    <a:pt x="2553" y="74"/>
                  </a:lnTo>
                  <a:lnTo>
                    <a:pt x="2457" y="7"/>
                  </a:lnTo>
                  <a:lnTo>
                    <a:pt x="2403" y="47"/>
                  </a:lnTo>
                  <a:lnTo>
                    <a:pt x="2289" y="74"/>
                  </a:lnTo>
                  <a:lnTo>
                    <a:pt x="2134" y="74"/>
                  </a:lnTo>
                  <a:lnTo>
                    <a:pt x="2044" y="128"/>
                  </a:lnTo>
                  <a:lnTo>
                    <a:pt x="1775" y="222"/>
                  </a:lnTo>
                  <a:lnTo>
                    <a:pt x="1602" y="181"/>
                  </a:lnTo>
                  <a:lnTo>
                    <a:pt x="1560" y="101"/>
                  </a:lnTo>
                  <a:lnTo>
                    <a:pt x="1542" y="87"/>
                  </a:lnTo>
                  <a:lnTo>
                    <a:pt x="1446" y="60"/>
                  </a:lnTo>
                  <a:lnTo>
                    <a:pt x="1375" y="74"/>
                  </a:lnTo>
                  <a:lnTo>
                    <a:pt x="1309" y="87"/>
                  </a:lnTo>
                  <a:lnTo>
                    <a:pt x="1243" y="13"/>
                  </a:lnTo>
                  <a:lnTo>
                    <a:pt x="1225" y="0"/>
                  </a:lnTo>
                  <a:lnTo>
                    <a:pt x="1189" y="0"/>
                  </a:lnTo>
                  <a:lnTo>
                    <a:pt x="1106" y="34"/>
                  </a:lnTo>
                  <a:lnTo>
                    <a:pt x="1106" y="34"/>
                  </a:lnTo>
                  <a:lnTo>
                    <a:pt x="1094" y="40"/>
                  </a:lnTo>
                  <a:lnTo>
                    <a:pt x="1070" y="54"/>
                  </a:lnTo>
                  <a:lnTo>
                    <a:pt x="1034" y="74"/>
                  </a:lnTo>
                  <a:lnTo>
                    <a:pt x="1004" y="74"/>
                  </a:lnTo>
                  <a:lnTo>
                    <a:pt x="986" y="74"/>
                  </a:lnTo>
                  <a:lnTo>
                    <a:pt x="956" y="81"/>
                  </a:lnTo>
                  <a:lnTo>
                    <a:pt x="920" y="94"/>
                  </a:lnTo>
                  <a:lnTo>
                    <a:pt x="884" y="107"/>
                  </a:lnTo>
                  <a:lnTo>
                    <a:pt x="843" y="128"/>
                  </a:lnTo>
                  <a:lnTo>
                    <a:pt x="813" y="141"/>
                  </a:lnTo>
                  <a:lnTo>
                    <a:pt x="789" y="148"/>
                  </a:lnTo>
                  <a:lnTo>
                    <a:pt x="783" y="154"/>
                  </a:lnTo>
                  <a:lnTo>
                    <a:pt x="556" y="228"/>
                  </a:lnTo>
                  <a:lnTo>
                    <a:pt x="394" y="294"/>
                  </a:lnTo>
                  <a:lnTo>
                    <a:pt x="107" y="462"/>
                  </a:lnTo>
                  <a:lnTo>
                    <a:pt x="0" y="536"/>
                  </a:lnTo>
                  <a:lnTo>
                    <a:pt x="3240" y="536"/>
                  </a:lnTo>
                  <a:lnTo>
                    <a:pt x="3132" y="469"/>
                  </a:lnTo>
                  <a:lnTo>
                    <a:pt x="3132" y="469"/>
                  </a:lnTo>
                  <a:close/>
                </a:path>
              </a:pathLst>
            </a:custGeom>
            <a:gradFill rotWithShape="0">
              <a:gsLst>
                <a:gs pos="0">
                  <a:schemeClr val="bg2">
                    <a:gamma/>
                    <a:tint val="66667"/>
                    <a:invGamma/>
                  </a:schemeClr>
                </a:gs>
                <a:gs pos="100000">
                  <a:schemeClr val="bg2"/>
                </a:gs>
              </a:gsLst>
              <a:lin ang="54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nvGrpSpPr>
            <p:cNvPr id="4" name="Group 8"/>
            <p:cNvGrpSpPr>
              <a:grpSpLocks/>
            </p:cNvGrpSpPr>
            <p:nvPr userDrawn="1"/>
          </p:nvGrpSpPr>
          <p:grpSpPr bwMode="auto">
            <a:xfrm>
              <a:off x="2486" y="3792"/>
              <a:ext cx="2458" cy="540"/>
              <a:chOff x="2486" y="3792"/>
              <a:chExt cx="2458" cy="540"/>
            </a:xfrm>
          </p:grpSpPr>
          <p:sp>
            <p:nvSpPr>
              <p:cNvPr id="9225" name="Freeform 9"/>
              <p:cNvSpPr>
                <a:spLocks/>
              </p:cNvSpPr>
              <p:nvPr userDrawn="1"/>
            </p:nvSpPr>
            <p:spPr bwMode="ltGray">
              <a:xfrm>
                <a:off x="3948" y="3799"/>
                <a:ext cx="996" cy="533"/>
              </a:xfrm>
              <a:custGeom>
                <a:avLst/>
                <a:gdLst/>
                <a:ahLst/>
                <a:cxnLst>
                  <a:cxn ang="0">
                    <a:pos x="636" y="373"/>
                  </a:cxn>
                  <a:cxn ang="0">
                    <a:pos x="495" y="370"/>
                  </a:cxn>
                  <a:cxn ang="0">
                    <a:pos x="280" y="249"/>
                  </a:cxn>
                  <a:cxn ang="0">
                    <a:pos x="127" y="66"/>
                  </a:cxn>
                  <a:cxn ang="0">
                    <a:pos x="0" y="0"/>
                  </a:cxn>
                  <a:cxn ang="0">
                    <a:pos x="22" y="26"/>
                  </a:cxn>
                  <a:cxn ang="0">
                    <a:pos x="0" y="65"/>
                  </a:cxn>
                  <a:cxn ang="0">
                    <a:pos x="30" y="119"/>
                  </a:cxn>
                  <a:cxn ang="0">
                    <a:pos x="75" y="243"/>
                  </a:cxn>
                  <a:cxn ang="0">
                    <a:pos x="45" y="422"/>
                  </a:cxn>
                  <a:cxn ang="0">
                    <a:pos x="200" y="329"/>
                  </a:cxn>
                  <a:cxn ang="0">
                    <a:pos x="612" y="533"/>
                  </a:cxn>
                  <a:cxn ang="0">
                    <a:pos x="996" y="529"/>
                  </a:cxn>
                  <a:cxn ang="0">
                    <a:pos x="828" y="473"/>
                  </a:cxn>
                  <a:cxn ang="0">
                    <a:pos x="636" y="373"/>
                  </a:cxn>
                </a:cxnLst>
                <a:rect l="0" t="0" r="r" b="b"/>
                <a:pathLst>
                  <a:path w="996" h="533">
                    <a:moveTo>
                      <a:pt x="636" y="373"/>
                    </a:moveTo>
                    <a:lnTo>
                      <a:pt x="495" y="370"/>
                    </a:lnTo>
                    <a:lnTo>
                      <a:pt x="280" y="249"/>
                    </a:lnTo>
                    <a:lnTo>
                      <a:pt x="127" y="66"/>
                    </a:lnTo>
                    <a:lnTo>
                      <a:pt x="0" y="0"/>
                    </a:lnTo>
                    <a:lnTo>
                      <a:pt x="22" y="26"/>
                    </a:lnTo>
                    <a:lnTo>
                      <a:pt x="0" y="65"/>
                    </a:lnTo>
                    <a:lnTo>
                      <a:pt x="30" y="119"/>
                    </a:lnTo>
                    <a:lnTo>
                      <a:pt x="75" y="243"/>
                    </a:lnTo>
                    <a:lnTo>
                      <a:pt x="45" y="422"/>
                    </a:lnTo>
                    <a:lnTo>
                      <a:pt x="200" y="329"/>
                    </a:lnTo>
                    <a:lnTo>
                      <a:pt x="612" y="533"/>
                    </a:lnTo>
                    <a:lnTo>
                      <a:pt x="996" y="529"/>
                    </a:lnTo>
                    <a:lnTo>
                      <a:pt x="828" y="473"/>
                    </a:lnTo>
                    <a:lnTo>
                      <a:pt x="636" y="373"/>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26" name="Freeform 10"/>
              <p:cNvSpPr>
                <a:spLocks/>
              </p:cNvSpPr>
              <p:nvPr userDrawn="1"/>
            </p:nvSpPr>
            <p:spPr bwMode="ltGray">
              <a:xfrm>
                <a:off x="2677" y="3792"/>
                <a:ext cx="186" cy="395"/>
              </a:xfrm>
              <a:custGeom>
                <a:avLst/>
                <a:gdLst/>
                <a:ahLst/>
                <a:cxnLst>
                  <a:cxn ang="0">
                    <a:pos x="36" y="0"/>
                  </a:cxn>
                  <a:cxn ang="0">
                    <a:pos x="54" y="18"/>
                  </a:cxn>
                  <a:cxn ang="0">
                    <a:pos x="24" y="30"/>
                  </a:cxn>
                  <a:cxn ang="0">
                    <a:pos x="18" y="66"/>
                  </a:cxn>
                  <a:cxn ang="0">
                    <a:pos x="42" y="114"/>
                  </a:cxn>
                  <a:cxn ang="0">
                    <a:pos x="48" y="162"/>
                  </a:cxn>
                  <a:cxn ang="0">
                    <a:pos x="0" y="353"/>
                  </a:cxn>
                  <a:cxn ang="0">
                    <a:pos x="54" y="233"/>
                  </a:cxn>
                  <a:cxn ang="0">
                    <a:pos x="84" y="216"/>
                  </a:cxn>
                  <a:cxn ang="0">
                    <a:pos x="126" y="126"/>
                  </a:cxn>
                  <a:cxn ang="0">
                    <a:pos x="144" y="120"/>
                  </a:cxn>
                  <a:cxn ang="0">
                    <a:pos x="144" y="90"/>
                  </a:cxn>
                  <a:cxn ang="0">
                    <a:pos x="186" y="66"/>
                  </a:cxn>
                  <a:cxn ang="0">
                    <a:pos x="162" y="60"/>
                  </a:cxn>
                  <a:cxn ang="0">
                    <a:pos x="36" y="0"/>
                  </a:cxn>
                  <a:cxn ang="0">
                    <a:pos x="36" y="0"/>
                  </a:cxn>
                </a:cxnLst>
                <a:rect l="0" t="0" r="r" b="b"/>
                <a:pathLst>
                  <a:path w="186" h="353">
                    <a:moveTo>
                      <a:pt x="36" y="0"/>
                    </a:moveTo>
                    <a:lnTo>
                      <a:pt x="54" y="18"/>
                    </a:lnTo>
                    <a:lnTo>
                      <a:pt x="24" y="30"/>
                    </a:lnTo>
                    <a:lnTo>
                      <a:pt x="18" y="66"/>
                    </a:lnTo>
                    <a:lnTo>
                      <a:pt x="42" y="114"/>
                    </a:lnTo>
                    <a:lnTo>
                      <a:pt x="48" y="162"/>
                    </a:lnTo>
                    <a:lnTo>
                      <a:pt x="0" y="353"/>
                    </a:lnTo>
                    <a:lnTo>
                      <a:pt x="54" y="233"/>
                    </a:lnTo>
                    <a:lnTo>
                      <a:pt x="84" y="216"/>
                    </a:lnTo>
                    <a:lnTo>
                      <a:pt x="126" y="126"/>
                    </a:lnTo>
                    <a:lnTo>
                      <a:pt x="144" y="120"/>
                    </a:lnTo>
                    <a:lnTo>
                      <a:pt x="144" y="90"/>
                    </a:lnTo>
                    <a:lnTo>
                      <a:pt x="186" y="66"/>
                    </a:lnTo>
                    <a:lnTo>
                      <a:pt x="162" y="60"/>
                    </a:lnTo>
                    <a:lnTo>
                      <a:pt x="36" y="0"/>
                    </a:lnTo>
                    <a:lnTo>
                      <a:pt x="36" y="0"/>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27" name="Freeform 11"/>
              <p:cNvSpPr>
                <a:spLocks/>
              </p:cNvSpPr>
              <p:nvPr userDrawn="1"/>
            </p:nvSpPr>
            <p:spPr bwMode="ltGray">
              <a:xfrm>
                <a:off x="3030" y="3893"/>
                <a:ext cx="378" cy="271"/>
              </a:xfrm>
              <a:custGeom>
                <a:avLst/>
                <a:gdLst/>
                <a:ahLst/>
                <a:cxnLst>
                  <a:cxn ang="0">
                    <a:pos x="18" y="0"/>
                  </a:cxn>
                  <a:cxn ang="0">
                    <a:pos x="12" y="13"/>
                  </a:cxn>
                  <a:cxn ang="0">
                    <a:pos x="0" y="40"/>
                  </a:cxn>
                  <a:cxn ang="0">
                    <a:pos x="60" y="121"/>
                  </a:cxn>
                  <a:cxn ang="0">
                    <a:pos x="310" y="271"/>
                  </a:cxn>
                  <a:cxn ang="0">
                    <a:pos x="290" y="139"/>
                  </a:cxn>
                  <a:cxn ang="0">
                    <a:pos x="378" y="76"/>
                  </a:cxn>
                  <a:cxn ang="0">
                    <a:pos x="251" y="94"/>
                  </a:cxn>
                  <a:cxn ang="0">
                    <a:pos x="90" y="54"/>
                  </a:cxn>
                  <a:cxn ang="0">
                    <a:pos x="18" y="0"/>
                  </a:cxn>
                  <a:cxn ang="0">
                    <a:pos x="18" y="0"/>
                  </a:cxn>
                </a:cxnLst>
                <a:rect l="0" t="0" r="r" b="b"/>
                <a:pathLst>
                  <a:path w="378" h="271">
                    <a:moveTo>
                      <a:pt x="18" y="0"/>
                    </a:moveTo>
                    <a:lnTo>
                      <a:pt x="12" y="13"/>
                    </a:lnTo>
                    <a:lnTo>
                      <a:pt x="0" y="40"/>
                    </a:lnTo>
                    <a:lnTo>
                      <a:pt x="60" y="121"/>
                    </a:lnTo>
                    <a:lnTo>
                      <a:pt x="310" y="271"/>
                    </a:lnTo>
                    <a:lnTo>
                      <a:pt x="290" y="139"/>
                    </a:lnTo>
                    <a:lnTo>
                      <a:pt x="378" y="76"/>
                    </a:lnTo>
                    <a:lnTo>
                      <a:pt x="251" y="94"/>
                    </a:lnTo>
                    <a:lnTo>
                      <a:pt x="90" y="54"/>
                    </a:lnTo>
                    <a:lnTo>
                      <a:pt x="18" y="0"/>
                    </a:lnTo>
                    <a:lnTo>
                      <a:pt x="18" y="0"/>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28" name="Freeform 12"/>
              <p:cNvSpPr>
                <a:spLocks/>
              </p:cNvSpPr>
              <p:nvPr userDrawn="1"/>
            </p:nvSpPr>
            <p:spPr bwMode="ltGray">
              <a:xfrm>
                <a:off x="3628" y="3866"/>
                <a:ext cx="155" cy="74"/>
              </a:xfrm>
              <a:custGeom>
                <a:avLst/>
                <a:gdLst/>
                <a:ahLst/>
                <a:cxnLst>
                  <a:cxn ang="0">
                    <a:pos x="114" y="0"/>
                  </a:cxn>
                  <a:cxn ang="0">
                    <a:pos x="0" y="0"/>
                  </a:cxn>
                  <a:cxn ang="0">
                    <a:pos x="0" y="0"/>
                  </a:cxn>
                  <a:cxn ang="0">
                    <a:pos x="6" y="6"/>
                  </a:cxn>
                  <a:cxn ang="0">
                    <a:pos x="6" y="18"/>
                  </a:cxn>
                  <a:cxn ang="0">
                    <a:pos x="0" y="24"/>
                  </a:cxn>
                  <a:cxn ang="0">
                    <a:pos x="78" y="60"/>
                  </a:cxn>
                  <a:cxn ang="0">
                    <a:pos x="96" y="42"/>
                  </a:cxn>
                  <a:cxn ang="0">
                    <a:pos x="155" y="66"/>
                  </a:cxn>
                  <a:cxn ang="0">
                    <a:pos x="126" y="24"/>
                  </a:cxn>
                  <a:cxn ang="0">
                    <a:pos x="149" y="0"/>
                  </a:cxn>
                  <a:cxn ang="0">
                    <a:pos x="114" y="0"/>
                  </a:cxn>
                  <a:cxn ang="0">
                    <a:pos x="114" y="0"/>
                  </a:cxn>
                </a:cxnLst>
                <a:rect l="0" t="0" r="r" b="b"/>
                <a:pathLst>
                  <a:path w="155" h="66">
                    <a:moveTo>
                      <a:pt x="114" y="0"/>
                    </a:moveTo>
                    <a:lnTo>
                      <a:pt x="0" y="0"/>
                    </a:lnTo>
                    <a:lnTo>
                      <a:pt x="0" y="0"/>
                    </a:lnTo>
                    <a:lnTo>
                      <a:pt x="6" y="6"/>
                    </a:lnTo>
                    <a:lnTo>
                      <a:pt x="6" y="18"/>
                    </a:lnTo>
                    <a:lnTo>
                      <a:pt x="0" y="24"/>
                    </a:lnTo>
                    <a:lnTo>
                      <a:pt x="78" y="60"/>
                    </a:lnTo>
                    <a:lnTo>
                      <a:pt x="96" y="42"/>
                    </a:lnTo>
                    <a:lnTo>
                      <a:pt x="155" y="66"/>
                    </a:lnTo>
                    <a:lnTo>
                      <a:pt x="126" y="24"/>
                    </a:lnTo>
                    <a:lnTo>
                      <a:pt x="149" y="0"/>
                    </a:lnTo>
                    <a:lnTo>
                      <a:pt x="114" y="0"/>
                    </a:lnTo>
                    <a:lnTo>
                      <a:pt x="114" y="0"/>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29" name="Freeform 13"/>
              <p:cNvSpPr>
                <a:spLocks/>
              </p:cNvSpPr>
              <p:nvPr userDrawn="1"/>
            </p:nvSpPr>
            <p:spPr bwMode="ltGray">
              <a:xfrm>
                <a:off x="2486" y="3859"/>
                <a:ext cx="42" cy="81"/>
              </a:xfrm>
              <a:custGeom>
                <a:avLst/>
                <a:gdLst/>
                <a:ahLst/>
                <a:cxnLst>
                  <a:cxn ang="0">
                    <a:pos x="6" y="36"/>
                  </a:cxn>
                  <a:cxn ang="0">
                    <a:pos x="0" y="18"/>
                  </a:cxn>
                  <a:cxn ang="0">
                    <a:pos x="12" y="6"/>
                  </a:cxn>
                  <a:cxn ang="0">
                    <a:pos x="0" y="6"/>
                  </a:cxn>
                  <a:cxn ang="0">
                    <a:pos x="12" y="6"/>
                  </a:cxn>
                  <a:cxn ang="0">
                    <a:pos x="24" y="6"/>
                  </a:cxn>
                  <a:cxn ang="0">
                    <a:pos x="36" y="6"/>
                  </a:cxn>
                  <a:cxn ang="0">
                    <a:pos x="42" y="0"/>
                  </a:cxn>
                  <a:cxn ang="0">
                    <a:pos x="30" y="18"/>
                  </a:cxn>
                  <a:cxn ang="0">
                    <a:pos x="42" y="48"/>
                  </a:cxn>
                  <a:cxn ang="0">
                    <a:pos x="12" y="72"/>
                  </a:cxn>
                  <a:cxn ang="0">
                    <a:pos x="6" y="36"/>
                  </a:cxn>
                  <a:cxn ang="0">
                    <a:pos x="6" y="36"/>
                  </a:cxn>
                </a:cxnLst>
                <a:rect l="0" t="0" r="r" b="b"/>
                <a:pathLst>
                  <a:path w="42" h="72">
                    <a:moveTo>
                      <a:pt x="6" y="36"/>
                    </a:moveTo>
                    <a:lnTo>
                      <a:pt x="0" y="18"/>
                    </a:lnTo>
                    <a:lnTo>
                      <a:pt x="12" y="6"/>
                    </a:lnTo>
                    <a:lnTo>
                      <a:pt x="0" y="6"/>
                    </a:lnTo>
                    <a:lnTo>
                      <a:pt x="12" y="6"/>
                    </a:lnTo>
                    <a:lnTo>
                      <a:pt x="24" y="6"/>
                    </a:lnTo>
                    <a:lnTo>
                      <a:pt x="36" y="6"/>
                    </a:lnTo>
                    <a:lnTo>
                      <a:pt x="42" y="0"/>
                    </a:lnTo>
                    <a:lnTo>
                      <a:pt x="30" y="18"/>
                    </a:lnTo>
                    <a:lnTo>
                      <a:pt x="42" y="48"/>
                    </a:lnTo>
                    <a:lnTo>
                      <a:pt x="12" y="72"/>
                    </a:lnTo>
                    <a:lnTo>
                      <a:pt x="6" y="36"/>
                    </a:lnTo>
                    <a:lnTo>
                      <a:pt x="6" y="36"/>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sp>
          <p:nvSpPr>
            <p:cNvPr id="9230" name="Freeform 14"/>
            <p:cNvSpPr>
              <a:spLocks/>
            </p:cNvSpPr>
            <p:nvPr userDrawn="1"/>
          </p:nvSpPr>
          <p:spPr bwMode="ltGray">
            <a:xfrm>
              <a:off x="0" y="3792"/>
              <a:ext cx="3976" cy="535"/>
            </a:xfrm>
            <a:custGeom>
              <a:avLst/>
              <a:gdLst/>
              <a:ahLst/>
              <a:cxnLst>
                <a:cxn ang="0">
                  <a:pos x="3976" y="527"/>
                </a:cxn>
                <a:cxn ang="0">
                  <a:pos x="3970" y="527"/>
                </a:cxn>
                <a:cxn ang="0">
                  <a:pos x="3844" y="509"/>
                </a:cxn>
                <a:cxn ang="0">
                  <a:pos x="2487" y="305"/>
                </a:cxn>
                <a:cxn ang="0">
                  <a:pos x="2039" y="36"/>
                </a:cxn>
                <a:cxn ang="0">
                  <a:pos x="1907" y="24"/>
                </a:cxn>
                <a:cxn ang="0">
                  <a:pos x="1883" y="54"/>
                </a:cxn>
                <a:cxn ang="0">
                  <a:pos x="1859" y="54"/>
                </a:cxn>
                <a:cxn ang="0">
                  <a:pos x="1830" y="30"/>
                </a:cxn>
                <a:cxn ang="0">
                  <a:pos x="1704" y="102"/>
                </a:cxn>
                <a:cxn ang="0">
                  <a:pos x="1608" y="126"/>
                </a:cxn>
                <a:cxn ang="0">
                  <a:pos x="1561" y="132"/>
                </a:cxn>
                <a:cxn ang="0">
                  <a:pos x="1495" y="102"/>
                </a:cxn>
                <a:cxn ang="0">
                  <a:pos x="1357" y="126"/>
                </a:cxn>
                <a:cxn ang="0">
                  <a:pos x="1285" y="24"/>
                </a:cxn>
                <a:cxn ang="0">
                  <a:pos x="1280" y="18"/>
                </a:cxn>
                <a:cxn ang="0">
                  <a:pos x="1262" y="12"/>
                </a:cxn>
                <a:cxn ang="0">
                  <a:pos x="1238" y="6"/>
                </a:cxn>
                <a:cxn ang="0">
                  <a:pos x="1220" y="0"/>
                </a:cxn>
                <a:cxn ang="0">
                  <a:pos x="1196" y="0"/>
                </a:cxn>
                <a:cxn ang="0">
                  <a:pos x="1166" y="0"/>
                </a:cxn>
                <a:cxn ang="0">
                  <a:pos x="1142" y="0"/>
                </a:cxn>
                <a:cxn ang="0">
                  <a:pos x="1136" y="0"/>
                </a:cxn>
                <a:cxn ang="0">
                  <a:pos x="1130" y="0"/>
                </a:cxn>
                <a:cxn ang="0">
                  <a:pos x="1124" y="6"/>
                </a:cxn>
                <a:cxn ang="0">
                  <a:pos x="1118" y="12"/>
                </a:cxn>
                <a:cxn ang="0">
                  <a:pos x="1100" y="18"/>
                </a:cxn>
                <a:cxn ang="0">
                  <a:pos x="1088" y="18"/>
                </a:cxn>
                <a:cxn ang="0">
                  <a:pos x="1070" y="24"/>
                </a:cxn>
                <a:cxn ang="0">
                  <a:pos x="1052" y="30"/>
                </a:cxn>
                <a:cxn ang="0">
                  <a:pos x="1034" y="36"/>
                </a:cxn>
                <a:cxn ang="0">
                  <a:pos x="1028" y="42"/>
                </a:cxn>
                <a:cxn ang="0">
                  <a:pos x="969" y="60"/>
                </a:cxn>
                <a:cxn ang="0">
                  <a:pos x="921" y="72"/>
                </a:cxn>
                <a:cxn ang="0">
                  <a:pos x="855" y="48"/>
                </a:cxn>
                <a:cxn ang="0">
                  <a:pos x="825" y="48"/>
                </a:cxn>
                <a:cxn ang="0">
                  <a:pos x="759" y="72"/>
                </a:cxn>
                <a:cxn ang="0">
                  <a:pos x="735" y="72"/>
                </a:cxn>
                <a:cxn ang="0">
                  <a:pos x="706" y="60"/>
                </a:cxn>
                <a:cxn ang="0">
                  <a:pos x="640" y="60"/>
                </a:cxn>
                <a:cxn ang="0">
                  <a:pos x="544" y="72"/>
                </a:cxn>
                <a:cxn ang="0">
                  <a:pos x="389" y="18"/>
                </a:cxn>
                <a:cxn ang="0">
                  <a:pos x="323" y="60"/>
                </a:cxn>
                <a:cxn ang="0">
                  <a:pos x="317" y="60"/>
                </a:cxn>
                <a:cxn ang="0">
                  <a:pos x="305" y="72"/>
                </a:cxn>
                <a:cxn ang="0">
                  <a:pos x="287" y="78"/>
                </a:cxn>
                <a:cxn ang="0">
                  <a:pos x="263" y="90"/>
                </a:cxn>
                <a:cxn ang="0">
                  <a:pos x="203" y="120"/>
                </a:cxn>
                <a:cxn ang="0">
                  <a:pos x="149" y="150"/>
                </a:cxn>
                <a:cxn ang="0">
                  <a:pos x="78" y="168"/>
                </a:cxn>
                <a:cxn ang="0">
                  <a:pos x="0" y="180"/>
                </a:cxn>
                <a:cxn ang="0">
                  <a:pos x="0" y="527"/>
                </a:cxn>
                <a:cxn ang="0">
                  <a:pos x="1010" y="527"/>
                </a:cxn>
                <a:cxn ang="0">
                  <a:pos x="3725" y="527"/>
                </a:cxn>
                <a:cxn ang="0">
                  <a:pos x="3976" y="527"/>
                </a:cxn>
                <a:cxn ang="0">
                  <a:pos x="3976" y="527"/>
                </a:cxn>
              </a:cxnLst>
              <a:rect l="0" t="0" r="r" b="b"/>
              <a:pathLst>
                <a:path w="3976" h="527">
                  <a:moveTo>
                    <a:pt x="3976" y="527"/>
                  </a:moveTo>
                  <a:lnTo>
                    <a:pt x="3970" y="527"/>
                  </a:lnTo>
                  <a:lnTo>
                    <a:pt x="3844" y="509"/>
                  </a:lnTo>
                  <a:lnTo>
                    <a:pt x="2487" y="305"/>
                  </a:lnTo>
                  <a:lnTo>
                    <a:pt x="2039" y="36"/>
                  </a:lnTo>
                  <a:lnTo>
                    <a:pt x="1907" y="24"/>
                  </a:lnTo>
                  <a:lnTo>
                    <a:pt x="1883" y="54"/>
                  </a:lnTo>
                  <a:lnTo>
                    <a:pt x="1859" y="54"/>
                  </a:lnTo>
                  <a:lnTo>
                    <a:pt x="1830" y="30"/>
                  </a:lnTo>
                  <a:lnTo>
                    <a:pt x="1704" y="102"/>
                  </a:lnTo>
                  <a:lnTo>
                    <a:pt x="1608" y="126"/>
                  </a:lnTo>
                  <a:lnTo>
                    <a:pt x="1561" y="132"/>
                  </a:lnTo>
                  <a:lnTo>
                    <a:pt x="1495" y="102"/>
                  </a:lnTo>
                  <a:lnTo>
                    <a:pt x="1357" y="126"/>
                  </a:lnTo>
                  <a:lnTo>
                    <a:pt x="1285" y="24"/>
                  </a:lnTo>
                  <a:lnTo>
                    <a:pt x="1280" y="18"/>
                  </a:lnTo>
                  <a:lnTo>
                    <a:pt x="1262" y="12"/>
                  </a:lnTo>
                  <a:lnTo>
                    <a:pt x="1238" y="6"/>
                  </a:lnTo>
                  <a:lnTo>
                    <a:pt x="1220" y="0"/>
                  </a:lnTo>
                  <a:lnTo>
                    <a:pt x="1196" y="0"/>
                  </a:lnTo>
                  <a:lnTo>
                    <a:pt x="1166" y="0"/>
                  </a:lnTo>
                  <a:lnTo>
                    <a:pt x="1142" y="0"/>
                  </a:lnTo>
                  <a:lnTo>
                    <a:pt x="1136" y="0"/>
                  </a:lnTo>
                  <a:lnTo>
                    <a:pt x="1130" y="0"/>
                  </a:lnTo>
                  <a:lnTo>
                    <a:pt x="1124" y="6"/>
                  </a:lnTo>
                  <a:lnTo>
                    <a:pt x="1118" y="12"/>
                  </a:lnTo>
                  <a:lnTo>
                    <a:pt x="1100" y="18"/>
                  </a:lnTo>
                  <a:lnTo>
                    <a:pt x="1088" y="18"/>
                  </a:lnTo>
                  <a:lnTo>
                    <a:pt x="1070" y="24"/>
                  </a:lnTo>
                  <a:lnTo>
                    <a:pt x="1052" y="30"/>
                  </a:lnTo>
                  <a:lnTo>
                    <a:pt x="1034" y="36"/>
                  </a:lnTo>
                  <a:lnTo>
                    <a:pt x="1028" y="42"/>
                  </a:lnTo>
                  <a:lnTo>
                    <a:pt x="969" y="60"/>
                  </a:lnTo>
                  <a:lnTo>
                    <a:pt x="921" y="72"/>
                  </a:lnTo>
                  <a:lnTo>
                    <a:pt x="855" y="48"/>
                  </a:lnTo>
                  <a:lnTo>
                    <a:pt x="825" y="48"/>
                  </a:lnTo>
                  <a:lnTo>
                    <a:pt x="759" y="72"/>
                  </a:lnTo>
                  <a:lnTo>
                    <a:pt x="735" y="72"/>
                  </a:lnTo>
                  <a:lnTo>
                    <a:pt x="706" y="60"/>
                  </a:lnTo>
                  <a:lnTo>
                    <a:pt x="640" y="60"/>
                  </a:lnTo>
                  <a:lnTo>
                    <a:pt x="544" y="72"/>
                  </a:lnTo>
                  <a:lnTo>
                    <a:pt x="389" y="18"/>
                  </a:lnTo>
                  <a:lnTo>
                    <a:pt x="323" y="60"/>
                  </a:lnTo>
                  <a:lnTo>
                    <a:pt x="317" y="60"/>
                  </a:lnTo>
                  <a:lnTo>
                    <a:pt x="305" y="72"/>
                  </a:lnTo>
                  <a:lnTo>
                    <a:pt x="287" y="78"/>
                  </a:lnTo>
                  <a:lnTo>
                    <a:pt x="263" y="90"/>
                  </a:lnTo>
                  <a:lnTo>
                    <a:pt x="203" y="120"/>
                  </a:lnTo>
                  <a:lnTo>
                    <a:pt x="149" y="150"/>
                  </a:lnTo>
                  <a:lnTo>
                    <a:pt x="78" y="168"/>
                  </a:lnTo>
                  <a:lnTo>
                    <a:pt x="0" y="180"/>
                  </a:lnTo>
                  <a:lnTo>
                    <a:pt x="0" y="527"/>
                  </a:lnTo>
                  <a:lnTo>
                    <a:pt x="1010" y="527"/>
                  </a:lnTo>
                  <a:lnTo>
                    <a:pt x="3725" y="527"/>
                  </a:lnTo>
                  <a:lnTo>
                    <a:pt x="3976" y="527"/>
                  </a:lnTo>
                  <a:lnTo>
                    <a:pt x="3976" y="527"/>
                  </a:lnTo>
                  <a:close/>
                </a:path>
              </a:pathLst>
            </a:custGeom>
            <a:gradFill rotWithShape="0">
              <a:gsLst>
                <a:gs pos="0">
                  <a:schemeClr val="bg2">
                    <a:gamma/>
                    <a:tint val="75686"/>
                    <a:invGamma/>
                  </a:schemeClr>
                </a:gs>
                <a:gs pos="100000">
                  <a:schemeClr val="bg2"/>
                </a:gs>
              </a:gsLst>
              <a:lin ang="54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grpSp>
        <p:nvGrpSpPr>
          <p:cNvPr id="5" name="Group 15"/>
          <p:cNvGrpSpPr>
            <a:grpSpLocks/>
          </p:cNvGrpSpPr>
          <p:nvPr/>
        </p:nvGrpSpPr>
        <p:grpSpPr bwMode="auto">
          <a:xfrm>
            <a:off x="627063" y="6021388"/>
            <a:ext cx="5684837" cy="849312"/>
            <a:chOff x="395" y="3793"/>
            <a:chExt cx="3581" cy="535"/>
          </a:xfrm>
        </p:grpSpPr>
        <p:sp>
          <p:nvSpPr>
            <p:cNvPr id="9232" name="Freeform 16"/>
            <p:cNvSpPr>
              <a:spLocks/>
            </p:cNvSpPr>
            <p:nvPr/>
          </p:nvSpPr>
          <p:spPr bwMode="auto">
            <a:xfrm>
              <a:off x="1196" y="3793"/>
              <a:ext cx="365" cy="291"/>
            </a:xfrm>
            <a:custGeom>
              <a:avLst/>
              <a:gdLst/>
              <a:ahLst/>
              <a:cxnLst>
                <a:cxn ang="0">
                  <a:pos x="24" y="24"/>
                </a:cxn>
                <a:cxn ang="0">
                  <a:pos x="0" y="60"/>
                </a:cxn>
                <a:cxn ang="0">
                  <a:pos x="66" y="108"/>
                </a:cxn>
                <a:cxn ang="0">
                  <a:pos x="143" y="180"/>
                </a:cxn>
                <a:cxn ang="0">
                  <a:pos x="191" y="168"/>
                </a:cxn>
                <a:cxn ang="0">
                  <a:pos x="341" y="287"/>
                </a:cxn>
                <a:cxn ang="0">
                  <a:pos x="305" y="174"/>
                </a:cxn>
                <a:cxn ang="0">
                  <a:pos x="365" y="132"/>
                </a:cxn>
                <a:cxn ang="0">
                  <a:pos x="359" y="126"/>
                </a:cxn>
                <a:cxn ang="0">
                  <a:pos x="335" y="114"/>
                </a:cxn>
                <a:cxn ang="0">
                  <a:pos x="299" y="90"/>
                </a:cxn>
                <a:cxn ang="0">
                  <a:pos x="257" y="72"/>
                </a:cxn>
                <a:cxn ang="0">
                  <a:pos x="215" y="54"/>
                </a:cxn>
                <a:cxn ang="0">
                  <a:pos x="173" y="36"/>
                </a:cxn>
                <a:cxn ang="0">
                  <a:pos x="143" y="24"/>
                </a:cxn>
                <a:cxn ang="0">
                  <a:pos x="131" y="18"/>
                </a:cxn>
                <a:cxn ang="0">
                  <a:pos x="107" y="18"/>
                </a:cxn>
                <a:cxn ang="0">
                  <a:pos x="95" y="18"/>
                </a:cxn>
                <a:cxn ang="0">
                  <a:pos x="72" y="12"/>
                </a:cxn>
                <a:cxn ang="0">
                  <a:pos x="66" y="12"/>
                </a:cxn>
                <a:cxn ang="0">
                  <a:pos x="54" y="6"/>
                </a:cxn>
                <a:cxn ang="0">
                  <a:pos x="42" y="0"/>
                </a:cxn>
                <a:cxn ang="0">
                  <a:pos x="30" y="0"/>
                </a:cxn>
                <a:cxn ang="0">
                  <a:pos x="24" y="24"/>
                </a:cxn>
                <a:cxn ang="0">
                  <a:pos x="24" y="24"/>
                </a:cxn>
              </a:cxnLst>
              <a:rect l="0" t="0" r="r" b="b"/>
              <a:pathLst>
                <a:path w="365" h="287">
                  <a:moveTo>
                    <a:pt x="24" y="24"/>
                  </a:moveTo>
                  <a:lnTo>
                    <a:pt x="0" y="60"/>
                  </a:lnTo>
                  <a:lnTo>
                    <a:pt x="66" y="108"/>
                  </a:lnTo>
                  <a:lnTo>
                    <a:pt x="143" y="180"/>
                  </a:lnTo>
                  <a:lnTo>
                    <a:pt x="191" y="168"/>
                  </a:lnTo>
                  <a:lnTo>
                    <a:pt x="341" y="287"/>
                  </a:lnTo>
                  <a:lnTo>
                    <a:pt x="305" y="174"/>
                  </a:lnTo>
                  <a:lnTo>
                    <a:pt x="365" y="132"/>
                  </a:lnTo>
                  <a:lnTo>
                    <a:pt x="359" y="126"/>
                  </a:lnTo>
                  <a:lnTo>
                    <a:pt x="335" y="114"/>
                  </a:lnTo>
                  <a:lnTo>
                    <a:pt x="299" y="90"/>
                  </a:lnTo>
                  <a:lnTo>
                    <a:pt x="257" y="72"/>
                  </a:lnTo>
                  <a:lnTo>
                    <a:pt x="215" y="54"/>
                  </a:lnTo>
                  <a:lnTo>
                    <a:pt x="173" y="36"/>
                  </a:lnTo>
                  <a:lnTo>
                    <a:pt x="143" y="24"/>
                  </a:lnTo>
                  <a:lnTo>
                    <a:pt x="131" y="18"/>
                  </a:lnTo>
                  <a:lnTo>
                    <a:pt x="107" y="18"/>
                  </a:lnTo>
                  <a:lnTo>
                    <a:pt x="95" y="18"/>
                  </a:lnTo>
                  <a:lnTo>
                    <a:pt x="72" y="12"/>
                  </a:lnTo>
                  <a:lnTo>
                    <a:pt x="66" y="12"/>
                  </a:lnTo>
                  <a:lnTo>
                    <a:pt x="54" y="6"/>
                  </a:lnTo>
                  <a:lnTo>
                    <a:pt x="42" y="0"/>
                  </a:lnTo>
                  <a:lnTo>
                    <a:pt x="30" y="0"/>
                  </a:lnTo>
                  <a:lnTo>
                    <a:pt x="24" y="24"/>
                  </a:lnTo>
                  <a:lnTo>
                    <a:pt x="24" y="24"/>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33" name="Freeform 17"/>
            <p:cNvSpPr>
              <a:spLocks/>
            </p:cNvSpPr>
            <p:nvPr/>
          </p:nvSpPr>
          <p:spPr bwMode="auto">
            <a:xfrm>
              <a:off x="1943" y="3829"/>
              <a:ext cx="2033" cy="499"/>
            </a:xfrm>
            <a:custGeom>
              <a:avLst/>
              <a:gdLst/>
              <a:ahLst/>
              <a:cxnLst>
                <a:cxn ang="0">
                  <a:pos x="186" y="18"/>
                </a:cxn>
                <a:cxn ang="0">
                  <a:pos x="138" y="6"/>
                </a:cxn>
                <a:cxn ang="0">
                  <a:pos x="96" y="0"/>
                </a:cxn>
                <a:cxn ang="0">
                  <a:pos x="36" y="0"/>
                </a:cxn>
                <a:cxn ang="0">
                  <a:pos x="12" y="25"/>
                </a:cxn>
                <a:cxn ang="0">
                  <a:pos x="0" y="128"/>
                </a:cxn>
                <a:cxn ang="0">
                  <a:pos x="60" y="104"/>
                </a:cxn>
                <a:cxn ang="0">
                  <a:pos x="90" y="134"/>
                </a:cxn>
                <a:cxn ang="0">
                  <a:pos x="150" y="153"/>
                </a:cxn>
                <a:cxn ang="0">
                  <a:pos x="209" y="273"/>
                </a:cxn>
                <a:cxn ang="0">
                  <a:pos x="401" y="359"/>
                </a:cxn>
                <a:cxn ang="0">
                  <a:pos x="777" y="359"/>
                </a:cxn>
                <a:cxn ang="0">
                  <a:pos x="2033" y="499"/>
                </a:cxn>
                <a:cxn ang="0">
                  <a:pos x="2033" y="499"/>
                </a:cxn>
                <a:cxn ang="0">
                  <a:pos x="1991" y="493"/>
                </a:cxn>
                <a:cxn ang="0">
                  <a:pos x="676" y="243"/>
                </a:cxn>
                <a:cxn ang="0">
                  <a:pos x="514" y="159"/>
                </a:cxn>
                <a:cxn ang="0">
                  <a:pos x="425" y="110"/>
                </a:cxn>
                <a:cxn ang="0">
                  <a:pos x="365" y="92"/>
                </a:cxn>
                <a:cxn ang="0">
                  <a:pos x="281" y="61"/>
                </a:cxn>
                <a:cxn ang="0">
                  <a:pos x="186" y="18"/>
                </a:cxn>
                <a:cxn ang="0">
                  <a:pos x="186" y="18"/>
                </a:cxn>
              </a:cxnLst>
              <a:rect l="0" t="0" r="r" b="b"/>
              <a:pathLst>
                <a:path w="2033" h="499">
                  <a:moveTo>
                    <a:pt x="186" y="18"/>
                  </a:moveTo>
                  <a:lnTo>
                    <a:pt x="138" y="6"/>
                  </a:lnTo>
                  <a:lnTo>
                    <a:pt x="96" y="0"/>
                  </a:lnTo>
                  <a:lnTo>
                    <a:pt x="36" y="0"/>
                  </a:lnTo>
                  <a:lnTo>
                    <a:pt x="12" y="25"/>
                  </a:lnTo>
                  <a:lnTo>
                    <a:pt x="0" y="128"/>
                  </a:lnTo>
                  <a:lnTo>
                    <a:pt x="60" y="104"/>
                  </a:lnTo>
                  <a:lnTo>
                    <a:pt x="90" y="134"/>
                  </a:lnTo>
                  <a:lnTo>
                    <a:pt x="150" y="153"/>
                  </a:lnTo>
                  <a:lnTo>
                    <a:pt x="209" y="273"/>
                  </a:lnTo>
                  <a:lnTo>
                    <a:pt x="401" y="359"/>
                  </a:lnTo>
                  <a:lnTo>
                    <a:pt x="777" y="359"/>
                  </a:lnTo>
                  <a:lnTo>
                    <a:pt x="2033" y="499"/>
                  </a:lnTo>
                  <a:lnTo>
                    <a:pt x="2033" y="499"/>
                  </a:lnTo>
                  <a:lnTo>
                    <a:pt x="1991" y="493"/>
                  </a:lnTo>
                  <a:lnTo>
                    <a:pt x="676" y="243"/>
                  </a:lnTo>
                  <a:lnTo>
                    <a:pt x="514" y="159"/>
                  </a:lnTo>
                  <a:lnTo>
                    <a:pt x="425" y="110"/>
                  </a:lnTo>
                  <a:lnTo>
                    <a:pt x="365" y="92"/>
                  </a:lnTo>
                  <a:lnTo>
                    <a:pt x="281" y="61"/>
                  </a:lnTo>
                  <a:lnTo>
                    <a:pt x="186" y="18"/>
                  </a:lnTo>
                  <a:lnTo>
                    <a:pt x="186" y="18"/>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34" name="Freeform 18"/>
            <p:cNvSpPr>
              <a:spLocks/>
            </p:cNvSpPr>
            <p:nvPr/>
          </p:nvSpPr>
          <p:spPr bwMode="auto">
            <a:xfrm>
              <a:off x="1830" y="3823"/>
              <a:ext cx="71" cy="61"/>
            </a:xfrm>
            <a:custGeom>
              <a:avLst/>
              <a:gdLst/>
              <a:ahLst/>
              <a:cxnLst>
                <a:cxn ang="0">
                  <a:pos x="0" y="18"/>
                </a:cxn>
                <a:cxn ang="0">
                  <a:pos x="6" y="18"/>
                </a:cxn>
                <a:cxn ang="0">
                  <a:pos x="12" y="12"/>
                </a:cxn>
                <a:cxn ang="0">
                  <a:pos x="6" y="6"/>
                </a:cxn>
                <a:cxn ang="0">
                  <a:pos x="0" y="0"/>
                </a:cxn>
                <a:cxn ang="0">
                  <a:pos x="29" y="18"/>
                </a:cxn>
                <a:cxn ang="0">
                  <a:pos x="53" y="18"/>
                </a:cxn>
                <a:cxn ang="0">
                  <a:pos x="59" y="30"/>
                </a:cxn>
                <a:cxn ang="0">
                  <a:pos x="65" y="42"/>
                </a:cxn>
                <a:cxn ang="0">
                  <a:pos x="71" y="54"/>
                </a:cxn>
                <a:cxn ang="0">
                  <a:pos x="71" y="60"/>
                </a:cxn>
                <a:cxn ang="0">
                  <a:pos x="59" y="54"/>
                </a:cxn>
                <a:cxn ang="0">
                  <a:pos x="47" y="42"/>
                </a:cxn>
                <a:cxn ang="0">
                  <a:pos x="23" y="30"/>
                </a:cxn>
                <a:cxn ang="0">
                  <a:pos x="23" y="36"/>
                </a:cxn>
                <a:cxn ang="0">
                  <a:pos x="18" y="42"/>
                </a:cxn>
                <a:cxn ang="0">
                  <a:pos x="12" y="48"/>
                </a:cxn>
                <a:cxn ang="0">
                  <a:pos x="6" y="48"/>
                </a:cxn>
                <a:cxn ang="0">
                  <a:pos x="6" y="48"/>
                </a:cxn>
                <a:cxn ang="0">
                  <a:pos x="6" y="36"/>
                </a:cxn>
                <a:cxn ang="0">
                  <a:pos x="0" y="18"/>
                </a:cxn>
                <a:cxn ang="0">
                  <a:pos x="0" y="18"/>
                </a:cxn>
              </a:cxnLst>
              <a:rect l="0" t="0" r="r" b="b"/>
              <a:pathLst>
                <a:path w="71" h="60">
                  <a:moveTo>
                    <a:pt x="0" y="18"/>
                  </a:moveTo>
                  <a:lnTo>
                    <a:pt x="6" y="18"/>
                  </a:lnTo>
                  <a:lnTo>
                    <a:pt x="12" y="12"/>
                  </a:lnTo>
                  <a:lnTo>
                    <a:pt x="6" y="6"/>
                  </a:lnTo>
                  <a:lnTo>
                    <a:pt x="0" y="0"/>
                  </a:lnTo>
                  <a:lnTo>
                    <a:pt x="29" y="18"/>
                  </a:lnTo>
                  <a:lnTo>
                    <a:pt x="53" y="18"/>
                  </a:lnTo>
                  <a:lnTo>
                    <a:pt x="59" y="30"/>
                  </a:lnTo>
                  <a:lnTo>
                    <a:pt x="65" y="42"/>
                  </a:lnTo>
                  <a:lnTo>
                    <a:pt x="71" y="54"/>
                  </a:lnTo>
                  <a:lnTo>
                    <a:pt x="71" y="60"/>
                  </a:lnTo>
                  <a:lnTo>
                    <a:pt x="59" y="54"/>
                  </a:lnTo>
                  <a:lnTo>
                    <a:pt x="47" y="42"/>
                  </a:lnTo>
                  <a:lnTo>
                    <a:pt x="23" y="30"/>
                  </a:lnTo>
                  <a:lnTo>
                    <a:pt x="23" y="36"/>
                  </a:lnTo>
                  <a:lnTo>
                    <a:pt x="18" y="42"/>
                  </a:lnTo>
                  <a:lnTo>
                    <a:pt x="12" y="48"/>
                  </a:lnTo>
                  <a:lnTo>
                    <a:pt x="6" y="48"/>
                  </a:lnTo>
                  <a:lnTo>
                    <a:pt x="6" y="48"/>
                  </a:lnTo>
                  <a:lnTo>
                    <a:pt x="6" y="36"/>
                  </a:lnTo>
                  <a:lnTo>
                    <a:pt x="0" y="18"/>
                  </a:lnTo>
                  <a:lnTo>
                    <a:pt x="0" y="18"/>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35" name="Freeform 19"/>
            <p:cNvSpPr>
              <a:spLocks/>
            </p:cNvSpPr>
            <p:nvPr/>
          </p:nvSpPr>
          <p:spPr bwMode="auto">
            <a:xfrm>
              <a:off x="855" y="3842"/>
              <a:ext cx="161" cy="164"/>
            </a:xfrm>
            <a:custGeom>
              <a:avLst/>
              <a:gdLst/>
              <a:ahLst/>
              <a:cxnLst>
                <a:cxn ang="0">
                  <a:pos x="30" y="0"/>
                </a:cxn>
                <a:cxn ang="0">
                  <a:pos x="48" y="6"/>
                </a:cxn>
                <a:cxn ang="0">
                  <a:pos x="72" y="6"/>
                </a:cxn>
                <a:cxn ang="0">
                  <a:pos x="114" y="12"/>
                </a:cxn>
                <a:cxn ang="0">
                  <a:pos x="96" y="54"/>
                </a:cxn>
                <a:cxn ang="0">
                  <a:pos x="96" y="60"/>
                </a:cxn>
                <a:cxn ang="0">
                  <a:pos x="102" y="72"/>
                </a:cxn>
                <a:cxn ang="0">
                  <a:pos x="108" y="84"/>
                </a:cxn>
                <a:cxn ang="0">
                  <a:pos x="120" y="96"/>
                </a:cxn>
                <a:cxn ang="0">
                  <a:pos x="143" y="114"/>
                </a:cxn>
                <a:cxn ang="0">
                  <a:pos x="155" y="138"/>
                </a:cxn>
                <a:cxn ang="0">
                  <a:pos x="161" y="156"/>
                </a:cxn>
                <a:cxn ang="0">
                  <a:pos x="161" y="162"/>
                </a:cxn>
                <a:cxn ang="0">
                  <a:pos x="96" y="102"/>
                </a:cxn>
                <a:cxn ang="0">
                  <a:pos x="30" y="54"/>
                </a:cxn>
                <a:cxn ang="0">
                  <a:pos x="0" y="0"/>
                </a:cxn>
                <a:cxn ang="0">
                  <a:pos x="30" y="0"/>
                </a:cxn>
                <a:cxn ang="0">
                  <a:pos x="30" y="0"/>
                </a:cxn>
              </a:cxnLst>
              <a:rect l="0" t="0" r="r" b="b"/>
              <a:pathLst>
                <a:path w="161" h="162">
                  <a:moveTo>
                    <a:pt x="30" y="0"/>
                  </a:moveTo>
                  <a:lnTo>
                    <a:pt x="48" y="6"/>
                  </a:lnTo>
                  <a:lnTo>
                    <a:pt x="72" y="6"/>
                  </a:lnTo>
                  <a:lnTo>
                    <a:pt x="114" y="12"/>
                  </a:lnTo>
                  <a:lnTo>
                    <a:pt x="96" y="54"/>
                  </a:lnTo>
                  <a:lnTo>
                    <a:pt x="96" y="60"/>
                  </a:lnTo>
                  <a:lnTo>
                    <a:pt x="102" y="72"/>
                  </a:lnTo>
                  <a:lnTo>
                    <a:pt x="108" y="84"/>
                  </a:lnTo>
                  <a:lnTo>
                    <a:pt x="120" y="96"/>
                  </a:lnTo>
                  <a:lnTo>
                    <a:pt x="143" y="114"/>
                  </a:lnTo>
                  <a:lnTo>
                    <a:pt x="155" y="138"/>
                  </a:lnTo>
                  <a:lnTo>
                    <a:pt x="161" y="156"/>
                  </a:lnTo>
                  <a:lnTo>
                    <a:pt x="161" y="162"/>
                  </a:lnTo>
                  <a:lnTo>
                    <a:pt x="96" y="102"/>
                  </a:lnTo>
                  <a:lnTo>
                    <a:pt x="30" y="54"/>
                  </a:lnTo>
                  <a:lnTo>
                    <a:pt x="0" y="0"/>
                  </a:lnTo>
                  <a:lnTo>
                    <a:pt x="30" y="0"/>
                  </a:lnTo>
                  <a:lnTo>
                    <a:pt x="30" y="0"/>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36" name="Freeform 20"/>
            <p:cNvSpPr>
              <a:spLocks/>
            </p:cNvSpPr>
            <p:nvPr/>
          </p:nvSpPr>
          <p:spPr bwMode="auto">
            <a:xfrm>
              <a:off x="706" y="3854"/>
              <a:ext cx="59" cy="61"/>
            </a:xfrm>
            <a:custGeom>
              <a:avLst/>
              <a:gdLst/>
              <a:ahLst/>
              <a:cxnLst>
                <a:cxn ang="0">
                  <a:pos x="59" y="6"/>
                </a:cxn>
                <a:cxn ang="0">
                  <a:pos x="41" y="30"/>
                </a:cxn>
                <a:cxn ang="0">
                  <a:pos x="41" y="36"/>
                </a:cxn>
                <a:cxn ang="0">
                  <a:pos x="47" y="42"/>
                </a:cxn>
                <a:cxn ang="0">
                  <a:pos x="53" y="54"/>
                </a:cxn>
                <a:cxn ang="0">
                  <a:pos x="53" y="60"/>
                </a:cxn>
                <a:cxn ang="0">
                  <a:pos x="47" y="54"/>
                </a:cxn>
                <a:cxn ang="0">
                  <a:pos x="35" y="48"/>
                </a:cxn>
                <a:cxn ang="0">
                  <a:pos x="23" y="36"/>
                </a:cxn>
                <a:cxn ang="0">
                  <a:pos x="17" y="30"/>
                </a:cxn>
                <a:cxn ang="0">
                  <a:pos x="0" y="0"/>
                </a:cxn>
                <a:cxn ang="0">
                  <a:pos x="59" y="6"/>
                </a:cxn>
                <a:cxn ang="0">
                  <a:pos x="59" y="6"/>
                </a:cxn>
              </a:cxnLst>
              <a:rect l="0" t="0" r="r" b="b"/>
              <a:pathLst>
                <a:path w="59" h="60">
                  <a:moveTo>
                    <a:pt x="59" y="6"/>
                  </a:moveTo>
                  <a:lnTo>
                    <a:pt x="41" y="30"/>
                  </a:lnTo>
                  <a:lnTo>
                    <a:pt x="41" y="36"/>
                  </a:lnTo>
                  <a:lnTo>
                    <a:pt x="47" y="42"/>
                  </a:lnTo>
                  <a:lnTo>
                    <a:pt x="53" y="54"/>
                  </a:lnTo>
                  <a:lnTo>
                    <a:pt x="53" y="60"/>
                  </a:lnTo>
                  <a:lnTo>
                    <a:pt x="47" y="54"/>
                  </a:lnTo>
                  <a:lnTo>
                    <a:pt x="35" y="48"/>
                  </a:lnTo>
                  <a:lnTo>
                    <a:pt x="23" y="36"/>
                  </a:lnTo>
                  <a:lnTo>
                    <a:pt x="17" y="30"/>
                  </a:lnTo>
                  <a:lnTo>
                    <a:pt x="0" y="0"/>
                  </a:lnTo>
                  <a:lnTo>
                    <a:pt x="59" y="6"/>
                  </a:lnTo>
                  <a:lnTo>
                    <a:pt x="59" y="6"/>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37" name="Freeform 21"/>
            <p:cNvSpPr>
              <a:spLocks/>
            </p:cNvSpPr>
            <p:nvPr/>
          </p:nvSpPr>
          <p:spPr bwMode="auto">
            <a:xfrm>
              <a:off x="395" y="3811"/>
              <a:ext cx="245" cy="207"/>
            </a:xfrm>
            <a:custGeom>
              <a:avLst/>
              <a:gdLst/>
              <a:ahLst/>
              <a:cxnLst>
                <a:cxn ang="0">
                  <a:pos x="233" y="36"/>
                </a:cxn>
                <a:cxn ang="0">
                  <a:pos x="245" y="42"/>
                </a:cxn>
                <a:cxn ang="0">
                  <a:pos x="209" y="84"/>
                </a:cxn>
                <a:cxn ang="0">
                  <a:pos x="143" y="132"/>
                </a:cxn>
                <a:cxn ang="0">
                  <a:pos x="167" y="156"/>
                </a:cxn>
                <a:cxn ang="0">
                  <a:pos x="179" y="204"/>
                </a:cxn>
                <a:cxn ang="0">
                  <a:pos x="77" y="132"/>
                </a:cxn>
                <a:cxn ang="0">
                  <a:pos x="47" y="84"/>
                </a:cxn>
                <a:cxn ang="0">
                  <a:pos x="89" y="66"/>
                </a:cxn>
                <a:cxn ang="0">
                  <a:pos x="59" y="36"/>
                </a:cxn>
                <a:cxn ang="0">
                  <a:pos x="0" y="12"/>
                </a:cxn>
                <a:cxn ang="0">
                  <a:pos x="0" y="0"/>
                </a:cxn>
                <a:cxn ang="0">
                  <a:pos x="6" y="0"/>
                </a:cxn>
                <a:cxn ang="0">
                  <a:pos x="12" y="0"/>
                </a:cxn>
                <a:cxn ang="0">
                  <a:pos x="47" y="6"/>
                </a:cxn>
                <a:cxn ang="0">
                  <a:pos x="77" y="6"/>
                </a:cxn>
                <a:cxn ang="0">
                  <a:pos x="83" y="6"/>
                </a:cxn>
                <a:cxn ang="0">
                  <a:pos x="89" y="6"/>
                </a:cxn>
                <a:cxn ang="0">
                  <a:pos x="101" y="12"/>
                </a:cxn>
                <a:cxn ang="0">
                  <a:pos x="125" y="12"/>
                </a:cxn>
                <a:cxn ang="0">
                  <a:pos x="143" y="18"/>
                </a:cxn>
                <a:cxn ang="0">
                  <a:pos x="149" y="18"/>
                </a:cxn>
                <a:cxn ang="0">
                  <a:pos x="149" y="18"/>
                </a:cxn>
                <a:cxn ang="0">
                  <a:pos x="203" y="24"/>
                </a:cxn>
                <a:cxn ang="0">
                  <a:pos x="233" y="36"/>
                </a:cxn>
                <a:cxn ang="0">
                  <a:pos x="233" y="36"/>
                </a:cxn>
              </a:cxnLst>
              <a:rect l="0" t="0" r="r" b="b"/>
              <a:pathLst>
                <a:path w="245" h="204">
                  <a:moveTo>
                    <a:pt x="233" y="36"/>
                  </a:moveTo>
                  <a:lnTo>
                    <a:pt x="245" y="42"/>
                  </a:lnTo>
                  <a:lnTo>
                    <a:pt x="209" y="84"/>
                  </a:lnTo>
                  <a:lnTo>
                    <a:pt x="143" y="132"/>
                  </a:lnTo>
                  <a:lnTo>
                    <a:pt x="167" y="156"/>
                  </a:lnTo>
                  <a:lnTo>
                    <a:pt x="179" y="204"/>
                  </a:lnTo>
                  <a:lnTo>
                    <a:pt x="77" y="132"/>
                  </a:lnTo>
                  <a:lnTo>
                    <a:pt x="47" y="84"/>
                  </a:lnTo>
                  <a:lnTo>
                    <a:pt x="89" y="66"/>
                  </a:lnTo>
                  <a:lnTo>
                    <a:pt x="59" y="36"/>
                  </a:lnTo>
                  <a:lnTo>
                    <a:pt x="0" y="12"/>
                  </a:lnTo>
                  <a:lnTo>
                    <a:pt x="0" y="0"/>
                  </a:lnTo>
                  <a:lnTo>
                    <a:pt x="6" y="0"/>
                  </a:lnTo>
                  <a:lnTo>
                    <a:pt x="12" y="0"/>
                  </a:lnTo>
                  <a:lnTo>
                    <a:pt x="47" y="6"/>
                  </a:lnTo>
                  <a:lnTo>
                    <a:pt x="77" y="6"/>
                  </a:lnTo>
                  <a:lnTo>
                    <a:pt x="83" y="6"/>
                  </a:lnTo>
                  <a:lnTo>
                    <a:pt x="89" y="6"/>
                  </a:lnTo>
                  <a:lnTo>
                    <a:pt x="101" y="12"/>
                  </a:lnTo>
                  <a:lnTo>
                    <a:pt x="125" y="12"/>
                  </a:lnTo>
                  <a:lnTo>
                    <a:pt x="143" y="18"/>
                  </a:lnTo>
                  <a:lnTo>
                    <a:pt x="149" y="18"/>
                  </a:lnTo>
                  <a:lnTo>
                    <a:pt x="149" y="18"/>
                  </a:lnTo>
                  <a:lnTo>
                    <a:pt x="203" y="24"/>
                  </a:lnTo>
                  <a:lnTo>
                    <a:pt x="233" y="36"/>
                  </a:lnTo>
                  <a:lnTo>
                    <a:pt x="233" y="36"/>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sp>
        <p:nvSpPr>
          <p:cNvPr id="9238" name="Rectangle 22"/>
          <p:cNvSpPr>
            <a:spLocks noGrp="1" noChangeArrowheads="1"/>
          </p:cNvSpPr>
          <p:nvPr>
            <p:ph type="title"/>
          </p:nvPr>
        </p:nvSpPr>
        <p:spPr bwMode="auto">
          <a:xfrm>
            <a:off x="457200" y="228600"/>
            <a:ext cx="82296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9239" name="Rectangle 23"/>
          <p:cNvSpPr>
            <a:spLocks noGrp="1" noChangeArrowheads="1"/>
          </p:cNvSpPr>
          <p:nvPr>
            <p:ph type="body" idx="1"/>
          </p:nvPr>
        </p:nvSpPr>
        <p:spPr bwMode="auto">
          <a:xfrm>
            <a:off x="457200" y="1600200"/>
            <a:ext cx="8229600" cy="4495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9240" name="Rectangle 24"/>
          <p:cNvSpPr>
            <a:spLocks noGrp="1" noChangeArrowheads="1"/>
          </p:cNvSpPr>
          <p:nvPr>
            <p:ph type="dt" sz="half" idx="2"/>
          </p:nvPr>
        </p:nvSpPr>
        <p:spPr bwMode="auto">
          <a:xfrm>
            <a:off x="457200" y="6248400"/>
            <a:ext cx="2133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rtl="0">
              <a:defRPr sz="1200">
                <a:effectLst>
                  <a:outerShdw blurRad="38100" dist="38100" dir="2700000" algn="tl">
                    <a:srgbClr val="000000"/>
                  </a:outerShdw>
                </a:effect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9241" name="Rectangle 2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rtl="0">
              <a:defRPr sz="1200">
                <a:effectLst>
                  <a:outerShdw blurRad="38100" dist="38100" dir="2700000" algn="tl">
                    <a:srgbClr val="000000"/>
                  </a:outerShdw>
                </a:effectLs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9242" name="Rectangle 26"/>
          <p:cNvSpPr>
            <a:spLocks noGrp="1" noChangeArrowheads="1"/>
          </p:cNvSpPr>
          <p:nvPr>
            <p:ph type="sldNum" sz="quarter" idx="4"/>
          </p:nvPr>
        </p:nvSpPr>
        <p:spPr bwMode="auto">
          <a:xfrm>
            <a:off x="6553200" y="6248400"/>
            <a:ext cx="2133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rtl="0">
              <a:defRPr sz="1200">
                <a:effectLst>
                  <a:outerShdw blurRad="38100" dist="38100" dir="2700000" algn="tl">
                    <a:srgbClr val="000000"/>
                  </a:outerShdw>
                </a:effect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8ADA1CD-DB58-4C72-B902-69B08EDCEDFF}"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2257726989"/>
      </p:ext>
    </p:extLst>
  </p:cSld>
  <p:clrMap bg1="dk2" tx1="lt1" bg2="dk1" tx2="lt2" accent1="accent1" accent2="accent2" accent3="accent3" accent4="accent4" accent5="accent5" accent6="accent6" hlink="hlink" folHlink="folHlink"/>
  <p:sldLayoutIdLst>
    <p:sldLayoutId id="2147484327" r:id="rId1"/>
    <p:sldLayoutId id="2147484328" r:id="rId2"/>
    <p:sldLayoutId id="2147484329" r:id="rId3"/>
    <p:sldLayoutId id="2147484330" r:id="rId4"/>
    <p:sldLayoutId id="2147484331" r:id="rId5"/>
    <p:sldLayoutId id="2147484332" r:id="rId6"/>
    <p:sldLayoutId id="2147484333" r:id="rId7"/>
    <p:sldLayoutId id="2147484334" r:id="rId8"/>
    <p:sldLayoutId id="2147484335" r:id="rId9"/>
    <p:sldLayoutId id="2147484336" r:id="rId10"/>
    <p:sldLayoutId id="2147484337" r:id="rId11"/>
    <p:sldLayoutId id="2147484338" r:id="rId12"/>
    <p:sldLayoutId id="2147484339" r:id="rId13"/>
    <p:sldLayoutId id="2147484340" r:id="rId14"/>
  </p:sldLayoutIdLst>
  <p:timing>
    <p:tnLst>
      <p:par>
        <p:cTn id="1" dur="indefinite" restart="never" nodeType="tmRoot"/>
      </p:par>
    </p:tnLst>
  </p:timing>
  <p:txStyles>
    <p:titleStyle>
      <a:lvl1pPr algn="ctr" rtl="1" fontAlgn="base">
        <a:spcBef>
          <a:spcPct val="0"/>
        </a:spcBef>
        <a:spcAft>
          <a:spcPct val="0"/>
        </a:spcAft>
        <a:defRPr sz="4400">
          <a:solidFill>
            <a:schemeClr val="tx2"/>
          </a:solidFill>
          <a:effectLst>
            <a:outerShdw blurRad="38100" dist="38100" dir="2700000" algn="tl">
              <a:srgbClr val="000000"/>
            </a:outerShdw>
          </a:effectLst>
          <a:latin typeface="+mj-lt"/>
          <a:ea typeface="+mj-ea"/>
          <a:cs typeface="+mj-cs"/>
        </a:defRPr>
      </a:lvl1pPr>
      <a:lvl2pPr algn="ctr" rtl="1" fontAlgn="base">
        <a:spcBef>
          <a:spcPct val="0"/>
        </a:spcBef>
        <a:spcAft>
          <a:spcPct val="0"/>
        </a:spcAft>
        <a:defRPr sz="4400">
          <a:solidFill>
            <a:schemeClr val="tx2"/>
          </a:solidFill>
          <a:effectLst>
            <a:outerShdw blurRad="38100" dist="38100" dir="2700000" algn="tl">
              <a:srgbClr val="000000"/>
            </a:outerShdw>
          </a:effectLst>
          <a:latin typeface="Arial" pitchFamily="34" charset="0"/>
          <a:cs typeface="Arial" pitchFamily="34" charset="0"/>
        </a:defRPr>
      </a:lvl2pPr>
      <a:lvl3pPr algn="ctr" rtl="1" fontAlgn="base">
        <a:spcBef>
          <a:spcPct val="0"/>
        </a:spcBef>
        <a:spcAft>
          <a:spcPct val="0"/>
        </a:spcAft>
        <a:defRPr sz="4400">
          <a:solidFill>
            <a:schemeClr val="tx2"/>
          </a:solidFill>
          <a:effectLst>
            <a:outerShdw blurRad="38100" dist="38100" dir="2700000" algn="tl">
              <a:srgbClr val="000000"/>
            </a:outerShdw>
          </a:effectLst>
          <a:latin typeface="Arial" pitchFamily="34" charset="0"/>
          <a:cs typeface="Arial" pitchFamily="34" charset="0"/>
        </a:defRPr>
      </a:lvl3pPr>
      <a:lvl4pPr algn="ctr" rtl="1" fontAlgn="base">
        <a:spcBef>
          <a:spcPct val="0"/>
        </a:spcBef>
        <a:spcAft>
          <a:spcPct val="0"/>
        </a:spcAft>
        <a:defRPr sz="4400">
          <a:solidFill>
            <a:schemeClr val="tx2"/>
          </a:solidFill>
          <a:effectLst>
            <a:outerShdw blurRad="38100" dist="38100" dir="2700000" algn="tl">
              <a:srgbClr val="000000"/>
            </a:outerShdw>
          </a:effectLst>
          <a:latin typeface="Arial" pitchFamily="34" charset="0"/>
          <a:cs typeface="Arial" pitchFamily="34" charset="0"/>
        </a:defRPr>
      </a:lvl4pPr>
      <a:lvl5pPr algn="ctr" rtl="1" fontAlgn="base">
        <a:spcBef>
          <a:spcPct val="0"/>
        </a:spcBef>
        <a:spcAft>
          <a:spcPct val="0"/>
        </a:spcAft>
        <a:defRPr sz="4400">
          <a:solidFill>
            <a:schemeClr val="tx2"/>
          </a:solidFill>
          <a:effectLst>
            <a:outerShdw blurRad="38100" dist="38100" dir="2700000" algn="tl">
              <a:srgbClr val="000000"/>
            </a:outerShdw>
          </a:effectLst>
          <a:latin typeface="Arial" pitchFamily="34" charset="0"/>
          <a:cs typeface="Arial" pitchFamily="34" charset="0"/>
        </a:defRPr>
      </a:lvl5pPr>
      <a:lvl6pPr marL="457200" algn="ctr" rtl="1" fontAlgn="base">
        <a:spcBef>
          <a:spcPct val="0"/>
        </a:spcBef>
        <a:spcAft>
          <a:spcPct val="0"/>
        </a:spcAft>
        <a:defRPr sz="4400">
          <a:solidFill>
            <a:schemeClr val="tx2"/>
          </a:solidFill>
          <a:effectLst>
            <a:outerShdw blurRad="38100" dist="38100" dir="2700000" algn="tl">
              <a:srgbClr val="000000"/>
            </a:outerShdw>
          </a:effectLst>
          <a:latin typeface="Arial" pitchFamily="34" charset="0"/>
          <a:cs typeface="Arial" pitchFamily="34" charset="0"/>
        </a:defRPr>
      </a:lvl6pPr>
      <a:lvl7pPr marL="914400" algn="ctr" rtl="1" fontAlgn="base">
        <a:spcBef>
          <a:spcPct val="0"/>
        </a:spcBef>
        <a:spcAft>
          <a:spcPct val="0"/>
        </a:spcAft>
        <a:defRPr sz="4400">
          <a:solidFill>
            <a:schemeClr val="tx2"/>
          </a:solidFill>
          <a:effectLst>
            <a:outerShdw blurRad="38100" dist="38100" dir="2700000" algn="tl">
              <a:srgbClr val="000000"/>
            </a:outerShdw>
          </a:effectLst>
          <a:latin typeface="Arial" pitchFamily="34" charset="0"/>
          <a:cs typeface="Arial" pitchFamily="34" charset="0"/>
        </a:defRPr>
      </a:lvl7pPr>
      <a:lvl8pPr marL="1371600" algn="ctr" rtl="1" fontAlgn="base">
        <a:spcBef>
          <a:spcPct val="0"/>
        </a:spcBef>
        <a:spcAft>
          <a:spcPct val="0"/>
        </a:spcAft>
        <a:defRPr sz="4400">
          <a:solidFill>
            <a:schemeClr val="tx2"/>
          </a:solidFill>
          <a:effectLst>
            <a:outerShdw blurRad="38100" dist="38100" dir="2700000" algn="tl">
              <a:srgbClr val="000000"/>
            </a:outerShdw>
          </a:effectLst>
          <a:latin typeface="Arial" pitchFamily="34" charset="0"/>
          <a:cs typeface="Arial" pitchFamily="34" charset="0"/>
        </a:defRPr>
      </a:lvl8pPr>
      <a:lvl9pPr marL="1828800" algn="ctr" rtl="1" fontAlgn="base">
        <a:spcBef>
          <a:spcPct val="0"/>
        </a:spcBef>
        <a:spcAft>
          <a:spcPct val="0"/>
        </a:spcAft>
        <a:defRPr sz="4400">
          <a:solidFill>
            <a:schemeClr val="tx2"/>
          </a:solidFill>
          <a:effectLst>
            <a:outerShdw blurRad="38100" dist="38100" dir="2700000" algn="tl">
              <a:srgbClr val="000000"/>
            </a:outerShdw>
          </a:effectLst>
          <a:latin typeface="Arial" pitchFamily="34" charset="0"/>
          <a:cs typeface="Arial" pitchFamily="34" charset="0"/>
        </a:defRPr>
      </a:lvl9pPr>
    </p:titleStyle>
    <p:bodyStyle>
      <a:lvl1pPr marL="342900" indent="-342900" algn="r" rtl="1" fontAlgn="base">
        <a:spcBef>
          <a:spcPct val="20000"/>
        </a:spcBef>
        <a:spcAft>
          <a:spcPct val="0"/>
        </a:spcAft>
        <a:buClr>
          <a:schemeClr val="tx2"/>
        </a:buClr>
        <a:buChar char="•"/>
        <a:defRPr sz="3200">
          <a:solidFill>
            <a:schemeClr val="tx1"/>
          </a:solidFill>
          <a:latin typeface="+mn-lt"/>
          <a:ea typeface="+mn-ea"/>
          <a:cs typeface="+mn-cs"/>
        </a:defRPr>
      </a:lvl1pPr>
      <a:lvl2pPr marL="742950" indent="-285750" algn="r" rtl="1" fontAlgn="base">
        <a:spcBef>
          <a:spcPct val="20000"/>
        </a:spcBef>
        <a:spcAft>
          <a:spcPct val="0"/>
        </a:spcAft>
        <a:buChar char="–"/>
        <a:defRPr sz="2800">
          <a:solidFill>
            <a:schemeClr val="tx1"/>
          </a:solidFill>
          <a:latin typeface="+mn-lt"/>
          <a:cs typeface="+mn-cs"/>
        </a:defRPr>
      </a:lvl2pPr>
      <a:lvl3pPr marL="1143000" indent="-228600" algn="r" rtl="1" fontAlgn="base">
        <a:spcBef>
          <a:spcPct val="20000"/>
        </a:spcBef>
        <a:spcAft>
          <a:spcPct val="0"/>
        </a:spcAft>
        <a:buClr>
          <a:schemeClr val="tx2"/>
        </a:buClr>
        <a:buChar char="•"/>
        <a:defRPr sz="2400">
          <a:solidFill>
            <a:schemeClr val="tx1"/>
          </a:solidFill>
          <a:latin typeface="+mn-lt"/>
          <a:cs typeface="+mn-cs"/>
        </a:defRPr>
      </a:lvl3pPr>
      <a:lvl4pPr marL="1600200" indent="-228600" algn="r" rtl="1" fontAlgn="base">
        <a:spcBef>
          <a:spcPct val="20000"/>
        </a:spcBef>
        <a:spcAft>
          <a:spcPct val="0"/>
        </a:spcAft>
        <a:buChar char="–"/>
        <a:defRPr sz="2000">
          <a:solidFill>
            <a:schemeClr val="tx1"/>
          </a:solidFill>
          <a:latin typeface="+mn-lt"/>
          <a:cs typeface="+mn-cs"/>
        </a:defRPr>
      </a:lvl4pPr>
      <a:lvl5pPr marL="2057400" indent="-228600" algn="r" rtl="1" fontAlgn="base">
        <a:spcBef>
          <a:spcPct val="20000"/>
        </a:spcBef>
        <a:spcAft>
          <a:spcPct val="0"/>
        </a:spcAft>
        <a:buClr>
          <a:schemeClr val="tx2"/>
        </a:buClr>
        <a:buChar char="•"/>
        <a:defRPr sz="2000">
          <a:solidFill>
            <a:schemeClr val="tx1"/>
          </a:solidFill>
          <a:latin typeface="+mn-lt"/>
          <a:cs typeface="+mn-cs"/>
        </a:defRPr>
      </a:lvl5pPr>
      <a:lvl6pPr marL="2514600" indent="-228600" algn="r" rtl="1" fontAlgn="base">
        <a:spcBef>
          <a:spcPct val="20000"/>
        </a:spcBef>
        <a:spcAft>
          <a:spcPct val="0"/>
        </a:spcAft>
        <a:buClr>
          <a:schemeClr val="tx2"/>
        </a:buClr>
        <a:buChar char="•"/>
        <a:defRPr sz="2000">
          <a:solidFill>
            <a:schemeClr val="tx1"/>
          </a:solidFill>
          <a:latin typeface="+mn-lt"/>
          <a:cs typeface="+mn-cs"/>
        </a:defRPr>
      </a:lvl6pPr>
      <a:lvl7pPr marL="2971800" indent="-228600" algn="r" rtl="1" fontAlgn="base">
        <a:spcBef>
          <a:spcPct val="20000"/>
        </a:spcBef>
        <a:spcAft>
          <a:spcPct val="0"/>
        </a:spcAft>
        <a:buClr>
          <a:schemeClr val="tx2"/>
        </a:buClr>
        <a:buChar char="•"/>
        <a:defRPr sz="2000">
          <a:solidFill>
            <a:schemeClr val="tx1"/>
          </a:solidFill>
          <a:latin typeface="+mn-lt"/>
          <a:cs typeface="+mn-cs"/>
        </a:defRPr>
      </a:lvl7pPr>
      <a:lvl8pPr marL="3429000" indent="-228600" algn="r" rtl="1" fontAlgn="base">
        <a:spcBef>
          <a:spcPct val="20000"/>
        </a:spcBef>
        <a:spcAft>
          <a:spcPct val="0"/>
        </a:spcAft>
        <a:buClr>
          <a:schemeClr val="tx2"/>
        </a:buClr>
        <a:buChar char="•"/>
        <a:defRPr sz="2000">
          <a:solidFill>
            <a:schemeClr val="tx1"/>
          </a:solidFill>
          <a:latin typeface="+mn-lt"/>
          <a:cs typeface="+mn-cs"/>
        </a:defRPr>
      </a:lvl8pPr>
      <a:lvl9pPr marL="3886200" indent="-228600" algn="r" rtl="1" fontAlgn="base">
        <a:spcBef>
          <a:spcPct val="20000"/>
        </a:spcBef>
        <a:spcAft>
          <a:spcPct val="0"/>
        </a:spcAft>
        <a:buClr>
          <a:schemeClr val="tx2"/>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7634923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gradFill rotWithShape="0">
          <a:gsLst>
            <a:gs pos="0">
              <a:schemeClr val="bg1">
                <a:gamma/>
                <a:shade val="46275"/>
                <a:invGamma/>
              </a:schemeClr>
            </a:gs>
            <a:gs pos="100000">
              <a:schemeClr val="bg1"/>
            </a:gs>
          </a:gsLst>
          <a:lin ang="5400000" scaled="1"/>
        </a:gradFill>
        <a:effectLst/>
      </p:bgPr>
    </p:bg>
    <p:spTree>
      <p:nvGrpSpPr>
        <p:cNvPr id="1" name=""/>
        <p:cNvGrpSpPr/>
        <p:nvPr/>
      </p:nvGrpSpPr>
      <p:grpSpPr>
        <a:xfrm>
          <a:off x="0" y="0"/>
          <a:ext cx="0" cy="0"/>
          <a:chOff x="0" y="0"/>
          <a:chExt cx="0" cy="0"/>
        </a:xfrm>
      </p:grpSpPr>
      <p:grpSp>
        <p:nvGrpSpPr>
          <p:cNvPr id="2" name="Group 2"/>
          <p:cNvGrpSpPr>
            <a:grpSpLocks/>
          </p:cNvGrpSpPr>
          <p:nvPr/>
        </p:nvGrpSpPr>
        <p:grpSpPr bwMode="auto">
          <a:xfrm>
            <a:off x="0" y="0"/>
            <a:ext cx="9144000" cy="6858000"/>
            <a:chOff x="0" y="0"/>
            <a:chExt cx="5760" cy="4320"/>
          </a:xfrm>
        </p:grpSpPr>
        <p:sp>
          <p:nvSpPr>
            <p:cNvPr id="9219" name="Freeform 3"/>
            <p:cNvSpPr>
              <a:spLocks/>
            </p:cNvSpPr>
            <p:nvPr/>
          </p:nvSpPr>
          <p:spPr bwMode="hidden">
            <a:xfrm>
              <a:off x="0" y="3072"/>
              <a:ext cx="5760" cy="1248"/>
            </a:xfrm>
            <a:custGeom>
              <a:avLst/>
              <a:gdLst/>
              <a:ahLst/>
              <a:cxnLst>
                <a:cxn ang="0">
                  <a:pos x="6027" y="2296"/>
                </a:cxn>
                <a:cxn ang="0">
                  <a:pos x="0" y="2296"/>
                </a:cxn>
                <a:cxn ang="0">
                  <a:pos x="0" y="0"/>
                </a:cxn>
                <a:cxn ang="0">
                  <a:pos x="6027" y="0"/>
                </a:cxn>
                <a:cxn ang="0">
                  <a:pos x="6027" y="2296"/>
                </a:cxn>
                <a:cxn ang="0">
                  <a:pos x="6027" y="2296"/>
                </a:cxn>
              </a:cxnLst>
              <a:rect l="0" t="0" r="r" b="b"/>
              <a:pathLst>
                <a:path w="6027" h="2296">
                  <a:moveTo>
                    <a:pt x="6027" y="2296"/>
                  </a:moveTo>
                  <a:lnTo>
                    <a:pt x="0" y="2296"/>
                  </a:lnTo>
                  <a:lnTo>
                    <a:pt x="0" y="0"/>
                  </a:lnTo>
                  <a:lnTo>
                    <a:pt x="6027" y="0"/>
                  </a:lnTo>
                  <a:lnTo>
                    <a:pt x="6027" y="2296"/>
                  </a:lnTo>
                  <a:lnTo>
                    <a:pt x="6027" y="2296"/>
                  </a:lnTo>
                  <a:close/>
                </a:path>
              </a:pathLst>
            </a:custGeom>
            <a:gradFill rotWithShape="0">
              <a:gsLst>
                <a:gs pos="0">
                  <a:schemeClr val="bg1"/>
                </a:gs>
                <a:gs pos="100000">
                  <a:schemeClr val="accent2"/>
                </a:gs>
              </a:gsLst>
              <a:lin ang="54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20" name="Freeform 4"/>
            <p:cNvSpPr>
              <a:spLocks/>
            </p:cNvSpPr>
            <p:nvPr/>
          </p:nvSpPr>
          <p:spPr bwMode="hidden">
            <a:xfrm>
              <a:off x="0" y="0"/>
              <a:ext cx="5760" cy="3072"/>
            </a:xfrm>
            <a:custGeom>
              <a:avLst/>
              <a:gdLst/>
              <a:ahLst/>
              <a:cxnLst>
                <a:cxn ang="0">
                  <a:pos x="6027" y="2296"/>
                </a:cxn>
                <a:cxn ang="0">
                  <a:pos x="0" y="2296"/>
                </a:cxn>
                <a:cxn ang="0">
                  <a:pos x="0" y="0"/>
                </a:cxn>
                <a:cxn ang="0">
                  <a:pos x="6027" y="0"/>
                </a:cxn>
                <a:cxn ang="0">
                  <a:pos x="6027" y="2296"/>
                </a:cxn>
                <a:cxn ang="0">
                  <a:pos x="6027" y="2296"/>
                </a:cxn>
              </a:cxnLst>
              <a:rect l="0" t="0" r="r" b="b"/>
              <a:pathLst>
                <a:path w="6027" h="2296">
                  <a:moveTo>
                    <a:pt x="6027" y="2296"/>
                  </a:moveTo>
                  <a:lnTo>
                    <a:pt x="0" y="2296"/>
                  </a:lnTo>
                  <a:lnTo>
                    <a:pt x="0" y="0"/>
                  </a:lnTo>
                  <a:lnTo>
                    <a:pt x="6027" y="0"/>
                  </a:lnTo>
                  <a:lnTo>
                    <a:pt x="6027" y="2296"/>
                  </a:lnTo>
                  <a:lnTo>
                    <a:pt x="6027" y="2296"/>
                  </a:lnTo>
                  <a:close/>
                </a:path>
              </a:pathLst>
            </a:custGeom>
            <a:gradFill rotWithShape="0">
              <a:gsLst>
                <a:gs pos="0">
                  <a:schemeClr val="bg1">
                    <a:gamma/>
                    <a:shade val="46275"/>
                    <a:invGamma/>
                  </a:schemeClr>
                </a:gs>
                <a:gs pos="100000">
                  <a:schemeClr val="bg1"/>
                </a:gs>
              </a:gsLst>
              <a:lin ang="54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sp>
        <p:nvSpPr>
          <p:cNvPr id="9221" name="Freeform 5"/>
          <p:cNvSpPr>
            <a:spLocks/>
          </p:cNvSpPr>
          <p:nvPr/>
        </p:nvSpPr>
        <p:spPr bwMode="hidden">
          <a:xfrm>
            <a:off x="6248400" y="6262688"/>
            <a:ext cx="2895600" cy="609600"/>
          </a:xfrm>
          <a:custGeom>
            <a:avLst/>
            <a:gdLst/>
            <a:ahLst/>
            <a:cxnLst>
              <a:cxn ang="0">
                <a:pos x="5748" y="246"/>
              </a:cxn>
              <a:cxn ang="0">
                <a:pos x="0" y="246"/>
              </a:cxn>
              <a:cxn ang="0">
                <a:pos x="0" y="0"/>
              </a:cxn>
              <a:cxn ang="0">
                <a:pos x="5748" y="0"/>
              </a:cxn>
              <a:cxn ang="0">
                <a:pos x="5748" y="246"/>
              </a:cxn>
              <a:cxn ang="0">
                <a:pos x="5748" y="246"/>
              </a:cxn>
            </a:cxnLst>
            <a:rect l="0" t="0" r="r" b="b"/>
            <a:pathLst>
              <a:path w="5748" h="246">
                <a:moveTo>
                  <a:pt x="5748" y="246"/>
                </a:moveTo>
                <a:lnTo>
                  <a:pt x="0" y="246"/>
                </a:lnTo>
                <a:lnTo>
                  <a:pt x="0" y="0"/>
                </a:lnTo>
                <a:lnTo>
                  <a:pt x="5748" y="0"/>
                </a:lnTo>
                <a:lnTo>
                  <a:pt x="5748" y="246"/>
                </a:lnTo>
                <a:lnTo>
                  <a:pt x="5748" y="246"/>
                </a:lnTo>
                <a:close/>
              </a:path>
            </a:pathLst>
          </a:custGeom>
          <a:gradFill rotWithShape="0">
            <a:gsLst>
              <a:gs pos="0">
                <a:schemeClr val="bg1"/>
              </a:gs>
              <a:gs pos="100000">
                <a:schemeClr val="hlink"/>
              </a:gs>
            </a:gsLst>
            <a:lin ang="189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nvGrpSpPr>
          <p:cNvPr id="3" name="Group 6"/>
          <p:cNvGrpSpPr>
            <a:grpSpLocks/>
          </p:cNvGrpSpPr>
          <p:nvPr/>
        </p:nvGrpSpPr>
        <p:grpSpPr bwMode="auto">
          <a:xfrm>
            <a:off x="0" y="6019800"/>
            <a:ext cx="7848600" cy="857250"/>
            <a:chOff x="0" y="3792"/>
            <a:chExt cx="4944" cy="540"/>
          </a:xfrm>
        </p:grpSpPr>
        <p:sp>
          <p:nvSpPr>
            <p:cNvPr id="9223" name="Freeform 7"/>
            <p:cNvSpPr>
              <a:spLocks/>
            </p:cNvSpPr>
            <p:nvPr userDrawn="1"/>
          </p:nvSpPr>
          <p:spPr bwMode="ltGray">
            <a:xfrm>
              <a:off x="1488" y="3792"/>
              <a:ext cx="3240" cy="536"/>
            </a:xfrm>
            <a:custGeom>
              <a:avLst/>
              <a:gdLst/>
              <a:ahLst/>
              <a:cxnLst>
                <a:cxn ang="0">
                  <a:pos x="3132" y="469"/>
                </a:cxn>
                <a:cxn ang="0">
                  <a:pos x="2995" y="395"/>
                </a:cxn>
                <a:cxn ang="0">
                  <a:pos x="2911" y="375"/>
                </a:cxn>
                <a:cxn ang="0">
                  <a:pos x="2678" y="228"/>
                </a:cxn>
                <a:cxn ang="0">
                  <a:pos x="2553" y="74"/>
                </a:cxn>
                <a:cxn ang="0">
                  <a:pos x="2457" y="7"/>
                </a:cxn>
                <a:cxn ang="0">
                  <a:pos x="2403" y="47"/>
                </a:cxn>
                <a:cxn ang="0">
                  <a:pos x="2289" y="74"/>
                </a:cxn>
                <a:cxn ang="0">
                  <a:pos x="2134" y="74"/>
                </a:cxn>
                <a:cxn ang="0">
                  <a:pos x="2044" y="128"/>
                </a:cxn>
                <a:cxn ang="0">
                  <a:pos x="1775" y="222"/>
                </a:cxn>
                <a:cxn ang="0">
                  <a:pos x="1602" y="181"/>
                </a:cxn>
                <a:cxn ang="0">
                  <a:pos x="1560" y="101"/>
                </a:cxn>
                <a:cxn ang="0">
                  <a:pos x="1542" y="87"/>
                </a:cxn>
                <a:cxn ang="0">
                  <a:pos x="1446" y="60"/>
                </a:cxn>
                <a:cxn ang="0">
                  <a:pos x="1375" y="74"/>
                </a:cxn>
                <a:cxn ang="0">
                  <a:pos x="1309" y="87"/>
                </a:cxn>
                <a:cxn ang="0">
                  <a:pos x="1243" y="13"/>
                </a:cxn>
                <a:cxn ang="0">
                  <a:pos x="1225" y="0"/>
                </a:cxn>
                <a:cxn ang="0">
                  <a:pos x="1189" y="0"/>
                </a:cxn>
                <a:cxn ang="0">
                  <a:pos x="1106" y="34"/>
                </a:cxn>
                <a:cxn ang="0">
                  <a:pos x="1106" y="34"/>
                </a:cxn>
                <a:cxn ang="0">
                  <a:pos x="1094" y="40"/>
                </a:cxn>
                <a:cxn ang="0">
                  <a:pos x="1070" y="54"/>
                </a:cxn>
                <a:cxn ang="0">
                  <a:pos x="1034" y="74"/>
                </a:cxn>
                <a:cxn ang="0">
                  <a:pos x="1004" y="74"/>
                </a:cxn>
                <a:cxn ang="0">
                  <a:pos x="986" y="74"/>
                </a:cxn>
                <a:cxn ang="0">
                  <a:pos x="956" y="81"/>
                </a:cxn>
                <a:cxn ang="0">
                  <a:pos x="920" y="94"/>
                </a:cxn>
                <a:cxn ang="0">
                  <a:pos x="884" y="107"/>
                </a:cxn>
                <a:cxn ang="0">
                  <a:pos x="843" y="128"/>
                </a:cxn>
                <a:cxn ang="0">
                  <a:pos x="813" y="141"/>
                </a:cxn>
                <a:cxn ang="0">
                  <a:pos x="789" y="148"/>
                </a:cxn>
                <a:cxn ang="0">
                  <a:pos x="783" y="154"/>
                </a:cxn>
                <a:cxn ang="0">
                  <a:pos x="556" y="228"/>
                </a:cxn>
                <a:cxn ang="0">
                  <a:pos x="394" y="294"/>
                </a:cxn>
                <a:cxn ang="0">
                  <a:pos x="107" y="462"/>
                </a:cxn>
                <a:cxn ang="0">
                  <a:pos x="0" y="536"/>
                </a:cxn>
                <a:cxn ang="0">
                  <a:pos x="3240" y="536"/>
                </a:cxn>
                <a:cxn ang="0">
                  <a:pos x="3132" y="469"/>
                </a:cxn>
                <a:cxn ang="0">
                  <a:pos x="3132" y="469"/>
                </a:cxn>
              </a:cxnLst>
              <a:rect l="0" t="0" r="r" b="b"/>
              <a:pathLst>
                <a:path w="3240" h="536">
                  <a:moveTo>
                    <a:pt x="3132" y="469"/>
                  </a:moveTo>
                  <a:lnTo>
                    <a:pt x="2995" y="395"/>
                  </a:lnTo>
                  <a:lnTo>
                    <a:pt x="2911" y="375"/>
                  </a:lnTo>
                  <a:lnTo>
                    <a:pt x="2678" y="228"/>
                  </a:lnTo>
                  <a:lnTo>
                    <a:pt x="2553" y="74"/>
                  </a:lnTo>
                  <a:lnTo>
                    <a:pt x="2457" y="7"/>
                  </a:lnTo>
                  <a:lnTo>
                    <a:pt x="2403" y="47"/>
                  </a:lnTo>
                  <a:lnTo>
                    <a:pt x="2289" y="74"/>
                  </a:lnTo>
                  <a:lnTo>
                    <a:pt x="2134" y="74"/>
                  </a:lnTo>
                  <a:lnTo>
                    <a:pt x="2044" y="128"/>
                  </a:lnTo>
                  <a:lnTo>
                    <a:pt x="1775" y="222"/>
                  </a:lnTo>
                  <a:lnTo>
                    <a:pt x="1602" y="181"/>
                  </a:lnTo>
                  <a:lnTo>
                    <a:pt x="1560" y="101"/>
                  </a:lnTo>
                  <a:lnTo>
                    <a:pt x="1542" y="87"/>
                  </a:lnTo>
                  <a:lnTo>
                    <a:pt x="1446" y="60"/>
                  </a:lnTo>
                  <a:lnTo>
                    <a:pt x="1375" y="74"/>
                  </a:lnTo>
                  <a:lnTo>
                    <a:pt x="1309" y="87"/>
                  </a:lnTo>
                  <a:lnTo>
                    <a:pt x="1243" y="13"/>
                  </a:lnTo>
                  <a:lnTo>
                    <a:pt x="1225" y="0"/>
                  </a:lnTo>
                  <a:lnTo>
                    <a:pt x="1189" y="0"/>
                  </a:lnTo>
                  <a:lnTo>
                    <a:pt x="1106" y="34"/>
                  </a:lnTo>
                  <a:lnTo>
                    <a:pt x="1106" y="34"/>
                  </a:lnTo>
                  <a:lnTo>
                    <a:pt x="1094" y="40"/>
                  </a:lnTo>
                  <a:lnTo>
                    <a:pt x="1070" y="54"/>
                  </a:lnTo>
                  <a:lnTo>
                    <a:pt x="1034" y="74"/>
                  </a:lnTo>
                  <a:lnTo>
                    <a:pt x="1004" y="74"/>
                  </a:lnTo>
                  <a:lnTo>
                    <a:pt x="986" y="74"/>
                  </a:lnTo>
                  <a:lnTo>
                    <a:pt x="956" y="81"/>
                  </a:lnTo>
                  <a:lnTo>
                    <a:pt x="920" y="94"/>
                  </a:lnTo>
                  <a:lnTo>
                    <a:pt x="884" y="107"/>
                  </a:lnTo>
                  <a:lnTo>
                    <a:pt x="843" y="128"/>
                  </a:lnTo>
                  <a:lnTo>
                    <a:pt x="813" y="141"/>
                  </a:lnTo>
                  <a:lnTo>
                    <a:pt x="789" y="148"/>
                  </a:lnTo>
                  <a:lnTo>
                    <a:pt x="783" y="154"/>
                  </a:lnTo>
                  <a:lnTo>
                    <a:pt x="556" y="228"/>
                  </a:lnTo>
                  <a:lnTo>
                    <a:pt x="394" y="294"/>
                  </a:lnTo>
                  <a:lnTo>
                    <a:pt x="107" y="462"/>
                  </a:lnTo>
                  <a:lnTo>
                    <a:pt x="0" y="536"/>
                  </a:lnTo>
                  <a:lnTo>
                    <a:pt x="3240" y="536"/>
                  </a:lnTo>
                  <a:lnTo>
                    <a:pt x="3132" y="469"/>
                  </a:lnTo>
                  <a:lnTo>
                    <a:pt x="3132" y="469"/>
                  </a:lnTo>
                  <a:close/>
                </a:path>
              </a:pathLst>
            </a:custGeom>
            <a:gradFill rotWithShape="0">
              <a:gsLst>
                <a:gs pos="0">
                  <a:schemeClr val="bg2">
                    <a:gamma/>
                    <a:tint val="66667"/>
                    <a:invGamma/>
                  </a:schemeClr>
                </a:gs>
                <a:gs pos="100000">
                  <a:schemeClr val="bg2"/>
                </a:gs>
              </a:gsLst>
              <a:lin ang="54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nvGrpSpPr>
            <p:cNvPr id="4" name="Group 8"/>
            <p:cNvGrpSpPr>
              <a:grpSpLocks/>
            </p:cNvGrpSpPr>
            <p:nvPr userDrawn="1"/>
          </p:nvGrpSpPr>
          <p:grpSpPr bwMode="auto">
            <a:xfrm>
              <a:off x="2486" y="3792"/>
              <a:ext cx="2458" cy="540"/>
              <a:chOff x="2486" y="3792"/>
              <a:chExt cx="2458" cy="540"/>
            </a:xfrm>
          </p:grpSpPr>
          <p:sp>
            <p:nvSpPr>
              <p:cNvPr id="9225" name="Freeform 9"/>
              <p:cNvSpPr>
                <a:spLocks/>
              </p:cNvSpPr>
              <p:nvPr userDrawn="1"/>
            </p:nvSpPr>
            <p:spPr bwMode="ltGray">
              <a:xfrm>
                <a:off x="3948" y="3799"/>
                <a:ext cx="996" cy="533"/>
              </a:xfrm>
              <a:custGeom>
                <a:avLst/>
                <a:gdLst/>
                <a:ahLst/>
                <a:cxnLst>
                  <a:cxn ang="0">
                    <a:pos x="636" y="373"/>
                  </a:cxn>
                  <a:cxn ang="0">
                    <a:pos x="495" y="370"/>
                  </a:cxn>
                  <a:cxn ang="0">
                    <a:pos x="280" y="249"/>
                  </a:cxn>
                  <a:cxn ang="0">
                    <a:pos x="127" y="66"/>
                  </a:cxn>
                  <a:cxn ang="0">
                    <a:pos x="0" y="0"/>
                  </a:cxn>
                  <a:cxn ang="0">
                    <a:pos x="22" y="26"/>
                  </a:cxn>
                  <a:cxn ang="0">
                    <a:pos x="0" y="65"/>
                  </a:cxn>
                  <a:cxn ang="0">
                    <a:pos x="30" y="119"/>
                  </a:cxn>
                  <a:cxn ang="0">
                    <a:pos x="75" y="243"/>
                  </a:cxn>
                  <a:cxn ang="0">
                    <a:pos x="45" y="422"/>
                  </a:cxn>
                  <a:cxn ang="0">
                    <a:pos x="200" y="329"/>
                  </a:cxn>
                  <a:cxn ang="0">
                    <a:pos x="612" y="533"/>
                  </a:cxn>
                  <a:cxn ang="0">
                    <a:pos x="996" y="529"/>
                  </a:cxn>
                  <a:cxn ang="0">
                    <a:pos x="828" y="473"/>
                  </a:cxn>
                  <a:cxn ang="0">
                    <a:pos x="636" y="373"/>
                  </a:cxn>
                </a:cxnLst>
                <a:rect l="0" t="0" r="r" b="b"/>
                <a:pathLst>
                  <a:path w="996" h="533">
                    <a:moveTo>
                      <a:pt x="636" y="373"/>
                    </a:moveTo>
                    <a:lnTo>
                      <a:pt x="495" y="370"/>
                    </a:lnTo>
                    <a:lnTo>
                      <a:pt x="280" y="249"/>
                    </a:lnTo>
                    <a:lnTo>
                      <a:pt x="127" y="66"/>
                    </a:lnTo>
                    <a:lnTo>
                      <a:pt x="0" y="0"/>
                    </a:lnTo>
                    <a:lnTo>
                      <a:pt x="22" y="26"/>
                    </a:lnTo>
                    <a:lnTo>
                      <a:pt x="0" y="65"/>
                    </a:lnTo>
                    <a:lnTo>
                      <a:pt x="30" y="119"/>
                    </a:lnTo>
                    <a:lnTo>
                      <a:pt x="75" y="243"/>
                    </a:lnTo>
                    <a:lnTo>
                      <a:pt x="45" y="422"/>
                    </a:lnTo>
                    <a:lnTo>
                      <a:pt x="200" y="329"/>
                    </a:lnTo>
                    <a:lnTo>
                      <a:pt x="612" y="533"/>
                    </a:lnTo>
                    <a:lnTo>
                      <a:pt x="996" y="529"/>
                    </a:lnTo>
                    <a:lnTo>
                      <a:pt x="828" y="473"/>
                    </a:lnTo>
                    <a:lnTo>
                      <a:pt x="636" y="373"/>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26" name="Freeform 10"/>
              <p:cNvSpPr>
                <a:spLocks/>
              </p:cNvSpPr>
              <p:nvPr userDrawn="1"/>
            </p:nvSpPr>
            <p:spPr bwMode="ltGray">
              <a:xfrm>
                <a:off x="2677" y="3792"/>
                <a:ext cx="186" cy="395"/>
              </a:xfrm>
              <a:custGeom>
                <a:avLst/>
                <a:gdLst/>
                <a:ahLst/>
                <a:cxnLst>
                  <a:cxn ang="0">
                    <a:pos x="36" y="0"/>
                  </a:cxn>
                  <a:cxn ang="0">
                    <a:pos x="54" y="18"/>
                  </a:cxn>
                  <a:cxn ang="0">
                    <a:pos x="24" y="30"/>
                  </a:cxn>
                  <a:cxn ang="0">
                    <a:pos x="18" y="66"/>
                  </a:cxn>
                  <a:cxn ang="0">
                    <a:pos x="42" y="114"/>
                  </a:cxn>
                  <a:cxn ang="0">
                    <a:pos x="48" y="162"/>
                  </a:cxn>
                  <a:cxn ang="0">
                    <a:pos x="0" y="353"/>
                  </a:cxn>
                  <a:cxn ang="0">
                    <a:pos x="54" y="233"/>
                  </a:cxn>
                  <a:cxn ang="0">
                    <a:pos x="84" y="216"/>
                  </a:cxn>
                  <a:cxn ang="0">
                    <a:pos x="126" y="126"/>
                  </a:cxn>
                  <a:cxn ang="0">
                    <a:pos x="144" y="120"/>
                  </a:cxn>
                  <a:cxn ang="0">
                    <a:pos x="144" y="90"/>
                  </a:cxn>
                  <a:cxn ang="0">
                    <a:pos x="186" y="66"/>
                  </a:cxn>
                  <a:cxn ang="0">
                    <a:pos x="162" y="60"/>
                  </a:cxn>
                  <a:cxn ang="0">
                    <a:pos x="36" y="0"/>
                  </a:cxn>
                  <a:cxn ang="0">
                    <a:pos x="36" y="0"/>
                  </a:cxn>
                </a:cxnLst>
                <a:rect l="0" t="0" r="r" b="b"/>
                <a:pathLst>
                  <a:path w="186" h="353">
                    <a:moveTo>
                      <a:pt x="36" y="0"/>
                    </a:moveTo>
                    <a:lnTo>
                      <a:pt x="54" y="18"/>
                    </a:lnTo>
                    <a:lnTo>
                      <a:pt x="24" y="30"/>
                    </a:lnTo>
                    <a:lnTo>
                      <a:pt x="18" y="66"/>
                    </a:lnTo>
                    <a:lnTo>
                      <a:pt x="42" y="114"/>
                    </a:lnTo>
                    <a:lnTo>
                      <a:pt x="48" y="162"/>
                    </a:lnTo>
                    <a:lnTo>
                      <a:pt x="0" y="353"/>
                    </a:lnTo>
                    <a:lnTo>
                      <a:pt x="54" y="233"/>
                    </a:lnTo>
                    <a:lnTo>
                      <a:pt x="84" y="216"/>
                    </a:lnTo>
                    <a:lnTo>
                      <a:pt x="126" y="126"/>
                    </a:lnTo>
                    <a:lnTo>
                      <a:pt x="144" y="120"/>
                    </a:lnTo>
                    <a:lnTo>
                      <a:pt x="144" y="90"/>
                    </a:lnTo>
                    <a:lnTo>
                      <a:pt x="186" y="66"/>
                    </a:lnTo>
                    <a:lnTo>
                      <a:pt x="162" y="60"/>
                    </a:lnTo>
                    <a:lnTo>
                      <a:pt x="36" y="0"/>
                    </a:lnTo>
                    <a:lnTo>
                      <a:pt x="36" y="0"/>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27" name="Freeform 11"/>
              <p:cNvSpPr>
                <a:spLocks/>
              </p:cNvSpPr>
              <p:nvPr userDrawn="1"/>
            </p:nvSpPr>
            <p:spPr bwMode="ltGray">
              <a:xfrm>
                <a:off x="3030" y="3893"/>
                <a:ext cx="378" cy="271"/>
              </a:xfrm>
              <a:custGeom>
                <a:avLst/>
                <a:gdLst/>
                <a:ahLst/>
                <a:cxnLst>
                  <a:cxn ang="0">
                    <a:pos x="18" y="0"/>
                  </a:cxn>
                  <a:cxn ang="0">
                    <a:pos x="12" y="13"/>
                  </a:cxn>
                  <a:cxn ang="0">
                    <a:pos x="0" y="40"/>
                  </a:cxn>
                  <a:cxn ang="0">
                    <a:pos x="60" y="121"/>
                  </a:cxn>
                  <a:cxn ang="0">
                    <a:pos x="310" y="271"/>
                  </a:cxn>
                  <a:cxn ang="0">
                    <a:pos x="290" y="139"/>
                  </a:cxn>
                  <a:cxn ang="0">
                    <a:pos x="378" y="76"/>
                  </a:cxn>
                  <a:cxn ang="0">
                    <a:pos x="251" y="94"/>
                  </a:cxn>
                  <a:cxn ang="0">
                    <a:pos x="90" y="54"/>
                  </a:cxn>
                  <a:cxn ang="0">
                    <a:pos x="18" y="0"/>
                  </a:cxn>
                  <a:cxn ang="0">
                    <a:pos x="18" y="0"/>
                  </a:cxn>
                </a:cxnLst>
                <a:rect l="0" t="0" r="r" b="b"/>
                <a:pathLst>
                  <a:path w="378" h="271">
                    <a:moveTo>
                      <a:pt x="18" y="0"/>
                    </a:moveTo>
                    <a:lnTo>
                      <a:pt x="12" y="13"/>
                    </a:lnTo>
                    <a:lnTo>
                      <a:pt x="0" y="40"/>
                    </a:lnTo>
                    <a:lnTo>
                      <a:pt x="60" y="121"/>
                    </a:lnTo>
                    <a:lnTo>
                      <a:pt x="310" y="271"/>
                    </a:lnTo>
                    <a:lnTo>
                      <a:pt x="290" y="139"/>
                    </a:lnTo>
                    <a:lnTo>
                      <a:pt x="378" y="76"/>
                    </a:lnTo>
                    <a:lnTo>
                      <a:pt x="251" y="94"/>
                    </a:lnTo>
                    <a:lnTo>
                      <a:pt x="90" y="54"/>
                    </a:lnTo>
                    <a:lnTo>
                      <a:pt x="18" y="0"/>
                    </a:lnTo>
                    <a:lnTo>
                      <a:pt x="18" y="0"/>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28" name="Freeform 12"/>
              <p:cNvSpPr>
                <a:spLocks/>
              </p:cNvSpPr>
              <p:nvPr userDrawn="1"/>
            </p:nvSpPr>
            <p:spPr bwMode="ltGray">
              <a:xfrm>
                <a:off x="3628" y="3866"/>
                <a:ext cx="155" cy="74"/>
              </a:xfrm>
              <a:custGeom>
                <a:avLst/>
                <a:gdLst/>
                <a:ahLst/>
                <a:cxnLst>
                  <a:cxn ang="0">
                    <a:pos x="114" y="0"/>
                  </a:cxn>
                  <a:cxn ang="0">
                    <a:pos x="0" y="0"/>
                  </a:cxn>
                  <a:cxn ang="0">
                    <a:pos x="0" y="0"/>
                  </a:cxn>
                  <a:cxn ang="0">
                    <a:pos x="6" y="6"/>
                  </a:cxn>
                  <a:cxn ang="0">
                    <a:pos x="6" y="18"/>
                  </a:cxn>
                  <a:cxn ang="0">
                    <a:pos x="0" y="24"/>
                  </a:cxn>
                  <a:cxn ang="0">
                    <a:pos x="78" y="60"/>
                  </a:cxn>
                  <a:cxn ang="0">
                    <a:pos x="96" y="42"/>
                  </a:cxn>
                  <a:cxn ang="0">
                    <a:pos x="155" y="66"/>
                  </a:cxn>
                  <a:cxn ang="0">
                    <a:pos x="126" y="24"/>
                  </a:cxn>
                  <a:cxn ang="0">
                    <a:pos x="149" y="0"/>
                  </a:cxn>
                  <a:cxn ang="0">
                    <a:pos x="114" y="0"/>
                  </a:cxn>
                  <a:cxn ang="0">
                    <a:pos x="114" y="0"/>
                  </a:cxn>
                </a:cxnLst>
                <a:rect l="0" t="0" r="r" b="b"/>
                <a:pathLst>
                  <a:path w="155" h="66">
                    <a:moveTo>
                      <a:pt x="114" y="0"/>
                    </a:moveTo>
                    <a:lnTo>
                      <a:pt x="0" y="0"/>
                    </a:lnTo>
                    <a:lnTo>
                      <a:pt x="0" y="0"/>
                    </a:lnTo>
                    <a:lnTo>
                      <a:pt x="6" y="6"/>
                    </a:lnTo>
                    <a:lnTo>
                      <a:pt x="6" y="18"/>
                    </a:lnTo>
                    <a:lnTo>
                      <a:pt x="0" y="24"/>
                    </a:lnTo>
                    <a:lnTo>
                      <a:pt x="78" y="60"/>
                    </a:lnTo>
                    <a:lnTo>
                      <a:pt x="96" y="42"/>
                    </a:lnTo>
                    <a:lnTo>
                      <a:pt x="155" y="66"/>
                    </a:lnTo>
                    <a:lnTo>
                      <a:pt x="126" y="24"/>
                    </a:lnTo>
                    <a:lnTo>
                      <a:pt x="149" y="0"/>
                    </a:lnTo>
                    <a:lnTo>
                      <a:pt x="114" y="0"/>
                    </a:lnTo>
                    <a:lnTo>
                      <a:pt x="114" y="0"/>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29" name="Freeform 13"/>
              <p:cNvSpPr>
                <a:spLocks/>
              </p:cNvSpPr>
              <p:nvPr userDrawn="1"/>
            </p:nvSpPr>
            <p:spPr bwMode="ltGray">
              <a:xfrm>
                <a:off x="2486" y="3859"/>
                <a:ext cx="42" cy="81"/>
              </a:xfrm>
              <a:custGeom>
                <a:avLst/>
                <a:gdLst/>
                <a:ahLst/>
                <a:cxnLst>
                  <a:cxn ang="0">
                    <a:pos x="6" y="36"/>
                  </a:cxn>
                  <a:cxn ang="0">
                    <a:pos x="0" y="18"/>
                  </a:cxn>
                  <a:cxn ang="0">
                    <a:pos x="12" y="6"/>
                  </a:cxn>
                  <a:cxn ang="0">
                    <a:pos x="0" y="6"/>
                  </a:cxn>
                  <a:cxn ang="0">
                    <a:pos x="12" y="6"/>
                  </a:cxn>
                  <a:cxn ang="0">
                    <a:pos x="24" y="6"/>
                  </a:cxn>
                  <a:cxn ang="0">
                    <a:pos x="36" y="6"/>
                  </a:cxn>
                  <a:cxn ang="0">
                    <a:pos x="42" y="0"/>
                  </a:cxn>
                  <a:cxn ang="0">
                    <a:pos x="30" y="18"/>
                  </a:cxn>
                  <a:cxn ang="0">
                    <a:pos x="42" y="48"/>
                  </a:cxn>
                  <a:cxn ang="0">
                    <a:pos x="12" y="72"/>
                  </a:cxn>
                  <a:cxn ang="0">
                    <a:pos x="6" y="36"/>
                  </a:cxn>
                  <a:cxn ang="0">
                    <a:pos x="6" y="36"/>
                  </a:cxn>
                </a:cxnLst>
                <a:rect l="0" t="0" r="r" b="b"/>
                <a:pathLst>
                  <a:path w="42" h="72">
                    <a:moveTo>
                      <a:pt x="6" y="36"/>
                    </a:moveTo>
                    <a:lnTo>
                      <a:pt x="0" y="18"/>
                    </a:lnTo>
                    <a:lnTo>
                      <a:pt x="12" y="6"/>
                    </a:lnTo>
                    <a:lnTo>
                      <a:pt x="0" y="6"/>
                    </a:lnTo>
                    <a:lnTo>
                      <a:pt x="12" y="6"/>
                    </a:lnTo>
                    <a:lnTo>
                      <a:pt x="24" y="6"/>
                    </a:lnTo>
                    <a:lnTo>
                      <a:pt x="36" y="6"/>
                    </a:lnTo>
                    <a:lnTo>
                      <a:pt x="42" y="0"/>
                    </a:lnTo>
                    <a:lnTo>
                      <a:pt x="30" y="18"/>
                    </a:lnTo>
                    <a:lnTo>
                      <a:pt x="42" y="48"/>
                    </a:lnTo>
                    <a:lnTo>
                      <a:pt x="12" y="72"/>
                    </a:lnTo>
                    <a:lnTo>
                      <a:pt x="6" y="36"/>
                    </a:lnTo>
                    <a:lnTo>
                      <a:pt x="6" y="36"/>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sp>
          <p:nvSpPr>
            <p:cNvPr id="9230" name="Freeform 14"/>
            <p:cNvSpPr>
              <a:spLocks/>
            </p:cNvSpPr>
            <p:nvPr userDrawn="1"/>
          </p:nvSpPr>
          <p:spPr bwMode="ltGray">
            <a:xfrm>
              <a:off x="0" y="3792"/>
              <a:ext cx="3976" cy="535"/>
            </a:xfrm>
            <a:custGeom>
              <a:avLst/>
              <a:gdLst/>
              <a:ahLst/>
              <a:cxnLst>
                <a:cxn ang="0">
                  <a:pos x="3976" y="527"/>
                </a:cxn>
                <a:cxn ang="0">
                  <a:pos x="3970" y="527"/>
                </a:cxn>
                <a:cxn ang="0">
                  <a:pos x="3844" y="509"/>
                </a:cxn>
                <a:cxn ang="0">
                  <a:pos x="2487" y="305"/>
                </a:cxn>
                <a:cxn ang="0">
                  <a:pos x="2039" y="36"/>
                </a:cxn>
                <a:cxn ang="0">
                  <a:pos x="1907" y="24"/>
                </a:cxn>
                <a:cxn ang="0">
                  <a:pos x="1883" y="54"/>
                </a:cxn>
                <a:cxn ang="0">
                  <a:pos x="1859" y="54"/>
                </a:cxn>
                <a:cxn ang="0">
                  <a:pos x="1830" y="30"/>
                </a:cxn>
                <a:cxn ang="0">
                  <a:pos x="1704" y="102"/>
                </a:cxn>
                <a:cxn ang="0">
                  <a:pos x="1608" y="126"/>
                </a:cxn>
                <a:cxn ang="0">
                  <a:pos x="1561" y="132"/>
                </a:cxn>
                <a:cxn ang="0">
                  <a:pos x="1495" y="102"/>
                </a:cxn>
                <a:cxn ang="0">
                  <a:pos x="1357" y="126"/>
                </a:cxn>
                <a:cxn ang="0">
                  <a:pos x="1285" y="24"/>
                </a:cxn>
                <a:cxn ang="0">
                  <a:pos x="1280" y="18"/>
                </a:cxn>
                <a:cxn ang="0">
                  <a:pos x="1262" y="12"/>
                </a:cxn>
                <a:cxn ang="0">
                  <a:pos x="1238" y="6"/>
                </a:cxn>
                <a:cxn ang="0">
                  <a:pos x="1220" y="0"/>
                </a:cxn>
                <a:cxn ang="0">
                  <a:pos x="1196" y="0"/>
                </a:cxn>
                <a:cxn ang="0">
                  <a:pos x="1166" y="0"/>
                </a:cxn>
                <a:cxn ang="0">
                  <a:pos x="1142" y="0"/>
                </a:cxn>
                <a:cxn ang="0">
                  <a:pos x="1136" y="0"/>
                </a:cxn>
                <a:cxn ang="0">
                  <a:pos x="1130" y="0"/>
                </a:cxn>
                <a:cxn ang="0">
                  <a:pos x="1124" y="6"/>
                </a:cxn>
                <a:cxn ang="0">
                  <a:pos x="1118" y="12"/>
                </a:cxn>
                <a:cxn ang="0">
                  <a:pos x="1100" y="18"/>
                </a:cxn>
                <a:cxn ang="0">
                  <a:pos x="1088" y="18"/>
                </a:cxn>
                <a:cxn ang="0">
                  <a:pos x="1070" y="24"/>
                </a:cxn>
                <a:cxn ang="0">
                  <a:pos x="1052" y="30"/>
                </a:cxn>
                <a:cxn ang="0">
                  <a:pos x="1034" y="36"/>
                </a:cxn>
                <a:cxn ang="0">
                  <a:pos x="1028" y="42"/>
                </a:cxn>
                <a:cxn ang="0">
                  <a:pos x="969" y="60"/>
                </a:cxn>
                <a:cxn ang="0">
                  <a:pos x="921" y="72"/>
                </a:cxn>
                <a:cxn ang="0">
                  <a:pos x="855" y="48"/>
                </a:cxn>
                <a:cxn ang="0">
                  <a:pos x="825" y="48"/>
                </a:cxn>
                <a:cxn ang="0">
                  <a:pos x="759" y="72"/>
                </a:cxn>
                <a:cxn ang="0">
                  <a:pos x="735" y="72"/>
                </a:cxn>
                <a:cxn ang="0">
                  <a:pos x="706" y="60"/>
                </a:cxn>
                <a:cxn ang="0">
                  <a:pos x="640" y="60"/>
                </a:cxn>
                <a:cxn ang="0">
                  <a:pos x="544" y="72"/>
                </a:cxn>
                <a:cxn ang="0">
                  <a:pos x="389" y="18"/>
                </a:cxn>
                <a:cxn ang="0">
                  <a:pos x="323" y="60"/>
                </a:cxn>
                <a:cxn ang="0">
                  <a:pos x="317" y="60"/>
                </a:cxn>
                <a:cxn ang="0">
                  <a:pos x="305" y="72"/>
                </a:cxn>
                <a:cxn ang="0">
                  <a:pos x="287" y="78"/>
                </a:cxn>
                <a:cxn ang="0">
                  <a:pos x="263" y="90"/>
                </a:cxn>
                <a:cxn ang="0">
                  <a:pos x="203" y="120"/>
                </a:cxn>
                <a:cxn ang="0">
                  <a:pos x="149" y="150"/>
                </a:cxn>
                <a:cxn ang="0">
                  <a:pos x="78" y="168"/>
                </a:cxn>
                <a:cxn ang="0">
                  <a:pos x="0" y="180"/>
                </a:cxn>
                <a:cxn ang="0">
                  <a:pos x="0" y="527"/>
                </a:cxn>
                <a:cxn ang="0">
                  <a:pos x="1010" y="527"/>
                </a:cxn>
                <a:cxn ang="0">
                  <a:pos x="3725" y="527"/>
                </a:cxn>
                <a:cxn ang="0">
                  <a:pos x="3976" y="527"/>
                </a:cxn>
                <a:cxn ang="0">
                  <a:pos x="3976" y="527"/>
                </a:cxn>
              </a:cxnLst>
              <a:rect l="0" t="0" r="r" b="b"/>
              <a:pathLst>
                <a:path w="3976" h="527">
                  <a:moveTo>
                    <a:pt x="3976" y="527"/>
                  </a:moveTo>
                  <a:lnTo>
                    <a:pt x="3970" y="527"/>
                  </a:lnTo>
                  <a:lnTo>
                    <a:pt x="3844" y="509"/>
                  </a:lnTo>
                  <a:lnTo>
                    <a:pt x="2487" y="305"/>
                  </a:lnTo>
                  <a:lnTo>
                    <a:pt x="2039" y="36"/>
                  </a:lnTo>
                  <a:lnTo>
                    <a:pt x="1907" y="24"/>
                  </a:lnTo>
                  <a:lnTo>
                    <a:pt x="1883" y="54"/>
                  </a:lnTo>
                  <a:lnTo>
                    <a:pt x="1859" y="54"/>
                  </a:lnTo>
                  <a:lnTo>
                    <a:pt x="1830" y="30"/>
                  </a:lnTo>
                  <a:lnTo>
                    <a:pt x="1704" y="102"/>
                  </a:lnTo>
                  <a:lnTo>
                    <a:pt x="1608" y="126"/>
                  </a:lnTo>
                  <a:lnTo>
                    <a:pt x="1561" y="132"/>
                  </a:lnTo>
                  <a:lnTo>
                    <a:pt x="1495" y="102"/>
                  </a:lnTo>
                  <a:lnTo>
                    <a:pt x="1357" y="126"/>
                  </a:lnTo>
                  <a:lnTo>
                    <a:pt x="1285" y="24"/>
                  </a:lnTo>
                  <a:lnTo>
                    <a:pt x="1280" y="18"/>
                  </a:lnTo>
                  <a:lnTo>
                    <a:pt x="1262" y="12"/>
                  </a:lnTo>
                  <a:lnTo>
                    <a:pt x="1238" y="6"/>
                  </a:lnTo>
                  <a:lnTo>
                    <a:pt x="1220" y="0"/>
                  </a:lnTo>
                  <a:lnTo>
                    <a:pt x="1196" y="0"/>
                  </a:lnTo>
                  <a:lnTo>
                    <a:pt x="1166" y="0"/>
                  </a:lnTo>
                  <a:lnTo>
                    <a:pt x="1142" y="0"/>
                  </a:lnTo>
                  <a:lnTo>
                    <a:pt x="1136" y="0"/>
                  </a:lnTo>
                  <a:lnTo>
                    <a:pt x="1130" y="0"/>
                  </a:lnTo>
                  <a:lnTo>
                    <a:pt x="1124" y="6"/>
                  </a:lnTo>
                  <a:lnTo>
                    <a:pt x="1118" y="12"/>
                  </a:lnTo>
                  <a:lnTo>
                    <a:pt x="1100" y="18"/>
                  </a:lnTo>
                  <a:lnTo>
                    <a:pt x="1088" y="18"/>
                  </a:lnTo>
                  <a:lnTo>
                    <a:pt x="1070" y="24"/>
                  </a:lnTo>
                  <a:lnTo>
                    <a:pt x="1052" y="30"/>
                  </a:lnTo>
                  <a:lnTo>
                    <a:pt x="1034" y="36"/>
                  </a:lnTo>
                  <a:lnTo>
                    <a:pt x="1028" y="42"/>
                  </a:lnTo>
                  <a:lnTo>
                    <a:pt x="969" y="60"/>
                  </a:lnTo>
                  <a:lnTo>
                    <a:pt x="921" y="72"/>
                  </a:lnTo>
                  <a:lnTo>
                    <a:pt x="855" y="48"/>
                  </a:lnTo>
                  <a:lnTo>
                    <a:pt x="825" y="48"/>
                  </a:lnTo>
                  <a:lnTo>
                    <a:pt x="759" y="72"/>
                  </a:lnTo>
                  <a:lnTo>
                    <a:pt x="735" y="72"/>
                  </a:lnTo>
                  <a:lnTo>
                    <a:pt x="706" y="60"/>
                  </a:lnTo>
                  <a:lnTo>
                    <a:pt x="640" y="60"/>
                  </a:lnTo>
                  <a:lnTo>
                    <a:pt x="544" y="72"/>
                  </a:lnTo>
                  <a:lnTo>
                    <a:pt x="389" y="18"/>
                  </a:lnTo>
                  <a:lnTo>
                    <a:pt x="323" y="60"/>
                  </a:lnTo>
                  <a:lnTo>
                    <a:pt x="317" y="60"/>
                  </a:lnTo>
                  <a:lnTo>
                    <a:pt x="305" y="72"/>
                  </a:lnTo>
                  <a:lnTo>
                    <a:pt x="287" y="78"/>
                  </a:lnTo>
                  <a:lnTo>
                    <a:pt x="263" y="90"/>
                  </a:lnTo>
                  <a:lnTo>
                    <a:pt x="203" y="120"/>
                  </a:lnTo>
                  <a:lnTo>
                    <a:pt x="149" y="150"/>
                  </a:lnTo>
                  <a:lnTo>
                    <a:pt x="78" y="168"/>
                  </a:lnTo>
                  <a:lnTo>
                    <a:pt x="0" y="180"/>
                  </a:lnTo>
                  <a:lnTo>
                    <a:pt x="0" y="527"/>
                  </a:lnTo>
                  <a:lnTo>
                    <a:pt x="1010" y="527"/>
                  </a:lnTo>
                  <a:lnTo>
                    <a:pt x="3725" y="527"/>
                  </a:lnTo>
                  <a:lnTo>
                    <a:pt x="3976" y="527"/>
                  </a:lnTo>
                  <a:lnTo>
                    <a:pt x="3976" y="527"/>
                  </a:lnTo>
                  <a:close/>
                </a:path>
              </a:pathLst>
            </a:custGeom>
            <a:gradFill rotWithShape="0">
              <a:gsLst>
                <a:gs pos="0">
                  <a:schemeClr val="bg2">
                    <a:gamma/>
                    <a:tint val="75686"/>
                    <a:invGamma/>
                  </a:schemeClr>
                </a:gs>
                <a:gs pos="100000">
                  <a:schemeClr val="bg2"/>
                </a:gs>
              </a:gsLst>
              <a:lin ang="5400000" scaled="1"/>
            </a:gra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grpSp>
        <p:nvGrpSpPr>
          <p:cNvPr id="5" name="Group 15"/>
          <p:cNvGrpSpPr>
            <a:grpSpLocks/>
          </p:cNvGrpSpPr>
          <p:nvPr/>
        </p:nvGrpSpPr>
        <p:grpSpPr bwMode="auto">
          <a:xfrm>
            <a:off x="627063" y="6021388"/>
            <a:ext cx="5684837" cy="849312"/>
            <a:chOff x="395" y="3793"/>
            <a:chExt cx="3581" cy="535"/>
          </a:xfrm>
        </p:grpSpPr>
        <p:sp>
          <p:nvSpPr>
            <p:cNvPr id="9232" name="Freeform 16"/>
            <p:cNvSpPr>
              <a:spLocks/>
            </p:cNvSpPr>
            <p:nvPr/>
          </p:nvSpPr>
          <p:spPr bwMode="auto">
            <a:xfrm>
              <a:off x="1196" y="3793"/>
              <a:ext cx="365" cy="291"/>
            </a:xfrm>
            <a:custGeom>
              <a:avLst/>
              <a:gdLst/>
              <a:ahLst/>
              <a:cxnLst>
                <a:cxn ang="0">
                  <a:pos x="24" y="24"/>
                </a:cxn>
                <a:cxn ang="0">
                  <a:pos x="0" y="60"/>
                </a:cxn>
                <a:cxn ang="0">
                  <a:pos x="66" y="108"/>
                </a:cxn>
                <a:cxn ang="0">
                  <a:pos x="143" y="180"/>
                </a:cxn>
                <a:cxn ang="0">
                  <a:pos x="191" y="168"/>
                </a:cxn>
                <a:cxn ang="0">
                  <a:pos x="341" y="287"/>
                </a:cxn>
                <a:cxn ang="0">
                  <a:pos x="305" y="174"/>
                </a:cxn>
                <a:cxn ang="0">
                  <a:pos x="365" y="132"/>
                </a:cxn>
                <a:cxn ang="0">
                  <a:pos x="359" y="126"/>
                </a:cxn>
                <a:cxn ang="0">
                  <a:pos x="335" y="114"/>
                </a:cxn>
                <a:cxn ang="0">
                  <a:pos x="299" y="90"/>
                </a:cxn>
                <a:cxn ang="0">
                  <a:pos x="257" y="72"/>
                </a:cxn>
                <a:cxn ang="0">
                  <a:pos x="215" y="54"/>
                </a:cxn>
                <a:cxn ang="0">
                  <a:pos x="173" y="36"/>
                </a:cxn>
                <a:cxn ang="0">
                  <a:pos x="143" y="24"/>
                </a:cxn>
                <a:cxn ang="0">
                  <a:pos x="131" y="18"/>
                </a:cxn>
                <a:cxn ang="0">
                  <a:pos x="107" y="18"/>
                </a:cxn>
                <a:cxn ang="0">
                  <a:pos x="95" y="18"/>
                </a:cxn>
                <a:cxn ang="0">
                  <a:pos x="72" y="12"/>
                </a:cxn>
                <a:cxn ang="0">
                  <a:pos x="66" y="12"/>
                </a:cxn>
                <a:cxn ang="0">
                  <a:pos x="54" y="6"/>
                </a:cxn>
                <a:cxn ang="0">
                  <a:pos x="42" y="0"/>
                </a:cxn>
                <a:cxn ang="0">
                  <a:pos x="30" y="0"/>
                </a:cxn>
                <a:cxn ang="0">
                  <a:pos x="24" y="24"/>
                </a:cxn>
                <a:cxn ang="0">
                  <a:pos x="24" y="24"/>
                </a:cxn>
              </a:cxnLst>
              <a:rect l="0" t="0" r="r" b="b"/>
              <a:pathLst>
                <a:path w="365" h="287">
                  <a:moveTo>
                    <a:pt x="24" y="24"/>
                  </a:moveTo>
                  <a:lnTo>
                    <a:pt x="0" y="60"/>
                  </a:lnTo>
                  <a:lnTo>
                    <a:pt x="66" y="108"/>
                  </a:lnTo>
                  <a:lnTo>
                    <a:pt x="143" y="180"/>
                  </a:lnTo>
                  <a:lnTo>
                    <a:pt x="191" y="168"/>
                  </a:lnTo>
                  <a:lnTo>
                    <a:pt x="341" y="287"/>
                  </a:lnTo>
                  <a:lnTo>
                    <a:pt x="305" y="174"/>
                  </a:lnTo>
                  <a:lnTo>
                    <a:pt x="365" y="132"/>
                  </a:lnTo>
                  <a:lnTo>
                    <a:pt x="359" y="126"/>
                  </a:lnTo>
                  <a:lnTo>
                    <a:pt x="335" y="114"/>
                  </a:lnTo>
                  <a:lnTo>
                    <a:pt x="299" y="90"/>
                  </a:lnTo>
                  <a:lnTo>
                    <a:pt x="257" y="72"/>
                  </a:lnTo>
                  <a:lnTo>
                    <a:pt x="215" y="54"/>
                  </a:lnTo>
                  <a:lnTo>
                    <a:pt x="173" y="36"/>
                  </a:lnTo>
                  <a:lnTo>
                    <a:pt x="143" y="24"/>
                  </a:lnTo>
                  <a:lnTo>
                    <a:pt x="131" y="18"/>
                  </a:lnTo>
                  <a:lnTo>
                    <a:pt x="107" y="18"/>
                  </a:lnTo>
                  <a:lnTo>
                    <a:pt x="95" y="18"/>
                  </a:lnTo>
                  <a:lnTo>
                    <a:pt x="72" y="12"/>
                  </a:lnTo>
                  <a:lnTo>
                    <a:pt x="66" y="12"/>
                  </a:lnTo>
                  <a:lnTo>
                    <a:pt x="54" y="6"/>
                  </a:lnTo>
                  <a:lnTo>
                    <a:pt x="42" y="0"/>
                  </a:lnTo>
                  <a:lnTo>
                    <a:pt x="30" y="0"/>
                  </a:lnTo>
                  <a:lnTo>
                    <a:pt x="24" y="24"/>
                  </a:lnTo>
                  <a:lnTo>
                    <a:pt x="24" y="24"/>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33" name="Freeform 17"/>
            <p:cNvSpPr>
              <a:spLocks/>
            </p:cNvSpPr>
            <p:nvPr/>
          </p:nvSpPr>
          <p:spPr bwMode="auto">
            <a:xfrm>
              <a:off x="1943" y="3829"/>
              <a:ext cx="2033" cy="499"/>
            </a:xfrm>
            <a:custGeom>
              <a:avLst/>
              <a:gdLst/>
              <a:ahLst/>
              <a:cxnLst>
                <a:cxn ang="0">
                  <a:pos x="186" y="18"/>
                </a:cxn>
                <a:cxn ang="0">
                  <a:pos x="138" y="6"/>
                </a:cxn>
                <a:cxn ang="0">
                  <a:pos x="96" y="0"/>
                </a:cxn>
                <a:cxn ang="0">
                  <a:pos x="36" y="0"/>
                </a:cxn>
                <a:cxn ang="0">
                  <a:pos x="12" y="25"/>
                </a:cxn>
                <a:cxn ang="0">
                  <a:pos x="0" y="128"/>
                </a:cxn>
                <a:cxn ang="0">
                  <a:pos x="60" y="104"/>
                </a:cxn>
                <a:cxn ang="0">
                  <a:pos x="90" y="134"/>
                </a:cxn>
                <a:cxn ang="0">
                  <a:pos x="150" y="153"/>
                </a:cxn>
                <a:cxn ang="0">
                  <a:pos x="209" y="273"/>
                </a:cxn>
                <a:cxn ang="0">
                  <a:pos x="401" y="359"/>
                </a:cxn>
                <a:cxn ang="0">
                  <a:pos x="777" y="359"/>
                </a:cxn>
                <a:cxn ang="0">
                  <a:pos x="2033" y="499"/>
                </a:cxn>
                <a:cxn ang="0">
                  <a:pos x="2033" y="499"/>
                </a:cxn>
                <a:cxn ang="0">
                  <a:pos x="1991" y="493"/>
                </a:cxn>
                <a:cxn ang="0">
                  <a:pos x="676" y="243"/>
                </a:cxn>
                <a:cxn ang="0">
                  <a:pos x="514" y="159"/>
                </a:cxn>
                <a:cxn ang="0">
                  <a:pos x="425" y="110"/>
                </a:cxn>
                <a:cxn ang="0">
                  <a:pos x="365" y="92"/>
                </a:cxn>
                <a:cxn ang="0">
                  <a:pos x="281" y="61"/>
                </a:cxn>
                <a:cxn ang="0">
                  <a:pos x="186" y="18"/>
                </a:cxn>
                <a:cxn ang="0">
                  <a:pos x="186" y="18"/>
                </a:cxn>
              </a:cxnLst>
              <a:rect l="0" t="0" r="r" b="b"/>
              <a:pathLst>
                <a:path w="2033" h="499">
                  <a:moveTo>
                    <a:pt x="186" y="18"/>
                  </a:moveTo>
                  <a:lnTo>
                    <a:pt x="138" y="6"/>
                  </a:lnTo>
                  <a:lnTo>
                    <a:pt x="96" y="0"/>
                  </a:lnTo>
                  <a:lnTo>
                    <a:pt x="36" y="0"/>
                  </a:lnTo>
                  <a:lnTo>
                    <a:pt x="12" y="25"/>
                  </a:lnTo>
                  <a:lnTo>
                    <a:pt x="0" y="128"/>
                  </a:lnTo>
                  <a:lnTo>
                    <a:pt x="60" y="104"/>
                  </a:lnTo>
                  <a:lnTo>
                    <a:pt x="90" y="134"/>
                  </a:lnTo>
                  <a:lnTo>
                    <a:pt x="150" y="153"/>
                  </a:lnTo>
                  <a:lnTo>
                    <a:pt x="209" y="273"/>
                  </a:lnTo>
                  <a:lnTo>
                    <a:pt x="401" y="359"/>
                  </a:lnTo>
                  <a:lnTo>
                    <a:pt x="777" y="359"/>
                  </a:lnTo>
                  <a:lnTo>
                    <a:pt x="2033" y="499"/>
                  </a:lnTo>
                  <a:lnTo>
                    <a:pt x="2033" y="499"/>
                  </a:lnTo>
                  <a:lnTo>
                    <a:pt x="1991" y="493"/>
                  </a:lnTo>
                  <a:lnTo>
                    <a:pt x="676" y="243"/>
                  </a:lnTo>
                  <a:lnTo>
                    <a:pt x="514" y="159"/>
                  </a:lnTo>
                  <a:lnTo>
                    <a:pt x="425" y="110"/>
                  </a:lnTo>
                  <a:lnTo>
                    <a:pt x="365" y="92"/>
                  </a:lnTo>
                  <a:lnTo>
                    <a:pt x="281" y="61"/>
                  </a:lnTo>
                  <a:lnTo>
                    <a:pt x="186" y="18"/>
                  </a:lnTo>
                  <a:lnTo>
                    <a:pt x="186" y="18"/>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34" name="Freeform 18"/>
            <p:cNvSpPr>
              <a:spLocks/>
            </p:cNvSpPr>
            <p:nvPr/>
          </p:nvSpPr>
          <p:spPr bwMode="auto">
            <a:xfrm>
              <a:off x="1830" y="3823"/>
              <a:ext cx="71" cy="61"/>
            </a:xfrm>
            <a:custGeom>
              <a:avLst/>
              <a:gdLst/>
              <a:ahLst/>
              <a:cxnLst>
                <a:cxn ang="0">
                  <a:pos x="0" y="18"/>
                </a:cxn>
                <a:cxn ang="0">
                  <a:pos x="6" y="18"/>
                </a:cxn>
                <a:cxn ang="0">
                  <a:pos x="12" y="12"/>
                </a:cxn>
                <a:cxn ang="0">
                  <a:pos x="6" y="6"/>
                </a:cxn>
                <a:cxn ang="0">
                  <a:pos x="0" y="0"/>
                </a:cxn>
                <a:cxn ang="0">
                  <a:pos x="29" y="18"/>
                </a:cxn>
                <a:cxn ang="0">
                  <a:pos x="53" y="18"/>
                </a:cxn>
                <a:cxn ang="0">
                  <a:pos x="59" y="30"/>
                </a:cxn>
                <a:cxn ang="0">
                  <a:pos x="65" y="42"/>
                </a:cxn>
                <a:cxn ang="0">
                  <a:pos x="71" y="54"/>
                </a:cxn>
                <a:cxn ang="0">
                  <a:pos x="71" y="60"/>
                </a:cxn>
                <a:cxn ang="0">
                  <a:pos x="59" y="54"/>
                </a:cxn>
                <a:cxn ang="0">
                  <a:pos x="47" y="42"/>
                </a:cxn>
                <a:cxn ang="0">
                  <a:pos x="23" y="30"/>
                </a:cxn>
                <a:cxn ang="0">
                  <a:pos x="23" y="36"/>
                </a:cxn>
                <a:cxn ang="0">
                  <a:pos x="18" y="42"/>
                </a:cxn>
                <a:cxn ang="0">
                  <a:pos x="12" y="48"/>
                </a:cxn>
                <a:cxn ang="0">
                  <a:pos x="6" y="48"/>
                </a:cxn>
                <a:cxn ang="0">
                  <a:pos x="6" y="48"/>
                </a:cxn>
                <a:cxn ang="0">
                  <a:pos x="6" y="36"/>
                </a:cxn>
                <a:cxn ang="0">
                  <a:pos x="0" y="18"/>
                </a:cxn>
                <a:cxn ang="0">
                  <a:pos x="0" y="18"/>
                </a:cxn>
              </a:cxnLst>
              <a:rect l="0" t="0" r="r" b="b"/>
              <a:pathLst>
                <a:path w="71" h="60">
                  <a:moveTo>
                    <a:pt x="0" y="18"/>
                  </a:moveTo>
                  <a:lnTo>
                    <a:pt x="6" y="18"/>
                  </a:lnTo>
                  <a:lnTo>
                    <a:pt x="12" y="12"/>
                  </a:lnTo>
                  <a:lnTo>
                    <a:pt x="6" y="6"/>
                  </a:lnTo>
                  <a:lnTo>
                    <a:pt x="0" y="0"/>
                  </a:lnTo>
                  <a:lnTo>
                    <a:pt x="29" y="18"/>
                  </a:lnTo>
                  <a:lnTo>
                    <a:pt x="53" y="18"/>
                  </a:lnTo>
                  <a:lnTo>
                    <a:pt x="59" y="30"/>
                  </a:lnTo>
                  <a:lnTo>
                    <a:pt x="65" y="42"/>
                  </a:lnTo>
                  <a:lnTo>
                    <a:pt x="71" y="54"/>
                  </a:lnTo>
                  <a:lnTo>
                    <a:pt x="71" y="60"/>
                  </a:lnTo>
                  <a:lnTo>
                    <a:pt x="59" y="54"/>
                  </a:lnTo>
                  <a:lnTo>
                    <a:pt x="47" y="42"/>
                  </a:lnTo>
                  <a:lnTo>
                    <a:pt x="23" y="30"/>
                  </a:lnTo>
                  <a:lnTo>
                    <a:pt x="23" y="36"/>
                  </a:lnTo>
                  <a:lnTo>
                    <a:pt x="18" y="42"/>
                  </a:lnTo>
                  <a:lnTo>
                    <a:pt x="12" y="48"/>
                  </a:lnTo>
                  <a:lnTo>
                    <a:pt x="6" y="48"/>
                  </a:lnTo>
                  <a:lnTo>
                    <a:pt x="6" y="48"/>
                  </a:lnTo>
                  <a:lnTo>
                    <a:pt x="6" y="36"/>
                  </a:lnTo>
                  <a:lnTo>
                    <a:pt x="0" y="18"/>
                  </a:lnTo>
                  <a:lnTo>
                    <a:pt x="0" y="18"/>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35" name="Freeform 19"/>
            <p:cNvSpPr>
              <a:spLocks/>
            </p:cNvSpPr>
            <p:nvPr/>
          </p:nvSpPr>
          <p:spPr bwMode="auto">
            <a:xfrm>
              <a:off x="855" y="3842"/>
              <a:ext cx="161" cy="164"/>
            </a:xfrm>
            <a:custGeom>
              <a:avLst/>
              <a:gdLst/>
              <a:ahLst/>
              <a:cxnLst>
                <a:cxn ang="0">
                  <a:pos x="30" y="0"/>
                </a:cxn>
                <a:cxn ang="0">
                  <a:pos x="48" y="6"/>
                </a:cxn>
                <a:cxn ang="0">
                  <a:pos x="72" y="6"/>
                </a:cxn>
                <a:cxn ang="0">
                  <a:pos x="114" y="12"/>
                </a:cxn>
                <a:cxn ang="0">
                  <a:pos x="96" y="54"/>
                </a:cxn>
                <a:cxn ang="0">
                  <a:pos x="96" y="60"/>
                </a:cxn>
                <a:cxn ang="0">
                  <a:pos x="102" y="72"/>
                </a:cxn>
                <a:cxn ang="0">
                  <a:pos x="108" y="84"/>
                </a:cxn>
                <a:cxn ang="0">
                  <a:pos x="120" y="96"/>
                </a:cxn>
                <a:cxn ang="0">
                  <a:pos x="143" y="114"/>
                </a:cxn>
                <a:cxn ang="0">
                  <a:pos x="155" y="138"/>
                </a:cxn>
                <a:cxn ang="0">
                  <a:pos x="161" y="156"/>
                </a:cxn>
                <a:cxn ang="0">
                  <a:pos x="161" y="162"/>
                </a:cxn>
                <a:cxn ang="0">
                  <a:pos x="96" y="102"/>
                </a:cxn>
                <a:cxn ang="0">
                  <a:pos x="30" y="54"/>
                </a:cxn>
                <a:cxn ang="0">
                  <a:pos x="0" y="0"/>
                </a:cxn>
                <a:cxn ang="0">
                  <a:pos x="30" y="0"/>
                </a:cxn>
                <a:cxn ang="0">
                  <a:pos x="30" y="0"/>
                </a:cxn>
              </a:cxnLst>
              <a:rect l="0" t="0" r="r" b="b"/>
              <a:pathLst>
                <a:path w="161" h="162">
                  <a:moveTo>
                    <a:pt x="30" y="0"/>
                  </a:moveTo>
                  <a:lnTo>
                    <a:pt x="48" y="6"/>
                  </a:lnTo>
                  <a:lnTo>
                    <a:pt x="72" y="6"/>
                  </a:lnTo>
                  <a:lnTo>
                    <a:pt x="114" y="12"/>
                  </a:lnTo>
                  <a:lnTo>
                    <a:pt x="96" y="54"/>
                  </a:lnTo>
                  <a:lnTo>
                    <a:pt x="96" y="60"/>
                  </a:lnTo>
                  <a:lnTo>
                    <a:pt x="102" y="72"/>
                  </a:lnTo>
                  <a:lnTo>
                    <a:pt x="108" y="84"/>
                  </a:lnTo>
                  <a:lnTo>
                    <a:pt x="120" y="96"/>
                  </a:lnTo>
                  <a:lnTo>
                    <a:pt x="143" y="114"/>
                  </a:lnTo>
                  <a:lnTo>
                    <a:pt x="155" y="138"/>
                  </a:lnTo>
                  <a:lnTo>
                    <a:pt x="161" y="156"/>
                  </a:lnTo>
                  <a:lnTo>
                    <a:pt x="161" y="162"/>
                  </a:lnTo>
                  <a:lnTo>
                    <a:pt x="96" y="102"/>
                  </a:lnTo>
                  <a:lnTo>
                    <a:pt x="30" y="54"/>
                  </a:lnTo>
                  <a:lnTo>
                    <a:pt x="0" y="0"/>
                  </a:lnTo>
                  <a:lnTo>
                    <a:pt x="30" y="0"/>
                  </a:lnTo>
                  <a:lnTo>
                    <a:pt x="30" y="0"/>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36" name="Freeform 20"/>
            <p:cNvSpPr>
              <a:spLocks/>
            </p:cNvSpPr>
            <p:nvPr/>
          </p:nvSpPr>
          <p:spPr bwMode="auto">
            <a:xfrm>
              <a:off x="706" y="3854"/>
              <a:ext cx="59" cy="61"/>
            </a:xfrm>
            <a:custGeom>
              <a:avLst/>
              <a:gdLst/>
              <a:ahLst/>
              <a:cxnLst>
                <a:cxn ang="0">
                  <a:pos x="59" y="6"/>
                </a:cxn>
                <a:cxn ang="0">
                  <a:pos x="41" y="30"/>
                </a:cxn>
                <a:cxn ang="0">
                  <a:pos x="41" y="36"/>
                </a:cxn>
                <a:cxn ang="0">
                  <a:pos x="47" y="42"/>
                </a:cxn>
                <a:cxn ang="0">
                  <a:pos x="53" y="54"/>
                </a:cxn>
                <a:cxn ang="0">
                  <a:pos x="53" y="60"/>
                </a:cxn>
                <a:cxn ang="0">
                  <a:pos x="47" y="54"/>
                </a:cxn>
                <a:cxn ang="0">
                  <a:pos x="35" y="48"/>
                </a:cxn>
                <a:cxn ang="0">
                  <a:pos x="23" y="36"/>
                </a:cxn>
                <a:cxn ang="0">
                  <a:pos x="17" y="30"/>
                </a:cxn>
                <a:cxn ang="0">
                  <a:pos x="0" y="0"/>
                </a:cxn>
                <a:cxn ang="0">
                  <a:pos x="59" y="6"/>
                </a:cxn>
                <a:cxn ang="0">
                  <a:pos x="59" y="6"/>
                </a:cxn>
              </a:cxnLst>
              <a:rect l="0" t="0" r="r" b="b"/>
              <a:pathLst>
                <a:path w="59" h="60">
                  <a:moveTo>
                    <a:pt x="59" y="6"/>
                  </a:moveTo>
                  <a:lnTo>
                    <a:pt x="41" y="30"/>
                  </a:lnTo>
                  <a:lnTo>
                    <a:pt x="41" y="36"/>
                  </a:lnTo>
                  <a:lnTo>
                    <a:pt x="47" y="42"/>
                  </a:lnTo>
                  <a:lnTo>
                    <a:pt x="53" y="54"/>
                  </a:lnTo>
                  <a:lnTo>
                    <a:pt x="53" y="60"/>
                  </a:lnTo>
                  <a:lnTo>
                    <a:pt x="47" y="54"/>
                  </a:lnTo>
                  <a:lnTo>
                    <a:pt x="35" y="48"/>
                  </a:lnTo>
                  <a:lnTo>
                    <a:pt x="23" y="36"/>
                  </a:lnTo>
                  <a:lnTo>
                    <a:pt x="17" y="30"/>
                  </a:lnTo>
                  <a:lnTo>
                    <a:pt x="0" y="0"/>
                  </a:lnTo>
                  <a:lnTo>
                    <a:pt x="59" y="6"/>
                  </a:lnTo>
                  <a:lnTo>
                    <a:pt x="59" y="6"/>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237" name="Freeform 21"/>
            <p:cNvSpPr>
              <a:spLocks/>
            </p:cNvSpPr>
            <p:nvPr/>
          </p:nvSpPr>
          <p:spPr bwMode="auto">
            <a:xfrm>
              <a:off x="395" y="3811"/>
              <a:ext cx="245" cy="207"/>
            </a:xfrm>
            <a:custGeom>
              <a:avLst/>
              <a:gdLst/>
              <a:ahLst/>
              <a:cxnLst>
                <a:cxn ang="0">
                  <a:pos x="233" y="36"/>
                </a:cxn>
                <a:cxn ang="0">
                  <a:pos x="245" y="42"/>
                </a:cxn>
                <a:cxn ang="0">
                  <a:pos x="209" y="84"/>
                </a:cxn>
                <a:cxn ang="0">
                  <a:pos x="143" y="132"/>
                </a:cxn>
                <a:cxn ang="0">
                  <a:pos x="167" y="156"/>
                </a:cxn>
                <a:cxn ang="0">
                  <a:pos x="179" y="204"/>
                </a:cxn>
                <a:cxn ang="0">
                  <a:pos x="77" y="132"/>
                </a:cxn>
                <a:cxn ang="0">
                  <a:pos x="47" y="84"/>
                </a:cxn>
                <a:cxn ang="0">
                  <a:pos x="89" y="66"/>
                </a:cxn>
                <a:cxn ang="0">
                  <a:pos x="59" y="36"/>
                </a:cxn>
                <a:cxn ang="0">
                  <a:pos x="0" y="12"/>
                </a:cxn>
                <a:cxn ang="0">
                  <a:pos x="0" y="0"/>
                </a:cxn>
                <a:cxn ang="0">
                  <a:pos x="6" y="0"/>
                </a:cxn>
                <a:cxn ang="0">
                  <a:pos x="12" y="0"/>
                </a:cxn>
                <a:cxn ang="0">
                  <a:pos x="47" y="6"/>
                </a:cxn>
                <a:cxn ang="0">
                  <a:pos x="77" y="6"/>
                </a:cxn>
                <a:cxn ang="0">
                  <a:pos x="83" y="6"/>
                </a:cxn>
                <a:cxn ang="0">
                  <a:pos x="89" y="6"/>
                </a:cxn>
                <a:cxn ang="0">
                  <a:pos x="101" y="12"/>
                </a:cxn>
                <a:cxn ang="0">
                  <a:pos x="125" y="12"/>
                </a:cxn>
                <a:cxn ang="0">
                  <a:pos x="143" y="18"/>
                </a:cxn>
                <a:cxn ang="0">
                  <a:pos x="149" y="18"/>
                </a:cxn>
                <a:cxn ang="0">
                  <a:pos x="149" y="18"/>
                </a:cxn>
                <a:cxn ang="0">
                  <a:pos x="203" y="24"/>
                </a:cxn>
                <a:cxn ang="0">
                  <a:pos x="233" y="36"/>
                </a:cxn>
                <a:cxn ang="0">
                  <a:pos x="233" y="36"/>
                </a:cxn>
              </a:cxnLst>
              <a:rect l="0" t="0" r="r" b="b"/>
              <a:pathLst>
                <a:path w="245" h="204">
                  <a:moveTo>
                    <a:pt x="233" y="36"/>
                  </a:moveTo>
                  <a:lnTo>
                    <a:pt x="245" y="42"/>
                  </a:lnTo>
                  <a:lnTo>
                    <a:pt x="209" y="84"/>
                  </a:lnTo>
                  <a:lnTo>
                    <a:pt x="143" y="132"/>
                  </a:lnTo>
                  <a:lnTo>
                    <a:pt x="167" y="156"/>
                  </a:lnTo>
                  <a:lnTo>
                    <a:pt x="179" y="204"/>
                  </a:lnTo>
                  <a:lnTo>
                    <a:pt x="77" y="132"/>
                  </a:lnTo>
                  <a:lnTo>
                    <a:pt x="47" y="84"/>
                  </a:lnTo>
                  <a:lnTo>
                    <a:pt x="89" y="66"/>
                  </a:lnTo>
                  <a:lnTo>
                    <a:pt x="59" y="36"/>
                  </a:lnTo>
                  <a:lnTo>
                    <a:pt x="0" y="12"/>
                  </a:lnTo>
                  <a:lnTo>
                    <a:pt x="0" y="0"/>
                  </a:lnTo>
                  <a:lnTo>
                    <a:pt x="6" y="0"/>
                  </a:lnTo>
                  <a:lnTo>
                    <a:pt x="12" y="0"/>
                  </a:lnTo>
                  <a:lnTo>
                    <a:pt x="47" y="6"/>
                  </a:lnTo>
                  <a:lnTo>
                    <a:pt x="77" y="6"/>
                  </a:lnTo>
                  <a:lnTo>
                    <a:pt x="83" y="6"/>
                  </a:lnTo>
                  <a:lnTo>
                    <a:pt x="89" y="6"/>
                  </a:lnTo>
                  <a:lnTo>
                    <a:pt x="101" y="12"/>
                  </a:lnTo>
                  <a:lnTo>
                    <a:pt x="125" y="12"/>
                  </a:lnTo>
                  <a:lnTo>
                    <a:pt x="143" y="18"/>
                  </a:lnTo>
                  <a:lnTo>
                    <a:pt x="149" y="18"/>
                  </a:lnTo>
                  <a:lnTo>
                    <a:pt x="149" y="18"/>
                  </a:lnTo>
                  <a:lnTo>
                    <a:pt x="203" y="24"/>
                  </a:lnTo>
                  <a:lnTo>
                    <a:pt x="233" y="36"/>
                  </a:lnTo>
                  <a:lnTo>
                    <a:pt x="233" y="36"/>
                  </a:lnTo>
                  <a:close/>
                </a:path>
              </a:pathLst>
            </a:custGeom>
            <a:solidFill>
              <a:schemeClr val="bg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pSp>
      <p:sp>
        <p:nvSpPr>
          <p:cNvPr id="9238" name="Rectangle 22"/>
          <p:cNvSpPr>
            <a:spLocks noGrp="1" noChangeArrowheads="1"/>
          </p:cNvSpPr>
          <p:nvPr>
            <p:ph type="title"/>
          </p:nvPr>
        </p:nvSpPr>
        <p:spPr bwMode="auto">
          <a:xfrm>
            <a:off x="457200" y="228600"/>
            <a:ext cx="82296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9239" name="Rectangle 23"/>
          <p:cNvSpPr>
            <a:spLocks noGrp="1" noChangeArrowheads="1"/>
          </p:cNvSpPr>
          <p:nvPr>
            <p:ph type="body" idx="1"/>
          </p:nvPr>
        </p:nvSpPr>
        <p:spPr bwMode="auto">
          <a:xfrm>
            <a:off x="457200" y="1600200"/>
            <a:ext cx="8229600" cy="4495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9240" name="Rectangle 24"/>
          <p:cNvSpPr>
            <a:spLocks noGrp="1" noChangeArrowheads="1"/>
          </p:cNvSpPr>
          <p:nvPr>
            <p:ph type="dt" sz="half" idx="2"/>
          </p:nvPr>
        </p:nvSpPr>
        <p:spPr bwMode="auto">
          <a:xfrm>
            <a:off x="457200" y="6248400"/>
            <a:ext cx="2133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rtl="0">
              <a:defRPr sz="1200">
                <a:effectLst>
                  <a:outerShdw blurRad="38100" dist="38100" dir="2700000" algn="tl">
                    <a:srgbClr val="000000"/>
                  </a:outerShdw>
                </a:effect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9241" name="Rectangle 2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rtl="0">
              <a:defRPr sz="1200">
                <a:effectLst>
                  <a:outerShdw blurRad="38100" dist="38100" dir="2700000" algn="tl">
                    <a:srgbClr val="000000"/>
                  </a:outerShdw>
                </a:effectLs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
        <p:nvSpPr>
          <p:cNvPr id="9242" name="Rectangle 26"/>
          <p:cNvSpPr>
            <a:spLocks noGrp="1" noChangeArrowheads="1"/>
          </p:cNvSpPr>
          <p:nvPr>
            <p:ph type="sldNum" sz="quarter" idx="4"/>
          </p:nvPr>
        </p:nvSpPr>
        <p:spPr bwMode="auto">
          <a:xfrm>
            <a:off x="6553200" y="6248400"/>
            <a:ext cx="2133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rtl="0">
              <a:defRPr sz="1200">
                <a:effectLst>
                  <a:outerShdw blurRad="38100" dist="38100" dir="2700000" algn="tl">
                    <a:srgbClr val="000000"/>
                  </a:outerShdw>
                </a:effect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8ADA1CD-DB58-4C72-B902-69B08EDCEDFF}" type="slidenum">
              <a:rPr kumimoji="0" lang="ar-SA"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outerShdw blurRad="38100" dist="38100" dir="2700000" algn="tl">
                  <a:srgbClr val="000000"/>
                </a:outerShdw>
              </a:effectLst>
              <a:uLnTx/>
              <a:uFillTx/>
              <a:latin typeface="Arial"/>
              <a:ea typeface="+mn-ea"/>
              <a:cs typeface="Arial"/>
            </a:endParaRPr>
          </a:p>
        </p:txBody>
      </p:sp>
    </p:spTree>
    <p:extLst>
      <p:ext uri="{BB962C8B-B14F-4D97-AF65-F5344CB8AC3E}">
        <p14:creationId xmlns:p14="http://schemas.microsoft.com/office/powerpoint/2010/main" val="2037850349"/>
      </p:ext>
    </p:extLst>
  </p:cSld>
  <p:clrMap bg1="dk2" tx1="lt1" bg2="dk1" tx2="lt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 id="2147484361" r:id="rId8"/>
    <p:sldLayoutId id="2147484362" r:id="rId9"/>
    <p:sldLayoutId id="2147484363" r:id="rId10"/>
    <p:sldLayoutId id="2147484364" r:id="rId11"/>
    <p:sldLayoutId id="2147484365" r:id="rId12"/>
    <p:sldLayoutId id="2147484366" r:id="rId13"/>
    <p:sldLayoutId id="2147484367" r:id="rId14"/>
  </p:sldLayoutIdLst>
  <p:timing>
    <p:tnLst>
      <p:par>
        <p:cTn id="1" dur="indefinite" restart="never" nodeType="tmRoot"/>
      </p:par>
    </p:tnLst>
  </p:timing>
  <p:txStyles>
    <p:titleStyle>
      <a:lvl1pPr algn="ctr" rtl="1" fontAlgn="base">
        <a:spcBef>
          <a:spcPct val="0"/>
        </a:spcBef>
        <a:spcAft>
          <a:spcPct val="0"/>
        </a:spcAft>
        <a:defRPr sz="4400">
          <a:solidFill>
            <a:schemeClr val="tx2"/>
          </a:solidFill>
          <a:effectLst>
            <a:outerShdw blurRad="38100" dist="38100" dir="2700000" algn="tl">
              <a:srgbClr val="000000"/>
            </a:outerShdw>
          </a:effectLst>
          <a:latin typeface="+mj-lt"/>
          <a:ea typeface="+mj-ea"/>
          <a:cs typeface="+mj-cs"/>
        </a:defRPr>
      </a:lvl1pPr>
      <a:lvl2pPr algn="ctr" rtl="1" fontAlgn="base">
        <a:spcBef>
          <a:spcPct val="0"/>
        </a:spcBef>
        <a:spcAft>
          <a:spcPct val="0"/>
        </a:spcAft>
        <a:defRPr sz="4400">
          <a:solidFill>
            <a:schemeClr val="tx2"/>
          </a:solidFill>
          <a:effectLst>
            <a:outerShdw blurRad="38100" dist="38100" dir="2700000" algn="tl">
              <a:srgbClr val="000000"/>
            </a:outerShdw>
          </a:effectLst>
          <a:latin typeface="Arial" pitchFamily="34" charset="0"/>
          <a:cs typeface="Arial" pitchFamily="34" charset="0"/>
        </a:defRPr>
      </a:lvl2pPr>
      <a:lvl3pPr algn="ctr" rtl="1" fontAlgn="base">
        <a:spcBef>
          <a:spcPct val="0"/>
        </a:spcBef>
        <a:spcAft>
          <a:spcPct val="0"/>
        </a:spcAft>
        <a:defRPr sz="4400">
          <a:solidFill>
            <a:schemeClr val="tx2"/>
          </a:solidFill>
          <a:effectLst>
            <a:outerShdw blurRad="38100" dist="38100" dir="2700000" algn="tl">
              <a:srgbClr val="000000"/>
            </a:outerShdw>
          </a:effectLst>
          <a:latin typeface="Arial" pitchFamily="34" charset="0"/>
          <a:cs typeface="Arial" pitchFamily="34" charset="0"/>
        </a:defRPr>
      </a:lvl3pPr>
      <a:lvl4pPr algn="ctr" rtl="1" fontAlgn="base">
        <a:spcBef>
          <a:spcPct val="0"/>
        </a:spcBef>
        <a:spcAft>
          <a:spcPct val="0"/>
        </a:spcAft>
        <a:defRPr sz="4400">
          <a:solidFill>
            <a:schemeClr val="tx2"/>
          </a:solidFill>
          <a:effectLst>
            <a:outerShdw blurRad="38100" dist="38100" dir="2700000" algn="tl">
              <a:srgbClr val="000000"/>
            </a:outerShdw>
          </a:effectLst>
          <a:latin typeface="Arial" pitchFamily="34" charset="0"/>
          <a:cs typeface="Arial" pitchFamily="34" charset="0"/>
        </a:defRPr>
      </a:lvl4pPr>
      <a:lvl5pPr algn="ctr" rtl="1" fontAlgn="base">
        <a:spcBef>
          <a:spcPct val="0"/>
        </a:spcBef>
        <a:spcAft>
          <a:spcPct val="0"/>
        </a:spcAft>
        <a:defRPr sz="4400">
          <a:solidFill>
            <a:schemeClr val="tx2"/>
          </a:solidFill>
          <a:effectLst>
            <a:outerShdw blurRad="38100" dist="38100" dir="2700000" algn="tl">
              <a:srgbClr val="000000"/>
            </a:outerShdw>
          </a:effectLst>
          <a:latin typeface="Arial" pitchFamily="34" charset="0"/>
          <a:cs typeface="Arial" pitchFamily="34" charset="0"/>
        </a:defRPr>
      </a:lvl5pPr>
      <a:lvl6pPr marL="457200" algn="ctr" rtl="1" fontAlgn="base">
        <a:spcBef>
          <a:spcPct val="0"/>
        </a:spcBef>
        <a:spcAft>
          <a:spcPct val="0"/>
        </a:spcAft>
        <a:defRPr sz="4400">
          <a:solidFill>
            <a:schemeClr val="tx2"/>
          </a:solidFill>
          <a:effectLst>
            <a:outerShdw blurRad="38100" dist="38100" dir="2700000" algn="tl">
              <a:srgbClr val="000000"/>
            </a:outerShdw>
          </a:effectLst>
          <a:latin typeface="Arial" pitchFamily="34" charset="0"/>
          <a:cs typeface="Arial" pitchFamily="34" charset="0"/>
        </a:defRPr>
      </a:lvl6pPr>
      <a:lvl7pPr marL="914400" algn="ctr" rtl="1" fontAlgn="base">
        <a:spcBef>
          <a:spcPct val="0"/>
        </a:spcBef>
        <a:spcAft>
          <a:spcPct val="0"/>
        </a:spcAft>
        <a:defRPr sz="4400">
          <a:solidFill>
            <a:schemeClr val="tx2"/>
          </a:solidFill>
          <a:effectLst>
            <a:outerShdw blurRad="38100" dist="38100" dir="2700000" algn="tl">
              <a:srgbClr val="000000"/>
            </a:outerShdw>
          </a:effectLst>
          <a:latin typeface="Arial" pitchFamily="34" charset="0"/>
          <a:cs typeface="Arial" pitchFamily="34" charset="0"/>
        </a:defRPr>
      </a:lvl7pPr>
      <a:lvl8pPr marL="1371600" algn="ctr" rtl="1" fontAlgn="base">
        <a:spcBef>
          <a:spcPct val="0"/>
        </a:spcBef>
        <a:spcAft>
          <a:spcPct val="0"/>
        </a:spcAft>
        <a:defRPr sz="4400">
          <a:solidFill>
            <a:schemeClr val="tx2"/>
          </a:solidFill>
          <a:effectLst>
            <a:outerShdw blurRad="38100" dist="38100" dir="2700000" algn="tl">
              <a:srgbClr val="000000"/>
            </a:outerShdw>
          </a:effectLst>
          <a:latin typeface="Arial" pitchFamily="34" charset="0"/>
          <a:cs typeface="Arial" pitchFamily="34" charset="0"/>
        </a:defRPr>
      </a:lvl8pPr>
      <a:lvl9pPr marL="1828800" algn="ctr" rtl="1" fontAlgn="base">
        <a:spcBef>
          <a:spcPct val="0"/>
        </a:spcBef>
        <a:spcAft>
          <a:spcPct val="0"/>
        </a:spcAft>
        <a:defRPr sz="4400">
          <a:solidFill>
            <a:schemeClr val="tx2"/>
          </a:solidFill>
          <a:effectLst>
            <a:outerShdw blurRad="38100" dist="38100" dir="2700000" algn="tl">
              <a:srgbClr val="000000"/>
            </a:outerShdw>
          </a:effectLst>
          <a:latin typeface="Arial" pitchFamily="34" charset="0"/>
          <a:cs typeface="Arial" pitchFamily="34" charset="0"/>
        </a:defRPr>
      </a:lvl9pPr>
    </p:titleStyle>
    <p:bodyStyle>
      <a:lvl1pPr marL="342900" indent="-342900" algn="r" rtl="1" fontAlgn="base">
        <a:spcBef>
          <a:spcPct val="20000"/>
        </a:spcBef>
        <a:spcAft>
          <a:spcPct val="0"/>
        </a:spcAft>
        <a:buClr>
          <a:schemeClr val="tx2"/>
        </a:buClr>
        <a:buChar char="•"/>
        <a:defRPr sz="3200">
          <a:solidFill>
            <a:schemeClr val="tx1"/>
          </a:solidFill>
          <a:latin typeface="+mn-lt"/>
          <a:ea typeface="+mn-ea"/>
          <a:cs typeface="+mn-cs"/>
        </a:defRPr>
      </a:lvl1pPr>
      <a:lvl2pPr marL="742950" indent="-285750" algn="r" rtl="1" fontAlgn="base">
        <a:spcBef>
          <a:spcPct val="20000"/>
        </a:spcBef>
        <a:spcAft>
          <a:spcPct val="0"/>
        </a:spcAft>
        <a:buChar char="–"/>
        <a:defRPr sz="2800">
          <a:solidFill>
            <a:schemeClr val="tx1"/>
          </a:solidFill>
          <a:latin typeface="+mn-lt"/>
          <a:cs typeface="+mn-cs"/>
        </a:defRPr>
      </a:lvl2pPr>
      <a:lvl3pPr marL="1143000" indent="-228600" algn="r" rtl="1" fontAlgn="base">
        <a:spcBef>
          <a:spcPct val="20000"/>
        </a:spcBef>
        <a:spcAft>
          <a:spcPct val="0"/>
        </a:spcAft>
        <a:buClr>
          <a:schemeClr val="tx2"/>
        </a:buClr>
        <a:buChar char="•"/>
        <a:defRPr sz="2400">
          <a:solidFill>
            <a:schemeClr val="tx1"/>
          </a:solidFill>
          <a:latin typeface="+mn-lt"/>
          <a:cs typeface="+mn-cs"/>
        </a:defRPr>
      </a:lvl3pPr>
      <a:lvl4pPr marL="1600200" indent="-228600" algn="r" rtl="1" fontAlgn="base">
        <a:spcBef>
          <a:spcPct val="20000"/>
        </a:spcBef>
        <a:spcAft>
          <a:spcPct val="0"/>
        </a:spcAft>
        <a:buChar char="–"/>
        <a:defRPr sz="2000">
          <a:solidFill>
            <a:schemeClr val="tx1"/>
          </a:solidFill>
          <a:latin typeface="+mn-lt"/>
          <a:cs typeface="+mn-cs"/>
        </a:defRPr>
      </a:lvl4pPr>
      <a:lvl5pPr marL="2057400" indent="-228600" algn="r" rtl="1" fontAlgn="base">
        <a:spcBef>
          <a:spcPct val="20000"/>
        </a:spcBef>
        <a:spcAft>
          <a:spcPct val="0"/>
        </a:spcAft>
        <a:buClr>
          <a:schemeClr val="tx2"/>
        </a:buClr>
        <a:buChar char="•"/>
        <a:defRPr sz="2000">
          <a:solidFill>
            <a:schemeClr val="tx1"/>
          </a:solidFill>
          <a:latin typeface="+mn-lt"/>
          <a:cs typeface="+mn-cs"/>
        </a:defRPr>
      </a:lvl5pPr>
      <a:lvl6pPr marL="2514600" indent="-228600" algn="r" rtl="1" fontAlgn="base">
        <a:spcBef>
          <a:spcPct val="20000"/>
        </a:spcBef>
        <a:spcAft>
          <a:spcPct val="0"/>
        </a:spcAft>
        <a:buClr>
          <a:schemeClr val="tx2"/>
        </a:buClr>
        <a:buChar char="•"/>
        <a:defRPr sz="2000">
          <a:solidFill>
            <a:schemeClr val="tx1"/>
          </a:solidFill>
          <a:latin typeface="+mn-lt"/>
          <a:cs typeface="+mn-cs"/>
        </a:defRPr>
      </a:lvl6pPr>
      <a:lvl7pPr marL="2971800" indent="-228600" algn="r" rtl="1" fontAlgn="base">
        <a:spcBef>
          <a:spcPct val="20000"/>
        </a:spcBef>
        <a:spcAft>
          <a:spcPct val="0"/>
        </a:spcAft>
        <a:buClr>
          <a:schemeClr val="tx2"/>
        </a:buClr>
        <a:buChar char="•"/>
        <a:defRPr sz="2000">
          <a:solidFill>
            <a:schemeClr val="tx1"/>
          </a:solidFill>
          <a:latin typeface="+mn-lt"/>
          <a:cs typeface="+mn-cs"/>
        </a:defRPr>
      </a:lvl7pPr>
      <a:lvl8pPr marL="3429000" indent="-228600" algn="r" rtl="1" fontAlgn="base">
        <a:spcBef>
          <a:spcPct val="20000"/>
        </a:spcBef>
        <a:spcAft>
          <a:spcPct val="0"/>
        </a:spcAft>
        <a:buClr>
          <a:schemeClr val="tx2"/>
        </a:buClr>
        <a:buChar char="•"/>
        <a:defRPr sz="2000">
          <a:solidFill>
            <a:schemeClr val="tx1"/>
          </a:solidFill>
          <a:latin typeface="+mn-lt"/>
          <a:cs typeface="+mn-cs"/>
        </a:defRPr>
      </a:lvl8pPr>
      <a:lvl9pPr marL="3886200" indent="-228600" algn="r" rtl="1" fontAlgn="base">
        <a:spcBef>
          <a:spcPct val="20000"/>
        </a:spcBef>
        <a:spcAft>
          <a:spcPct val="0"/>
        </a:spcAft>
        <a:buClr>
          <a:schemeClr val="tx2"/>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Title Placeholder 1">
            <a:extLst>
              <a:ext uri="{FF2B5EF4-FFF2-40B4-BE49-F238E27FC236}">
                <a16:creationId xmlns:a16="http://schemas.microsoft.com/office/drawing/2014/main" id="{EF26E65D-5D9A-48FD-8E76-0691C3888AD6}"/>
              </a:ext>
            </a:extLst>
          </p:cNvPr>
          <p:cNvSpPr>
            <a:spLocks noGrp="1"/>
          </p:cNvSpPr>
          <p:nvPr>
            <p:ph type="title"/>
          </p:nvPr>
        </p:nvSpPr>
        <p:spPr bwMode="auto">
          <a:xfrm>
            <a:off x="385764" y="85727"/>
            <a:ext cx="8370887"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6799" rIns="89999" bIns="46799" numCol="1" anchor="b" anchorCtr="0" compatLnSpc="1">
            <a:prstTxWarp prst="textNoShape">
              <a:avLst/>
            </a:prstTxWarp>
          </a:bodyPr>
          <a:lstStyle/>
          <a:p>
            <a:pPr lvl="0"/>
            <a:r>
              <a:rPr lang="en-GB" altLang="en-US"/>
              <a:t>Click to edit master title style</a:t>
            </a:r>
            <a:endParaRPr lang="en-US" altLang="en-US"/>
          </a:p>
        </p:txBody>
      </p:sp>
      <p:sp>
        <p:nvSpPr>
          <p:cNvPr id="25603" name="Text Placeholder 2">
            <a:extLst>
              <a:ext uri="{FF2B5EF4-FFF2-40B4-BE49-F238E27FC236}">
                <a16:creationId xmlns:a16="http://schemas.microsoft.com/office/drawing/2014/main" id="{EE7E8AE9-8F24-4411-A605-7DB24C4DE356}"/>
              </a:ext>
            </a:extLst>
          </p:cNvPr>
          <p:cNvSpPr>
            <a:spLocks noGrp="1"/>
          </p:cNvSpPr>
          <p:nvPr>
            <p:ph type="body" idx="1"/>
          </p:nvPr>
        </p:nvSpPr>
        <p:spPr bwMode="auto">
          <a:xfrm>
            <a:off x="387350" y="1079504"/>
            <a:ext cx="8369300" cy="510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US" altLang="en-US"/>
              <a:t>Fourth level</a:t>
            </a:r>
          </a:p>
          <a:p>
            <a:pPr lvl="4"/>
            <a:r>
              <a:rPr lang="en-US" altLang="en-US"/>
              <a:t>Fifth level</a:t>
            </a:r>
            <a:endParaRPr lang="en-GB" altLang="en-US"/>
          </a:p>
        </p:txBody>
      </p:sp>
      <p:cxnSp>
        <p:nvCxnSpPr>
          <p:cNvPr id="9" name="Straight Connector 8">
            <a:extLst>
              <a:ext uri="{FF2B5EF4-FFF2-40B4-BE49-F238E27FC236}">
                <a16:creationId xmlns:a16="http://schemas.microsoft.com/office/drawing/2014/main" id="{82DE439A-8979-480C-848F-D3D00FE53E66}"/>
              </a:ext>
            </a:extLst>
          </p:cNvPr>
          <p:cNvCxnSpPr/>
          <p:nvPr/>
        </p:nvCxnSpPr>
        <p:spPr>
          <a:xfrm>
            <a:off x="387350" y="966788"/>
            <a:ext cx="8369300"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94279393"/>
      </p:ext>
    </p:extLst>
  </p:cSld>
  <p:clrMap bg1="lt1" tx1="dk1" bg2="lt2" tx2="dk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 id="2147484382" r:id="rId14"/>
    <p:sldLayoutId id="2147484383" r:id="rId15"/>
    <p:sldLayoutId id="2147484384" r:id="rId16"/>
    <p:sldLayoutId id="2147484385" r:id="rId17"/>
    <p:sldLayoutId id="2147484386" r:id="rId18"/>
    <p:sldLayoutId id="2147484387" r:id="rId19"/>
    <p:sldLayoutId id="2147484388" r:id="rId20"/>
    <p:sldLayoutId id="2147484389" r:id="rId21"/>
    <p:sldLayoutId id="2147484390" r:id="rId22"/>
    <p:sldLayoutId id="2147484391" r:id="rId23"/>
    <p:sldLayoutId id="2147484392" r:id="rId24"/>
    <p:sldLayoutId id="2147484393" r:id="rId25"/>
    <p:sldLayoutId id="2147484394" r:id="rId26"/>
    <p:sldLayoutId id="2147484395" r:id="rId27"/>
    <p:sldLayoutId id="2147484396" r:id="rId28"/>
    <p:sldLayoutId id="2147484397" r:id="rId29"/>
    <p:sldLayoutId id="2147484398" r:id="rId30"/>
    <p:sldLayoutId id="2147484399" r:id="rId31"/>
    <p:sldLayoutId id="2147484400" r:id="rId32"/>
    <p:sldLayoutId id="2147484401" r:id="rId33"/>
    <p:sldLayoutId id="2147484402" r:id="rId34"/>
    <p:sldLayoutId id="2147484403" r:id="rId35"/>
    <p:sldLayoutId id="2147484404" r:id="rId36"/>
    <p:sldLayoutId id="2147484405" r:id="rId37"/>
  </p:sldLayoutIdLst>
  <p:transition/>
  <p:txStyles>
    <p:titleStyle>
      <a:lvl1pPr algn="l" defTabSz="257175" rtl="0" eaLnBrk="0" fontAlgn="base" hangingPunct="0">
        <a:spcBef>
          <a:spcPct val="0"/>
        </a:spcBef>
        <a:spcAft>
          <a:spcPct val="0"/>
        </a:spcAft>
        <a:defRPr sz="1575" b="1" kern="1200">
          <a:solidFill>
            <a:srgbClr val="5C5C5C"/>
          </a:solidFill>
          <a:latin typeface="Arial (Headings)"/>
          <a:ea typeface="+mj-ea"/>
          <a:cs typeface="+mj-cs"/>
        </a:defRPr>
      </a:lvl1pPr>
      <a:lvl2pPr algn="l" defTabSz="257175" rtl="0" eaLnBrk="0" fontAlgn="base" hangingPunct="0">
        <a:spcBef>
          <a:spcPct val="0"/>
        </a:spcBef>
        <a:spcAft>
          <a:spcPct val="0"/>
        </a:spcAft>
        <a:defRPr sz="1575" b="1">
          <a:solidFill>
            <a:srgbClr val="5C5C5C"/>
          </a:solidFill>
          <a:latin typeface="Arial (Headings)" charset="0"/>
        </a:defRPr>
      </a:lvl2pPr>
      <a:lvl3pPr algn="l" defTabSz="257175" rtl="0" eaLnBrk="0" fontAlgn="base" hangingPunct="0">
        <a:spcBef>
          <a:spcPct val="0"/>
        </a:spcBef>
        <a:spcAft>
          <a:spcPct val="0"/>
        </a:spcAft>
        <a:defRPr sz="1575" b="1">
          <a:solidFill>
            <a:srgbClr val="5C5C5C"/>
          </a:solidFill>
          <a:latin typeface="Arial (Headings)" charset="0"/>
        </a:defRPr>
      </a:lvl3pPr>
      <a:lvl4pPr algn="l" defTabSz="257175" rtl="0" eaLnBrk="0" fontAlgn="base" hangingPunct="0">
        <a:spcBef>
          <a:spcPct val="0"/>
        </a:spcBef>
        <a:spcAft>
          <a:spcPct val="0"/>
        </a:spcAft>
        <a:defRPr sz="1575" b="1">
          <a:solidFill>
            <a:srgbClr val="5C5C5C"/>
          </a:solidFill>
          <a:latin typeface="Arial (Headings)" charset="0"/>
        </a:defRPr>
      </a:lvl4pPr>
      <a:lvl5pPr algn="l" defTabSz="257175" rtl="0" eaLnBrk="0" fontAlgn="base" hangingPunct="0">
        <a:spcBef>
          <a:spcPct val="0"/>
        </a:spcBef>
        <a:spcAft>
          <a:spcPct val="0"/>
        </a:spcAft>
        <a:defRPr sz="1575" b="1">
          <a:solidFill>
            <a:srgbClr val="5C5C5C"/>
          </a:solidFill>
          <a:latin typeface="Arial (Headings)" charset="0"/>
        </a:defRPr>
      </a:lvl5pPr>
      <a:lvl6pPr marL="342900" algn="l" defTabSz="257175" rtl="0" fontAlgn="base">
        <a:spcBef>
          <a:spcPct val="0"/>
        </a:spcBef>
        <a:spcAft>
          <a:spcPct val="0"/>
        </a:spcAft>
        <a:defRPr sz="1575" b="1">
          <a:solidFill>
            <a:srgbClr val="5C5C5C"/>
          </a:solidFill>
          <a:latin typeface="Arial (Headings)" charset="0"/>
        </a:defRPr>
      </a:lvl6pPr>
      <a:lvl7pPr marL="685800" algn="l" defTabSz="257175" rtl="0" fontAlgn="base">
        <a:spcBef>
          <a:spcPct val="0"/>
        </a:spcBef>
        <a:spcAft>
          <a:spcPct val="0"/>
        </a:spcAft>
        <a:defRPr sz="1575" b="1">
          <a:solidFill>
            <a:srgbClr val="5C5C5C"/>
          </a:solidFill>
          <a:latin typeface="Arial (Headings)" charset="0"/>
        </a:defRPr>
      </a:lvl7pPr>
      <a:lvl8pPr marL="1028700" algn="l" defTabSz="257175" rtl="0" fontAlgn="base">
        <a:spcBef>
          <a:spcPct val="0"/>
        </a:spcBef>
        <a:spcAft>
          <a:spcPct val="0"/>
        </a:spcAft>
        <a:defRPr sz="1575" b="1">
          <a:solidFill>
            <a:srgbClr val="5C5C5C"/>
          </a:solidFill>
          <a:latin typeface="Arial (Headings)" charset="0"/>
        </a:defRPr>
      </a:lvl8pPr>
      <a:lvl9pPr marL="1371600" algn="l" defTabSz="257175" rtl="0" fontAlgn="base">
        <a:spcBef>
          <a:spcPct val="0"/>
        </a:spcBef>
        <a:spcAft>
          <a:spcPct val="0"/>
        </a:spcAft>
        <a:defRPr sz="1575" b="1">
          <a:solidFill>
            <a:srgbClr val="5C5C5C"/>
          </a:solidFill>
          <a:latin typeface="Arial (Headings)" charset="0"/>
        </a:defRPr>
      </a:lvl9pPr>
    </p:titleStyle>
    <p:bodyStyle>
      <a:lvl1pPr marL="100013" indent="-100013" algn="l" defTabSz="257175" rtl="0" eaLnBrk="0" fontAlgn="base" hangingPunct="0">
        <a:spcBef>
          <a:spcPts val="281"/>
        </a:spcBef>
        <a:spcAft>
          <a:spcPts val="281"/>
        </a:spcAft>
        <a:buClr>
          <a:schemeClr val="tx2"/>
        </a:buClr>
        <a:buSzPct val="110000"/>
        <a:buFont typeface="Wingdings" panose="05000000000000000000" pitchFamily="2" charset="2"/>
        <a:buChar char="§"/>
        <a:defRPr sz="1125" kern="1200">
          <a:solidFill>
            <a:schemeClr val="tx1"/>
          </a:solidFill>
          <a:latin typeface="+mn-lt"/>
          <a:ea typeface="+mn-ea"/>
          <a:cs typeface="+mn-cs"/>
        </a:defRPr>
      </a:lvl1pPr>
      <a:lvl2pPr marL="252413" indent="-152400" algn="l" defTabSz="257175" rtl="0" eaLnBrk="0" fontAlgn="base" hangingPunct="0">
        <a:spcBef>
          <a:spcPts val="281"/>
        </a:spcBef>
        <a:spcAft>
          <a:spcPct val="0"/>
        </a:spcAft>
        <a:buClr>
          <a:schemeClr val="tx2"/>
        </a:buClr>
        <a:buFont typeface="Arial" panose="020B0604020202020204" pitchFamily="34" charset="0"/>
        <a:buChar char="–"/>
        <a:defRPr sz="975" kern="1200">
          <a:solidFill>
            <a:schemeClr val="tx1"/>
          </a:solidFill>
          <a:latin typeface="+mn-lt"/>
          <a:ea typeface="+mn-ea"/>
          <a:cs typeface="+mn-cs"/>
        </a:defRPr>
      </a:lvl2pPr>
      <a:lvl3pPr marL="353616" indent="-100013" algn="l" defTabSz="257175" rtl="0" eaLnBrk="0" fontAlgn="base" hangingPunct="0">
        <a:spcBef>
          <a:spcPts val="281"/>
        </a:spcBef>
        <a:spcAft>
          <a:spcPct val="0"/>
        </a:spcAft>
        <a:buClr>
          <a:schemeClr val="tx2"/>
        </a:buClr>
        <a:buFont typeface="Arial" panose="020B0604020202020204" pitchFamily="34" charset="0"/>
        <a:buChar char="•"/>
        <a:defRPr sz="900" kern="1200">
          <a:solidFill>
            <a:schemeClr val="tx1"/>
          </a:solidFill>
          <a:latin typeface="+mn-lt"/>
          <a:ea typeface="+mn-ea"/>
          <a:cs typeface="+mn-cs"/>
        </a:defRPr>
      </a:lvl3pPr>
      <a:lvl4pPr marL="900113" indent="-128588" algn="l" defTabSz="257175" rtl="0" eaLnBrk="0" fontAlgn="base" hangingPunct="0">
        <a:spcBef>
          <a:spcPct val="20000"/>
        </a:spcBef>
        <a:spcAft>
          <a:spcPct val="0"/>
        </a:spcAft>
        <a:buClr>
          <a:schemeClr val="tx2"/>
        </a:buClr>
        <a:buFont typeface="Arial" panose="020B0604020202020204" pitchFamily="34" charset="0"/>
        <a:buChar char="–"/>
        <a:defRPr sz="900" kern="1200">
          <a:solidFill>
            <a:schemeClr val="tx1"/>
          </a:solidFill>
          <a:latin typeface="+mn-lt"/>
          <a:ea typeface="+mn-ea"/>
          <a:cs typeface="+mn-cs"/>
        </a:defRPr>
      </a:lvl4pPr>
      <a:lvl5pPr marL="1157288" indent="-128588" algn="l" defTabSz="257175" rtl="0" eaLnBrk="0" fontAlgn="base" hangingPunct="0">
        <a:spcBef>
          <a:spcPct val="20000"/>
        </a:spcBef>
        <a:spcAft>
          <a:spcPct val="0"/>
        </a:spcAft>
        <a:buClr>
          <a:schemeClr val="tx2"/>
        </a:buClr>
        <a:buFont typeface="Arial" panose="020B0604020202020204" pitchFamily="34" charset="0"/>
        <a:buChar char="»"/>
        <a:defRPr sz="900" kern="1200">
          <a:solidFill>
            <a:schemeClr val="tx1"/>
          </a:solidFill>
          <a:latin typeface="+mn-lt"/>
          <a:ea typeface="+mn-ea"/>
          <a:cs typeface="+mn-cs"/>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751741353"/>
      </p:ext>
    </p:extLst>
  </p:cSld>
  <p:clrMap bg1="lt1" tx1="dk1" bg2="lt2" tx2="dk2" accent1="accent1" accent2="accent2" accent3="accent3" accent4="accent4" accent5="accent5" accent6="accent6" hlink="hlink" folHlink="folHlink"/>
  <p:sldLayoutIdLst>
    <p:sldLayoutId id="2147484407" r:id="rId1"/>
    <p:sldLayoutId id="2147484408" r:id="rId2"/>
    <p:sldLayoutId id="2147484409" r:id="rId3"/>
    <p:sldLayoutId id="2147484410" r:id="rId4"/>
    <p:sldLayoutId id="2147484411" r:id="rId5"/>
    <p:sldLayoutId id="2147484412" r:id="rId6"/>
    <p:sldLayoutId id="2147484413" r:id="rId7"/>
    <p:sldLayoutId id="2147484414" r:id="rId8"/>
    <p:sldLayoutId id="2147484415" r:id="rId9"/>
    <p:sldLayoutId id="2147484416" r:id="rId10"/>
    <p:sldLayoutId id="214748441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4/8/1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161879614"/>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21"/>
          <p:cNvSpPr>
            <a:spLocks noGrp="1"/>
          </p:cNvSpPr>
          <p:nvPr>
            <p:ph type="title"/>
          </p:nvPr>
        </p:nvSpPr>
        <p:spPr bwMode="auto">
          <a:xfrm>
            <a:off x="609600" y="228600"/>
            <a:ext cx="8153400" cy="990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1" name="Text Placeholder 12"/>
          <p:cNvSpPr>
            <a:spLocks noGrp="1"/>
          </p:cNvSpPr>
          <p:nvPr>
            <p:ph type="body" idx="1"/>
          </p:nvPr>
        </p:nvSpPr>
        <p:spPr bwMode="auto">
          <a:xfrm>
            <a:off x="612775" y="1600200"/>
            <a:ext cx="8153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4" name="Date Placeholder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3" name="Footer Placeholder 2"/>
          <p:cNvSpPr>
            <a:spLocks noGrp="1"/>
          </p:cNvSpPr>
          <p:nvPr>
            <p:ph type="ftr" sz="quarter" idx="3"/>
          </p:nvPr>
        </p:nvSpPr>
        <p:spPr>
          <a:xfrm>
            <a:off x="609600" y="6248400"/>
            <a:ext cx="5421313" cy="365125"/>
          </a:xfrm>
          <a:prstGeom prst="rect">
            <a:avLst/>
          </a:prstGeom>
        </p:spPr>
        <p:txBody>
          <a:bodyPr vert="horz" anchor="ctr"/>
          <a:lstStyle>
            <a:lvl1pPr algn="r" eaLnBrk="1" latinLnBrk="0" hangingPunct="1">
              <a:defRPr kumimoji="0" sz="14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7" name="Rectangle 6"/>
          <p:cNvSpPr/>
          <p:nvPr/>
        </p:nvSpPr>
        <p:spPr bwMode="white">
          <a:xfrm>
            <a:off x="0" y="1235075"/>
            <a:ext cx="9144000" cy="31908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8" name="Rectangle 7"/>
          <p:cNvSpPr/>
          <p:nvPr/>
        </p:nvSpPr>
        <p:spPr>
          <a:xfrm>
            <a:off x="0" y="1279525"/>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9" name="Rectangle 8"/>
          <p:cNvSpPr/>
          <p:nvPr/>
        </p:nvSpPr>
        <p:spPr>
          <a:xfrm>
            <a:off x="590550" y="1279525"/>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23" name="Slide Number Placeholder 22"/>
          <p:cNvSpPr>
            <a:spLocks noGrp="1"/>
          </p:cNvSpPr>
          <p:nvPr>
            <p:ph type="sldNum" sz="quarter" idx="4"/>
          </p:nvPr>
        </p:nvSpPr>
        <p:spPr>
          <a:xfrm>
            <a:off x="0" y="1271588"/>
            <a:ext cx="533400" cy="244475"/>
          </a:xfrm>
          <a:prstGeom prst="rect">
            <a:avLst/>
          </a:prstGeom>
        </p:spPr>
        <p:txBody>
          <a:bodyPr vert="horz" anchor="ctr" anchorCtr="0">
            <a:normAutofit/>
          </a:bodyPr>
          <a:lstStyle>
            <a:lvl1pPr algn="ctr" eaLnBrk="1" latinLnBrk="0" hangingPunct="1">
              <a:defRPr kumimoji="0" sz="1400" b="1" smtClean="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E1A2495-C9EF-4F5D-966B-F1A4C60251AF}"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2292557956"/>
      </p:ext>
    </p:extLst>
  </p:cSld>
  <p:clrMap bg1="lt1" tx1="dk1" bg2="lt2" tx2="dk2" accent1="accent1" accent2="accent2" accent3="accent3" accent4="accent4" accent5="accent5" accent6="accent6" hlink="hlink" folHlink="folHlink"/>
  <p:sldLayoutIdLst>
    <p:sldLayoutId id="2147484431" r:id="rId1"/>
    <p:sldLayoutId id="2147484432" r:id="rId2"/>
    <p:sldLayoutId id="2147484433" r:id="rId3"/>
    <p:sldLayoutId id="2147484434" r:id="rId4"/>
    <p:sldLayoutId id="2147484435" r:id="rId5"/>
    <p:sldLayoutId id="2147484436" r:id="rId6"/>
    <p:sldLayoutId id="2147484437" r:id="rId7"/>
    <p:sldLayoutId id="2147484438" r:id="rId8"/>
    <p:sldLayoutId id="2147484439" r:id="rId9"/>
    <p:sldLayoutId id="2147484440" r:id="rId10"/>
    <p:sldLayoutId id="2147484441" r:id="rId11"/>
  </p:sldLayoutIdLst>
  <p:txStyles>
    <p:titleStyle>
      <a:lvl1pPr algn="l" rtl="0" fontAlgn="base">
        <a:spcBef>
          <a:spcPct val="0"/>
        </a:spcBef>
        <a:spcAft>
          <a:spcPct val="0"/>
        </a:spcAft>
        <a:defRPr sz="4400" kern="1200">
          <a:solidFill>
            <a:schemeClr val="tx2"/>
          </a:solidFill>
          <a:latin typeface="+mj-lt"/>
          <a:ea typeface="+mj-ea"/>
          <a:cs typeface="+mj-cs"/>
        </a:defRPr>
      </a:lvl1pPr>
      <a:lvl2pPr algn="l" rtl="0" fontAlgn="base">
        <a:spcBef>
          <a:spcPct val="0"/>
        </a:spcBef>
        <a:spcAft>
          <a:spcPct val="0"/>
        </a:spcAft>
        <a:defRPr sz="4400">
          <a:solidFill>
            <a:schemeClr val="tx2"/>
          </a:solidFill>
          <a:latin typeface="Tw Cen MT"/>
        </a:defRPr>
      </a:lvl2pPr>
      <a:lvl3pPr algn="l" rtl="0" fontAlgn="base">
        <a:spcBef>
          <a:spcPct val="0"/>
        </a:spcBef>
        <a:spcAft>
          <a:spcPct val="0"/>
        </a:spcAft>
        <a:defRPr sz="4400">
          <a:solidFill>
            <a:schemeClr val="tx2"/>
          </a:solidFill>
          <a:latin typeface="Tw Cen MT"/>
        </a:defRPr>
      </a:lvl3pPr>
      <a:lvl4pPr algn="l" rtl="0" fontAlgn="base">
        <a:spcBef>
          <a:spcPct val="0"/>
        </a:spcBef>
        <a:spcAft>
          <a:spcPct val="0"/>
        </a:spcAft>
        <a:defRPr sz="4400">
          <a:solidFill>
            <a:schemeClr val="tx2"/>
          </a:solidFill>
          <a:latin typeface="Tw Cen MT"/>
        </a:defRPr>
      </a:lvl4pPr>
      <a:lvl5pPr algn="l" rtl="0" fontAlgn="base">
        <a:spcBef>
          <a:spcPct val="0"/>
        </a:spcBef>
        <a:spcAft>
          <a:spcPct val="0"/>
        </a:spcAft>
        <a:defRPr sz="4400">
          <a:solidFill>
            <a:schemeClr val="tx2"/>
          </a:solidFill>
          <a:latin typeface="Tw Cen MT"/>
        </a:defRPr>
      </a:lvl5pPr>
      <a:lvl6pPr marL="457200" algn="l" rtl="0" fontAlgn="base">
        <a:spcBef>
          <a:spcPct val="0"/>
        </a:spcBef>
        <a:spcAft>
          <a:spcPct val="0"/>
        </a:spcAft>
        <a:defRPr sz="4400">
          <a:solidFill>
            <a:schemeClr val="tx2"/>
          </a:solidFill>
          <a:latin typeface="Tw Cen MT"/>
        </a:defRPr>
      </a:lvl6pPr>
      <a:lvl7pPr marL="914400" algn="l" rtl="0" fontAlgn="base">
        <a:spcBef>
          <a:spcPct val="0"/>
        </a:spcBef>
        <a:spcAft>
          <a:spcPct val="0"/>
        </a:spcAft>
        <a:defRPr sz="4400">
          <a:solidFill>
            <a:schemeClr val="tx2"/>
          </a:solidFill>
          <a:latin typeface="Tw Cen MT"/>
        </a:defRPr>
      </a:lvl7pPr>
      <a:lvl8pPr marL="1371600" algn="l" rtl="0" fontAlgn="base">
        <a:spcBef>
          <a:spcPct val="0"/>
        </a:spcBef>
        <a:spcAft>
          <a:spcPct val="0"/>
        </a:spcAft>
        <a:defRPr sz="4400">
          <a:solidFill>
            <a:schemeClr val="tx2"/>
          </a:solidFill>
          <a:latin typeface="Tw Cen MT"/>
        </a:defRPr>
      </a:lvl8pPr>
      <a:lvl9pPr marL="1828800" algn="l" rtl="0" fontAlgn="base">
        <a:spcBef>
          <a:spcPct val="0"/>
        </a:spcBef>
        <a:spcAft>
          <a:spcPct val="0"/>
        </a:spcAft>
        <a:defRPr sz="4400">
          <a:solidFill>
            <a:schemeClr val="tx2"/>
          </a:solidFill>
          <a:latin typeface="Tw Cen MT"/>
        </a:defRPr>
      </a:lvl9pPr>
    </p:titleStyle>
    <p:bodyStyle>
      <a:lvl1pPr marL="319088" indent="-319088" algn="l" rtl="0" fontAlgn="base">
        <a:spcBef>
          <a:spcPts val="700"/>
        </a:spcBef>
        <a:spcAft>
          <a:spcPct val="0"/>
        </a:spcAft>
        <a:buClr>
          <a:schemeClr val="accent2"/>
        </a:buClr>
        <a:buSzPct val="60000"/>
        <a:buFont typeface="Wingdings" pitchFamily="2" charset="2"/>
        <a:buChar char=""/>
        <a:defRPr sz="2900" kern="1200">
          <a:solidFill>
            <a:schemeClr val="tx1"/>
          </a:solidFill>
          <a:latin typeface="+mn-lt"/>
          <a:ea typeface="+mn-ea"/>
          <a:cs typeface="+mn-cs"/>
        </a:defRPr>
      </a:lvl1pPr>
      <a:lvl2pPr marL="639763" indent="-273050" algn="l" rtl="0" fontAlgn="base">
        <a:spcBef>
          <a:spcPts val="550"/>
        </a:spcBef>
        <a:spcAft>
          <a:spcPct val="0"/>
        </a:spcAft>
        <a:buClr>
          <a:schemeClr val="accent1"/>
        </a:buClr>
        <a:buSzPct val="70000"/>
        <a:buFont typeface="Wingdings 2" pitchFamily="18" charset="2"/>
        <a:buChar char=""/>
        <a:defRPr sz="2600" kern="1200">
          <a:solidFill>
            <a:schemeClr val="tx1"/>
          </a:solidFill>
          <a:latin typeface="+mn-lt"/>
          <a:ea typeface="+mn-ea"/>
          <a:cs typeface="+mn-cs"/>
        </a:defRPr>
      </a:lvl2pPr>
      <a:lvl3pPr marL="914400" indent="-228600" algn="l" rtl="0" fontAlgn="base">
        <a:spcBef>
          <a:spcPts val="500"/>
        </a:spcBef>
        <a:spcAft>
          <a:spcPct val="0"/>
        </a:spcAft>
        <a:buClr>
          <a:schemeClr val="accent2"/>
        </a:buClr>
        <a:buSzPct val="75000"/>
        <a:buFont typeface="Wingdings" pitchFamily="2" charset="2"/>
        <a:buChar char=""/>
        <a:defRPr sz="2300" kern="1200">
          <a:solidFill>
            <a:schemeClr val="tx1"/>
          </a:solidFill>
          <a:latin typeface="+mn-lt"/>
          <a:ea typeface="+mn-ea"/>
          <a:cs typeface="+mn-cs"/>
        </a:defRPr>
      </a:lvl3pPr>
      <a:lvl4pPr marL="1371600" indent="-228600" algn="l" rtl="0" fontAlgn="base">
        <a:spcBef>
          <a:spcPts val="400"/>
        </a:spcBef>
        <a:spcAft>
          <a:spcPct val="0"/>
        </a:spcAft>
        <a:buClr>
          <a:srgbClr val="A5AB81"/>
        </a:buClr>
        <a:buSzPct val="75000"/>
        <a:buFont typeface="Wingdings" pitchFamily="2" charset="2"/>
        <a:buChar char=""/>
        <a:defRPr sz="2000" kern="1200">
          <a:solidFill>
            <a:schemeClr val="tx1"/>
          </a:solidFill>
          <a:latin typeface="+mn-lt"/>
          <a:ea typeface="+mn-ea"/>
          <a:cs typeface="+mn-cs"/>
        </a:defRPr>
      </a:lvl4pPr>
      <a:lvl5pPr marL="1828800" indent="-228600" algn="l" rtl="0" fontAlgn="base">
        <a:spcBef>
          <a:spcPts val="400"/>
        </a:spcBef>
        <a:spcAft>
          <a:spcPct val="0"/>
        </a:spcAft>
        <a:buClr>
          <a:srgbClr val="D8B25C"/>
        </a:buClr>
        <a:buSzPct val="65000"/>
        <a:buFont typeface="Wingdings" pitchFamily="2" charset="2"/>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21"/>
          <p:cNvSpPr>
            <a:spLocks noGrp="1"/>
          </p:cNvSpPr>
          <p:nvPr>
            <p:ph type="title"/>
          </p:nvPr>
        </p:nvSpPr>
        <p:spPr bwMode="auto">
          <a:xfrm>
            <a:off x="609600" y="228600"/>
            <a:ext cx="8153400" cy="990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1" name="Text Placeholder 12"/>
          <p:cNvSpPr>
            <a:spLocks noGrp="1"/>
          </p:cNvSpPr>
          <p:nvPr>
            <p:ph type="body" idx="1"/>
          </p:nvPr>
        </p:nvSpPr>
        <p:spPr bwMode="auto">
          <a:xfrm>
            <a:off x="612775" y="1600200"/>
            <a:ext cx="8153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4" name="Date Placeholder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3" name="Footer Placeholder 2"/>
          <p:cNvSpPr>
            <a:spLocks noGrp="1"/>
          </p:cNvSpPr>
          <p:nvPr>
            <p:ph type="ftr" sz="quarter" idx="3"/>
          </p:nvPr>
        </p:nvSpPr>
        <p:spPr>
          <a:xfrm>
            <a:off x="609600" y="6248400"/>
            <a:ext cx="5421313" cy="365125"/>
          </a:xfrm>
          <a:prstGeom prst="rect">
            <a:avLst/>
          </a:prstGeom>
        </p:spPr>
        <p:txBody>
          <a:bodyPr vert="horz" anchor="ctr"/>
          <a:lstStyle>
            <a:lvl1pPr algn="r" eaLnBrk="1" latinLnBrk="0" hangingPunct="1">
              <a:defRPr kumimoji="0" sz="14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7" name="Rectangle 6"/>
          <p:cNvSpPr/>
          <p:nvPr/>
        </p:nvSpPr>
        <p:spPr bwMode="white">
          <a:xfrm>
            <a:off x="0" y="1235075"/>
            <a:ext cx="9144000" cy="31908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8" name="Rectangle 7"/>
          <p:cNvSpPr/>
          <p:nvPr/>
        </p:nvSpPr>
        <p:spPr>
          <a:xfrm>
            <a:off x="0" y="1279525"/>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9" name="Rectangle 8"/>
          <p:cNvSpPr/>
          <p:nvPr/>
        </p:nvSpPr>
        <p:spPr>
          <a:xfrm>
            <a:off x="590550" y="1279525"/>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23" name="Slide Number Placeholder 22"/>
          <p:cNvSpPr>
            <a:spLocks noGrp="1"/>
          </p:cNvSpPr>
          <p:nvPr>
            <p:ph type="sldNum" sz="quarter" idx="4"/>
          </p:nvPr>
        </p:nvSpPr>
        <p:spPr>
          <a:xfrm>
            <a:off x="0" y="1271588"/>
            <a:ext cx="533400" cy="244475"/>
          </a:xfrm>
          <a:prstGeom prst="rect">
            <a:avLst/>
          </a:prstGeom>
        </p:spPr>
        <p:txBody>
          <a:bodyPr vert="horz" anchor="ctr" anchorCtr="0">
            <a:normAutofit/>
          </a:bodyPr>
          <a:lstStyle>
            <a:lvl1pPr algn="ctr" eaLnBrk="1" latinLnBrk="0" hangingPunct="1">
              <a:defRPr kumimoji="0" sz="1400" b="1" smtClean="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E1A2495-C9EF-4F5D-966B-F1A4C60251AF}"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222198258"/>
      </p:ext>
    </p:extLst>
  </p:cSld>
  <p:clrMap bg1="lt1" tx1="dk1" bg2="lt2" tx2="dk2" accent1="accent1" accent2="accent2" accent3="accent3" accent4="accent4" accent5="accent5" accent6="accent6" hlink="hlink" folHlink="folHlink"/>
  <p:sldLayoutIdLst>
    <p:sldLayoutId id="2147484443" r:id="rId1"/>
    <p:sldLayoutId id="2147484444" r:id="rId2"/>
    <p:sldLayoutId id="2147484445" r:id="rId3"/>
    <p:sldLayoutId id="2147484446" r:id="rId4"/>
    <p:sldLayoutId id="2147484447" r:id="rId5"/>
    <p:sldLayoutId id="2147484448" r:id="rId6"/>
    <p:sldLayoutId id="2147484449" r:id="rId7"/>
    <p:sldLayoutId id="2147484450" r:id="rId8"/>
    <p:sldLayoutId id="2147484451" r:id="rId9"/>
    <p:sldLayoutId id="2147484452" r:id="rId10"/>
    <p:sldLayoutId id="2147484453" r:id="rId11"/>
  </p:sldLayoutIdLst>
  <p:txStyles>
    <p:titleStyle>
      <a:lvl1pPr algn="l" rtl="0" fontAlgn="base">
        <a:spcBef>
          <a:spcPct val="0"/>
        </a:spcBef>
        <a:spcAft>
          <a:spcPct val="0"/>
        </a:spcAft>
        <a:defRPr sz="4400" kern="1200">
          <a:solidFill>
            <a:schemeClr val="tx2"/>
          </a:solidFill>
          <a:latin typeface="+mj-lt"/>
          <a:ea typeface="+mj-ea"/>
          <a:cs typeface="+mj-cs"/>
        </a:defRPr>
      </a:lvl1pPr>
      <a:lvl2pPr algn="l" rtl="0" fontAlgn="base">
        <a:spcBef>
          <a:spcPct val="0"/>
        </a:spcBef>
        <a:spcAft>
          <a:spcPct val="0"/>
        </a:spcAft>
        <a:defRPr sz="4400">
          <a:solidFill>
            <a:schemeClr val="tx2"/>
          </a:solidFill>
          <a:latin typeface="Tw Cen MT"/>
        </a:defRPr>
      </a:lvl2pPr>
      <a:lvl3pPr algn="l" rtl="0" fontAlgn="base">
        <a:spcBef>
          <a:spcPct val="0"/>
        </a:spcBef>
        <a:spcAft>
          <a:spcPct val="0"/>
        </a:spcAft>
        <a:defRPr sz="4400">
          <a:solidFill>
            <a:schemeClr val="tx2"/>
          </a:solidFill>
          <a:latin typeface="Tw Cen MT"/>
        </a:defRPr>
      </a:lvl3pPr>
      <a:lvl4pPr algn="l" rtl="0" fontAlgn="base">
        <a:spcBef>
          <a:spcPct val="0"/>
        </a:spcBef>
        <a:spcAft>
          <a:spcPct val="0"/>
        </a:spcAft>
        <a:defRPr sz="4400">
          <a:solidFill>
            <a:schemeClr val="tx2"/>
          </a:solidFill>
          <a:latin typeface="Tw Cen MT"/>
        </a:defRPr>
      </a:lvl4pPr>
      <a:lvl5pPr algn="l" rtl="0" fontAlgn="base">
        <a:spcBef>
          <a:spcPct val="0"/>
        </a:spcBef>
        <a:spcAft>
          <a:spcPct val="0"/>
        </a:spcAft>
        <a:defRPr sz="4400">
          <a:solidFill>
            <a:schemeClr val="tx2"/>
          </a:solidFill>
          <a:latin typeface="Tw Cen MT"/>
        </a:defRPr>
      </a:lvl5pPr>
      <a:lvl6pPr marL="457200" algn="l" rtl="0" fontAlgn="base">
        <a:spcBef>
          <a:spcPct val="0"/>
        </a:spcBef>
        <a:spcAft>
          <a:spcPct val="0"/>
        </a:spcAft>
        <a:defRPr sz="4400">
          <a:solidFill>
            <a:schemeClr val="tx2"/>
          </a:solidFill>
          <a:latin typeface="Tw Cen MT"/>
        </a:defRPr>
      </a:lvl6pPr>
      <a:lvl7pPr marL="914400" algn="l" rtl="0" fontAlgn="base">
        <a:spcBef>
          <a:spcPct val="0"/>
        </a:spcBef>
        <a:spcAft>
          <a:spcPct val="0"/>
        </a:spcAft>
        <a:defRPr sz="4400">
          <a:solidFill>
            <a:schemeClr val="tx2"/>
          </a:solidFill>
          <a:latin typeface="Tw Cen MT"/>
        </a:defRPr>
      </a:lvl7pPr>
      <a:lvl8pPr marL="1371600" algn="l" rtl="0" fontAlgn="base">
        <a:spcBef>
          <a:spcPct val="0"/>
        </a:spcBef>
        <a:spcAft>
          <a:spcPct val="0"/>
        </a:spcAft>
        <a:defRPr sz="4400">
          <a:solidFill>
            <a:schemeClr val="tx2"/>
          </a:solidFill>
          <a:latin typeface="Tw Cen MT"/>
        </a:defRPr>
      </a:lvl8pPr>
      <a:lvl9pPr marL="1828800" algn="l" rtl="0" fontAlgn="base">
        <a:spcBef>
          <a:spcPct val="0"/>
        </a:spcBef>
        <a:spcAft>
          <a:spcPct val="0"/>
        </a:spcAft>
        <a:defRPr sz="4400">
          <a:solidFill>
            <a:schemeClr val="tx2"/>
          </a:solidFill>
          <a:latin typeface="Tw Cen MT"/>
        </a:defRPr>
      </a:lvl9pPr>
    </p:titleStyle>
    <p:bodyStyle>
      <a:lvl1pPr marL="319088" indent="-319088" algn="l" rtl="0" fontAlgn="base">
        <a:spcBef>
          <a:spcPts val="700"/>
        </a:spcBef>
        <a:spcAft>
          <a:spcPct val="0"/>
        </a:spcAft>
        <a:buClr>
          <a:schemeClr val="accent2"/>
        </a:buClr>
        <a:buSzPct val="60000"/>
        <a:buFont typeface="Wingdings" pitchFamily="2" charset="2"/>
        <a:buChar char=""/>
        <a:defRPr sz="2900" kern="1200">
          <a:solidFill>
            <a:schemeClr val="tx1"/>
          </a:solidFill>
          <a:latin typeface="+mn-lt"/>
          <a:ea typeface="+mn-ea"/>
          <a:cs typeface="+mn-cs"/>
        </a:defRPr>
      </a:lvl1pPr>
      <a:lvl2pPr marL="639763" indent="-273050" algn="l" rtl="0" fontAlgn="base">
        <a:spcBef>
          <a:spcPts val="550"/>
        </a:spcBef>
        <a:spcAft>
          <a:spcPct val="0"/>
        </a:spcAft>
        <a:buClr>
          <a:schemeClr val="accent1"/>
        </a:buClr>
        <a:buSzPct val="70000"/>
        <a:buFont typeface="Wingdings 2" pitchFamily="18" charset="2"/>
        <a:buChar char=""/>
        <a:defRPr sz="2600" kern="1200">
          <a:solidFill>
            <a:schemeClr val="tx1"/>
          </a:solidFill>
          <a:latin typeface="+mn-lt"/>
          <a:ea typeface="+mn-ea"/>
          <a:cs typeface="+mn-cs"/>
        </a:defRPr>
      </a:lvl2pPr>
      <a:lvl3pPr marL="914400" indent="-228600" algn="l" rtl="0" fontAlgn="base">
        <a:spcBef>
          <a:spcPts val="500"/>
        </a:spcBef>
        <a:spcAft>
          <a:spcPct val="0"/>
        </a:spcAft>
        <a:buClr>
          <a:schemeClr val="accent2"/>
        </a:buClr>
        <a:buSzPct val="75000"/>
        <a:buFont typeface="Wingdings" pitchFamily="2" charset="2"/>
        <a:buChar char=""/>
        <a:defRPr sz="2300" kern="1200">
          <a:solidFill>
            <a:schemeClr val="tx1"/>
          </a:solidFill>
          <a:latin typeface="+mn-lt"/>
          <a:ea typeface="+mn-ea"/>
          <a:cs typeface="+mn-cs"/>
        </a:defRPr>
      </a:lvl3pPr>
      <a:lvl4pPr marL="1371600" indent="-228600" algn="l" rtl="0" fontAlgn="base">
        <a:spcBef>
          <a:spcPts val="400"/>
        </a:spcBef>
        <a:spcAft>
          <a:spcPct val="0"/>
        </a:spcAft>
        <a:buClr>
          <a:srgbClr val="A5AB81"/>
        </a:buClr>
        <a:buSzPct val="75000"/>
        <a:buFont typeface="Wingdings" pitchFamily="2" charset="2"/>
        <a:buChar char=""/>
        <a:defRPr sz="2000" kern="1200">
          <a:solidFill>
            <a:schemeClr val="tx1"/>
          </a:solidFill>
          <a:latin typeface="+mn-lt"/>
          <a:ea typeface="+mn-ea"/>
          <a:cs typeface="+mn-cs"/>
        </a:defRPr>
      </a:lvl4pPr>
      <a:lvl5pPr marL="1828800" indent="-228600" algn="l" rtl="0" fontAlgn="base">
        <a:spcBef>
          <a:spcPts val="400"/>
        </a:spcBef>
        <a:spcAft>
          <a:spcPct val="0"/>
        </a:spcAft>
        <a:buClr>
          <a:srgbClr val="D8B25C"/>
        </a:buClr>
        <a:buSzPct val="65000"/>
        <a:buFont typeface="Wingdings" pitchFamily="2" charset="2"/>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alphaModFix amt="51000"/>
            <a:lum/>
          </a:blip>
          <a:srcRect/>
          <a:tile tx="0" ty="0" sx="75000" sy="80000" flip="none" algn="tl"/>
        </a:blipFill>
        <a:effectLst/>
      </p:bgPr>
    </p:bg>
    <p:spTree>
      <p:nvGrpSpPr>
        <p:cNvPr id="1" name=""/>
        <p:cNvGrpSpPr/>
        <p:nvPr/>
      </p:nvGrpSpPr>
      <p:grpSpPr>
        <a:xfrm>
          <a:off x="0" y="0"/>
          <a:ext cx="0" cy="0"/>
          <a:chOff x="0" y="0"/>
          <a:chExt cx="0" cy="0"/>
        </a:xfrm>
      </p:grpSpPr>
      <p:sp>
        <p:nvSpPr>
          <p:cNvPr id="8194" name="Title Placeholder 21"/>
          <p:cNvSpPr>
            <a:spLocks noGrp="1"/>
          </p:cNvSpPr>
          <p:nvPr>
            <p:ph type="title"/>
          </p:nvPr>
        </p:nvSpPr>
        <p:spPr bwMode="auto">
          <a:xfrm>
            <a:off x="609600" y="228600"/>
            <a:ext cx="81534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8195" name="Text Placeholder 12"/>
          <p:cNvSpPr>
            <a:spLocks noGrp="1"/>
          </p:cNvSpPr>
          <p:nvPr>
            <p:ph type="body" idx="1"/>
          </p:nvPr>
        </p:nvSpPr>
        <p:spPr bwMode="auto">
          <a:xfrm>
            <a:off x="612775" y="1600200"/>
            <a:ext cx="8153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4" name="Date Placeholder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pPr fontAlgn="base">
              <a:spcBef>
                <a:spcPct val="0"/>
              </a:spcBef>
              <a:spcAft>
                <a:spcPct val="0"/>
              </a:spcAft>
              <a:defRPr/>
            </a:pPr>
            <a:endParaRPr lang="en-US">
              <a:solidFill>
                <a:srgbClr val="775F55"/>
              </a:solidFill>
              <a:latin typeface="Times New Roman" pitchFamily="18" charset="0"/>
            </a:endParaRPr>
          </a:p>
        </p:txBody>
      </p:sp>
      <p:sp>
        <p:nvSpPr>
          <p:cNvPr id="3" name="Footer Placeholder 2"/>
          <p:cNvSpPr>
            <a:spLocks noGrp="1"/>
          </p:cNvSpPr>
          <p:nvPr>
            <p:ph type="ftr" sz="quarter" idx="3"/>
          </p:nvPr>
        </p:nvSpPr>
        <p:spPr>
          <a:xfrm>
            <a:off x="609600" y="6248400"/>
            <a:ext cx="5421313" cy="365125"/>
          </a:xfrm>
          <a:prstGeom prst="rect">
            <a:avLst/>
          </a:prstGeom>
        </p:spPr>
        <p:txBody>
          <a:bodyPr vert="horz" anchor="ctr"/>
          <a:lstStyle>
            <a:lvl1pPr algn="r" eaLnBrk="1" latinLnBrk="0" hangingPunct="1">
              <a:defRPr kumimoji="0" sz="1400">
                <a:solidFill>
                  <a:schemeClr val="tx2"/>
                </a:solidFill>
              </a:defRPr>
            </a:lvl1pPr>
          </a:lstStyle>
          <a:p>
            <a:pPr fontAlgn="base">
              <a:spcBef>
                <a:spcPct val="0"/>
              </a:spcBef>
              <a:spcAft>
                <a:spcPct val="0"/>
              </a:spcAft>
              <a:defRPr/>
            </a:pPr>
            <a:endParaRPr lang="en-US">
              <a:solidFill>
                <a:srgbClr val="775F55"/>
              </a:solidFill>
              <a:latin typeface="Times New Roman" pitchFamily="18" charset="0"/>
            </a:endParaRPr>
          </a:p>
        </p:txBody>
      </p:sp>
      <p:sp>
        <p:nvSpPr>
          <p:cNvPr id="7" name="Rectangle 6"/>
          <p:cNvSpPr/>
          <p:nvPr/>
        </p:nvSpPr>
        <p:spPr bwMode="white">
          <a:xfrm>
            <a:off x="0" y="1235075"/>
            <a:ext cx="9144000" cy="31908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8" name="Rectangle 7"/>
          <p:cNvSpPr/>
          <p:nvPr/>
        </p:nvSpPr>
        <p:spPr>
          <a:xfrm>
            <a:off x="0" y="1279525"/>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9" name="Rectangle 8"/>
          <p:cNvSpPr/>
          <p:nvPr/>
        </p:nvSpPr>
        <p:spPr>
          <a:xfrm>
            <a:off x="590550" y="1279525"/>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23" name="Slide Number Placeholder 22"/>
          <p:cNvSpPr>
            <a:spLocks noGrp="1"/>
          </p:cNvSpPr>
          <p:nvPr>
            <p:ph type="sldNum" sz="quarter" idx="4"/>
          </p:nvPr>
        </p:nvSpPr>
        <p:spPr>
          <a:xfrm>
            <a:off x="0" y="1271588"/>
            <a:ext cx="533400" cy="244475"/>
          </a:xfrm>
          <a:prstGeom prst="rect">
            <a:avLst/>
          </a:prstGeom>
        </p:spPr>
        <p:txBody>
          <a:bodyPr vert="horz" anchor="ctr" anchorCtr="0">
            <a:normAutofit/>
          </a:bodyPr>
          <a:lstStyle>
            <a:lvl1pPr algn="ctr" eaLnBrk="1" latinLnBrk="0" hangingPunct="1">
              <a:defRPr kumimoji="0" sz="1400" b="1" smtClean="0">
                <a:solidFill>
                  <a:srgbClr val="FFFFFF"/>
                </a:solidFill>
              </a:defRPr>
            </a:lvl1pPr>
          </a:lstStyle>
          <a:p>
            <a:pPr fontAlgn="base">
              <a:spcBef>
                <a:spcPct val="0"/>
              </a:spcBef>
              <a:spcAft>
                <a:spcPct val="0"/>
              </a:spcAft>
              <a:defRPr/>
            </a:pPr>
            <a:fld id="{1F2D5CDE-A10F-4EA5-B631-CB12D706789E}" type="slidenum">
              <a:rPr lang="en-US">
                <a:latin typeface="Times New Roman" pitchFamily="18" charset="0"/>
              </a:rPr>
              <a:pPr fontAlgn="base">
                <a:spcBef>
                  <a:spcPct val="0"/>
                </a:spcBef>
                <a:spcAft>
                  <a:spcPct val="0"/>
                </a:spcAft>
                <a:defRPr/>
              </a:pPr>
              <a:t>‹#›</a:t>
            </a:fld>
            <a:endParaRPr lang="en-US">
              <a:latin typeface="Times New Roman" pitchFamily="18" charset="0"/>
            </a:endParaRPr>
          </a:p>
        </p:txBody>
      </p:sp>
      <p:pic>
        <p:nvPicPr>
          <p:cNvPr id="8202" name="Picture 10" descr="C:\Documents and Settings\Bucky Boaz\My Documents\My Pictures\2002-03-16\x-ray-01.jp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30655871"/>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20" r:id="rId12"/>
  </p:sldLayoutIdLst>
  <p:txStyles>
    <p:titleStyle>
      <a:lvl1pPr algn="l" rtl="0" fontAlgn="base">
        <a:spcBef>
          <a:spcPct val="0"/>
        </a:spcBef>
        <a:spcAft>
          <a:spcPct val="0"/>
        </a:spcAft>
        <a:defRPr sz="4400" kern="1200">
          <a:solidFill>
            <a:schemeClr val="tx2"/>
          </a:solidFill>
          <a:latin typeface="+mj-lt"/>
          <a:ea typeface="+mj-ea"/>
          <a:cs typeface="+mj-cs"/>
        </a:defRPr>
      </a:lvl1pPr>
      <a:lvl2pPr algn="l" rtl="0" fontAlgn="base">
        <a:spcBef>
          <a:spcPct val="0"/>
        </a:spcBef>
        <a:spcAft>
          <a:spcPct val="0"/>
        </a:spcAft>
        <a:defRPr sz="4400">
          <a:solidFill>
            <a:schemeClr val="tx2"/>
          </a:solidFill>
          <a:latin typeface="Tw Cen MT" pitchFamily="34" charset="0"/>
        </a:defRPr>
      </a:lvl2pPr>
      <a:lvl3pPr algn="l" rtl="0" fontAlgn="base">
        <a:spcBef>
          <a:spcPct val="0"/>
        </a:spcBef>
        <a:spcAft>
          <a:spcPct val="0"/>
        </a:spcAft>
        <a:defRPr sz="4400">
          <a:solidFill>
            <a:schemeClr val="tx2"/>
          </a:solidFill>
          <a:latin typeface="Tw Cen MT" pitchFamily="34" charset="0"/>
        </a:defRPr>
      </a:lvl3pPr>
      <a:lvl4pPr algn="l" rtl="0" fontAlgn="base">
        <a:spcBef>
          <a:spcPct val="0"/>
        </a:spcBef>
        <a:spcAft>
          <a:spcPct val="0"/>
        </a:spcAft>
        <a:defRPr sz="4400">
          <a:solidFill>
            <a:schemeClr val="tx2"/>
          </a:solidFill>
          <a:latin typeface="Tw Cen MT" pitchFamily="34" charset="0"/>
        </a:defRPr>
      </a:lvl4pPr>
      <a:lvl5pPr algn="l" rtl="0" fontAlgn="base">
        <a:spcBef>
          <a:spcPct val="0"/>
        </a:spcBef>
        <a:spcAft>
          <a:spcPct val="0"/>
        </a:spcAft>
        <a:defRPr sz="4400">
          <a:solidFill>
            <a:schemeClr val="tx2"/>
          </a:solidFill>
          <a:latin typeface="Tw Cen MT" pitchFamily="34" charset="0"/>
        </a:defRPr>
      </a:lvl5pPr>
      <a:lvl6pPr marL="457200" algn="l" rtl="0" fontAlgn="base">
        <a:spcBef>
          <a:spcPct val="0"/>
        </a:spcBef>
        <a:spcAft>
          <a:spcPct val="0"/>
        </a:spcAft>
        <a:defRPr sz="4400">
          <a:solidFill>
            <a:schemeClr val="tx2"/>
          </a:solidFill>
          <a:latin typeface="Tw Cen MT" pitchFamily="34" charset="0"/>
        </a:defRPr>
      </a:lvl6pPr>
      <a:lvl7pPr marL="914400" algn="l" rtl="0" fontAlgn="base">
        <a:spcBef>
          <a:spcPct val="0"/>
        </a:spcBef>
        <a:spcAft>
          <a:spcPct val="0"/>
        </a:spcAft>
        <a:defRPr sz="4400">
          <a:solidFill>
            <a:schemeClr val="tx2"/>
          </a:solidFill>
          <a:latin typeface="Tw Cen MT" pitchFamily="34" charset="0"/>
        </a:defRPr>
      </a:lvl7pPr>
      <a:lvl8pPr marL="1371600" algn="l" rtl="0" fontAlgn="base">
        <a:spcBef>
          <a:spcPct val="0"/>
        </a:spcBef>
        <a:spcAft>
          <a:spcPct val="0"/>
        </a:spcAft>
        <a:defRPr sz="4400">
          <a:solidFill>
            <a:schemeClr val="tx2"/>
          </a:solidFill>
          <a:latin typeface="Tw Cen MT" pitchFamily="34" charset="0"/>
        </a:defRPr>
      </a:lvl8pPr>
      <a:lvl9pPr marL="1828800" algn="l" rtl="0" fontAlgn="base">
        <a:spcBef>
          <a:spcPct val="0"/>
        </a:spcBef>
        <a:spcAft>
          <a:spcPct val="0"/>
        </a:spcAft>
        <a:defRPr sz="4400">
          <a:solidFill>
            <a:schemeClr val="tx2"/>
          </a:solidFill>
          <a:latin typeface="Tw Cen MT" pitchFamily="34" charset="0"/>
        </a:defRPr>
      </a:lvl9pPr>
    </p:titleStyle>
    <p:bodyStyle>
      <a:lvl1pPr marL="319088" indent="-319088" algn="l" rtl="0" fontAlgn="base">
        <a:spcBef>
          <a:spcPts val="700"/>
        </a:spcBef>
        <a:spcAft>
          <a:spcPct val="0"/>
        </a:spcAft>
        <a:buClr>
          <a:schemeClr val="accent2"/>
        </a:buClr>
        <a:buSzPct val="60000"/>
        <a:buFont typeface="Wingdings" pitchFamily="2" charset="2"/>
        <a:buChar char=""/>
        <a:defRPr sz="2900" kern="1200">
          <a:solidFill>
            <a:schemeClr val="tx1"/>
          </a:solidFill>
          <a:latin typeface="+mn-lt"/>
          <a:ea typeface="+mn-ea"/>
          <a:cs typeface="+mn-cs"/>
        </a:defRPr>
      </a:lvl1pPr>
      <a:lvl2pPr marL="639763" indent="-273050" algn="l" rtl="0" fontAlgn="base">
        <a:spcBef>
          <a:spcPts val="550"/>
        </a:spcBef>
        <a:spcAft>
          <a:spcPct val="0"/>
        </a:spcAft>
        <a:buClr>
          <a:schemeClr val="accent1"/>
        </a:buClr>
        <a:buSzPct val="70000"/>
        <a:buFont typeface="Wingdings 2" pitchFamily="18" charset="2"/>
        <a:buChar char=""/>
        <a:defRPr sz="2600" kern="1200">
          <a:solidFill>
            <a:schemeClr val="tx1"/>
          </a:solidFill>
          <a:latin typeface="+mn-lt"/>
          <a:ea typeface="+mn-ea"/>
          <a:cs typeface="+mn-cs"/>
        </a:defRPr>
      </a:lvl2pPr>
      <a:lvl3pPr marL="914400" indent="-228600" algn="l" rtl="0" fontAlgn="base">
        <a:spcBef>
          <a:spcPts val="500"/>
        </a:spcBef>
        <a:spcAft>
          <a:spcPct val="0"/>
        </a:spcAft>
        <a:buClr>
          <a:schemeClr val="accent2"/>
        </a:buClr>
        <a:buSzPct val="75000"/>
        <a:buFont typeface="Wingdings" pitchFamily="2" charset="2"/>
        <a:buChar char=""/>
        <a:defRPr sz="2300" kern="1200">
          <a:solidFill>
            <a:schemeClr val="tx1"/>
          </a:solidFill>
          <a:latin typeface="+mn-lt"/>
          <a:ea typeface="+mn-ea"/>
          <a:cs typeface="+mn-cs"/>
        </a:defRPr>
      </a:lvl3pPr>
      <a:lvl4pPr marL="1371600" indent="-228600" algn="l" rtl="0" fontAlgn="base">
        <a:spcBef>
          <a:spcPts val="400"/>
        </a:spcBef>
        <a:spcAft>
          <a:spcPct val="0"/>
        </a:spcAft>
        <a:buClr>
          <a:srgbClr val="A5AB81"/>
        </a:buClr>
        <a:buSzPct val="75000"/>
        <a:buFont typeface="Wingdings" pitchFamily="2" charset="2"/>
        <a:buChar char=""/>
        <a:defRPr sz="2000" kern="1200">
          <a:solidFill>
            <a:schemeClr val="tx1"/>
          </a:solidFill>
          <a:latin typeface="+mn-lt"/>
          <a:ea typeface="+mn-ea"/>
          <a:cs typeface="+mn-cs"/>
        </a:defRPr>
      </a:lvl4pPr>
      <a:lvl5pPr marL="1828800" indent="-228600" algn="l" rtl="0" fontAlgn="base">
        <a:spcBef>
          <a:spcPts val="400"/>
        </a:spcBef>
        <a:spcAft>
          <a:spcPct val="0"/>
        </a:spcAft>
        <a:buClr>
          <a:srgbClr val="D8B25C"/>
        </a:buClr>
        <a:buSzPct val="65000"/>
        <a:buFont typeface="Wingdings" pitchFamily="2" charset="2"/>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21"/>
          <p:cNvSpPr>
            <a:spLocks noGrp="1"/>
          </p:cNvSpPr>
          <p:nvPr>
            <p:ph type="title"/>
          </p:nvPr>
        </p:nvSpPr>
        <p:spPr bwMode="auto">
          <a:xfrm>
            <a:off x="609600" y="228600"/>
            <a:ext cx="8153400" cy="990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1" name="Text Placeholder 12"/>
          <p:cNvSpPr>
            <a:spLocks noGrp="1"/>
          </p:cNvSpPr>
          <p:nvPr>
            <p:ph type="body" idx="1"/>
          </p:nvPr>
        </p:nvSpPr>
        <p:spPr bwMode="auto">
          <a:xfrm>
            <a:off x="612775" y="1600200"/>
            <a:ext cx="8153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4" name="Date Placeholder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3" name="Footer Placeholder 2"/>
          <p:cNvSpPr>
            <a:spLocks noGrp="1"/>
          </p:cNvSpPr>
          <p:nvPr>
            <p:ph type="ftr" sz="quarter" idx="3"/>
          </p:nvPr>
        </p:nvSpPr>
        <p:spPr>
          <a:xfrm>
            <a:off x="609600" y="6248400"/>
            <a:ext cx="5421313" cy="365125"/>
          </a:xfrm>
          <a:prstGeom prst="rect">
            <a:avLst/>
          </a:prstGeom>
        </p:spPr>
        <p:txBody>
          <a:bodyPr vert="horz" anchor="ctr"/>
          <a:lstStyle>
            <a:lvl1pPr algn="r" eaLnBrk="1" latinLnBrk="0" hangingPunct="1">
              <a:defRPr kumimoji="0" sz="14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75F55"/>
              </a:solidFill>
              <a:effectLst/>
              <a:uLnTx/>
              <a:uFillTx/>
              <a:latin typeface="Tw Cen MT"/>
              <a:ea typeface="+mn-ea"/>
              <a:cs typeface="+mn-cs"/>
            </a:endParaRPr>
          </a:p>
        </p:txBody>
      </p:sp>
      <p:sp>
        <p:nvSpPr>
          <p:cNvPr id="7" name="Rectangle 6"/>
          <p:cNvSpPr/>
          <p:nvPr/>
        </p:nvSpPr>
        <p:spPr bwMode="white">
          <a:xfrm>
            <a:off x="0" y="1235075"/>
            <a:ext cx="9144000" cy="31908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8" name="Rectangle 7"/>
          <p:cNvSpPr/>
          <p:nvPr/>
        </p:nvSpPr>
        <p:spPr>
          <a:xfrm>
            <a:off x="0" y="1279525"/>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9" name="Rectangle 8"/>
          <p:cNvSpPr/>
          <p:nvPr/>
        </p:nvSpPr>
        <p:spPr>
          <a:xfrm>
            <a:off x="590550" y="1279525"/>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23" name="Slide Number Placeholder 22"/>
          <p:cNvSpPr>
            <a:spLocks noGrp="1"/>
          </p:cNvSpPr>
          <p:nvPr>
            <p:ph type="sldNum" sz="quarter" idx="4"/>
          </p:nvPr>
        </p:nvSpPr>
        <p:spPr>
          <a:xfrm>
            <a:off x="0" y="1271588"/>
            <a:ext cx="533400" cy="244475"/>
          </a:xfrm>
          <a:prstGeom prst="rect">
            <a:avLst/>
          </a:prstGeom>
        </p:spPr>
        <p:txBody>
          <a:bodyPr vert="horz" anchor="ctr" anchorCtr="0">
            <a:normAutofit/>
          </a:bodyPr>
          <a:lstStyle>
            <a:lvl1pPr algn="ctr" eaLnBrk="1" latinLnBrk="0" hangingPunct="1">
              <a:defRPr kumimoji="0" sz="1400" b="1" smtClean="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E1A2495-C9EF-4F5D-966B-F1A4C60251AF}" type="slidenum">
              <a:rPr kumimoji="0" lang="ar-SA" sz="1400" b="1" i="0" u="none" strike="noStrike" kern="1200" cap="none" spc="0" normalizeH="0" baseline="0" noProof="0">
                <a:ln>
                  <a:noFill/>
                </a:ln>
                <a:solidFill>
                  <a:srgbClr val="FFFFFF"/>
                </a:solidFill>
                <a:effectLst/>
                <a:uLnTx/>
                <a:uFillTx/>
                <a:latin typeface="Tw Cen MT"/>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400" b="1" i="0" u="none" strike="noStrike" kern="1200" cap="none" spc="0" normalizeH="0" baseline="0" noProof="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396575409"/>
      </p:ext>
    </p:extLst>
  </p:cSld>
  <p:clrMap bg1="lt1" tx1="dk1" bg2="lt2" tx2="dk2" accent1="accent1" accent2="accent2" accent3="accent3" accent4="accent4" accent5="accent5" accent6="accent6" hlink="hlink" folHlink="folHlink"/>
  <p:sldLayoutIdLst>
    <p:sldLayoutId id="2147484455" r:id="rId1"/>
    <p:sldLayoutId id="2147484456" r:id="rId2"/>
    <p:sldLayoutId id="2147484457" r:id="rId3"/>
    <p:sldLayoutId id="2147484458" r:id="rId4"/>
    <p:sldLayoutId id="2147484459" r:id="rId5"/>
    <p:sldLayoutId id="2147484460" r:id="rId6"/>
    <p:sldLayoutId id="2147484461" r:id="rId7"/>
    <p:sldLayoutId id="2147484462" r:id="rId8"/>
    <p:sldLayoutId id="2147484463" r:id="rId9"/>
    <p:sldLayoutId id="2147484464" r:id="rId10"/>
    <p:sldLayoutId id="2147484465" r:id="rId11"/>
  </p:sldLayoutIdLst>
  <p:txStyles>
    <p:titleStyle>
      <a:lvl1pPr algn="l" rtl="0" fontAlgn="base">
        <a:spcBef>
          <a:spcPct val="0"/>
        </a:spcBef>
        <a:spcAft>
          <a:spcPct val="0"/>
        </a:spcAft>
        <a:defRPr sz="4400" kern="1200">
          <a:solidFill>
            <a:schemeClr val="tx2"/>
          </a:solidFill>
          <a:latin typeface="+mj-lt"/>
          <a:ea typeface="+mj-ea"/>
          <a:cs typeface="+mj-cs"/>
        </a:defRPr>
      </a:lvl1pPr>
      <a:lvl2pPr algn="l" rtl="0" fontAlgn="base">
        <a:spcBef>
          <a:spcPct val="0"/>
        </a:spcBef>
        <a:spcAft>
          <a:spcPct val="0"/>
        </a:spcAft>
        <a:defRPr sz="4400">
          <a:solidFill>
            <a:schemeClr val="tx2"/>
          </a:solidFill>
          <a:latin typeface="Tw Cen MT"/>
        </a:defRPr>
      </a:lvl2pPr>
      <a:lvl3pPr algn="l" rtl="0" fontAlgn="base">
        <a:spcBef>
          <a:spcPct val="0"/>
        </a:spcBef>
        <a:spcAft>
          <a:spcPct val="0"/>
        </a:spcAft>
        <a:defRPr sz="4400">
          <a:solidFill>
            <a:schemeClr val="tx2"/>
          </a:solidFill>
          <a:latin typeface="Tw Cen MT"/>
        </a:defRPr>
      </a:lvl3pPr>
      <a:lvl4pPr algn="l" rtl="0" fontAlgn="base">
        <a:spcBef>
          <a:spcPct val="0"/>
        </a:spcBef>
        <a:spcAft>
          <a:spcPct val="0"/>
        </a:spcAft>
        <a:defRPr sz="4400">
          <a:solidFill>
            <a:schemeClr val="tx2"/>
          </a:solidFill>
          <a:latin typeface="Tw Cen MT"/>
        </a:defRPr>
      </a:lvl4pPr>
      <a:lvl5pPr algn="l" rtl="0" fontAlgn="base">
        <a:spcBef>
          <a:spcPct val="0"/>
        </a:spcBef>
        <a:spcAft>
          <a:spcPct val="0"/>
        </a:spcAft>
        <a:defRPr sz="4400">
          <a:solidFill>
            <a:schemeClr val="tx2"/>
          </a:solidFill>
          <a:latin typeface="Tw Cen MT"/>
        </a:defRPr>
      </a:lvl5pPr>
      <a:lvl6pPr marL="457200" algn="l" rtl="0" fontAlgn="base">
        <a:spcBef>
          <a:spcPct val="0"/>
        </a:spcBef>
        <a:spcAft>
          <a:spcPct val="0"/>
        </a:spcAft>
        <a:defRPr sz="4400">
          <a:solidFill>
            <a:schemeClr val="tx2"/>
          </a:solidFill>
          <a:latin typeface="Tw Cen MT"/>
        </a:defRPr>
      </a:lvl6pPr>
      <a:lvl7pPr marL="914400" algn="l" rtl="0" fontAlgn="base">
        <a:spcBef>
          <a:spcPct val="0"/>
        </a:spcBef>
        <a:spcAft>
          <a:spcPct val="0"/>
        </a:spcAft>
        <a:defRPr sz="4400">
          <a:solidFill>
            <a:schemeClr val="tx2"/>
          </a:solidFill>
          <a:latin typeface="Tw Cen MT"/>
        </a:defRPr>
      </a:lvl7pPr>
      <a:lvl8pPr marL="1371600" algn="l" rtl="0" fontAlgn="base">
        <a:spcBef>
          <a:spcPct val="0"/>
        </a:spcBef>
        <a:spcAft>
          <a:spcPct val="0"/>
        </a:spcAft>
        <a:defRPr sz="4400">
          <a:solidFill>
            <a:schemeClr val="tx2"/>
          </a:solidFill>
          <a:latin typeface="Tw Cen MT"/>
        </a:defRPr>
      </a:lvl8pPr>
      <a:lvl9pPr marL="1828800" algn="l" rtl="0" fontAlgn="base">
        <a:spcBef>
          <a:spcPct val="0"/>
        </a:spcBef>
        <a:spcAft>
          <a:spcPct val="0"/>
        </a:spcAft>
        <a:defRPr sz="4400">
          <a:solidFill>
            <a:schemeClr val="tx2"/>
          </a:solidFill>
          <a:latin typeface="Tw Cen MT"/>
        </a:defRPr>
      </a:lvl9pPr>
    </p:titleStyle>
    <p:bodyStyle>
      <a:lvl1pPr marL="319088" indent="-319088" algn="l" rtl="0" fontAlgn="base">
        <a:spcBef>
          <a:spcPts val="700"/>
        </a:spcBef>
        <a:spcAft>
          <a:spcPct val="0"/>
        </a:spcAft>
        <a:buClr>
          <a:schemeClr val="accent2"/>
        </a:buClr>
        <a:buSzPct val="60000"/>
        <a:buFont typeface="Wingdings" pitchFamily="2" charset="2"/>
        <a:buChar char=""/>
        <a:defRPr sz="2900" kern="1200">
          <a:solidFill>
            <a:schemeClr val="tx1"/>
          </a:solidFill>
          <a:latin typeface="+mn-lt"/>
          <a:ea typeface="+mn-ea"/>
          <a:cs typeface="+mn-cs"/>
        </a:defRPr>
      </a:lvl1pPr>
      <a:lvl2pPr marL="639763" indent="-273050" algn="l" rtl="0" fontAlgn="base">
        <a:spcBef>
          <a:spcPts val="550"/>
        </a:spcBef>
        <a:spcAft>
          <a:spcPct val="0"/>
        </a:spcAft>
        <a:buClr>
          <a:schemeClr val="accent1"/>
        </a:buClr>
        <a:buSzPct val="70000"/>
        <a:buFont typeface="Wingdings 2" pitchFamily="18" charset="2"/>
        <a:buChar char=""/>
        <a:defRPr sz="2600" kern="1200">
          <a:solidFill>
            <a:schemeClr val="tx1"/>
          </a:solidFill>
          <a:latin typeface="+mn-lt"/>
          <a:ea typeface="+mn-ea"/>
          <a:cs typeface="+mn-cs"/>
        </a:defRPr>
      </a:lvl2pPr>
      <a:lvl3pPr marL="914400" indent="-228600" algn="l" rtl="0" fontAlgn="base">
        <a:spcBef>
          <a:spcPts val="500"/>
        </a:spcBef>
        <a:spcAft>
          <a:spcPct val="0"/>
        </a:spcAft>
        <a:buClr>
          <a:schemeClr val="accent2"/>
        </a:buClr>
        <a:buSzPct val="75000"/>
        <a:buFont typeface="Wingdings" pitchFamily="2" charset="2"/>
        <a:buChar char=""/>
        <a:defRPr sz="2300" kern="1200">
          <a:solidFill>
            <a:schemeClr val="tx1"/>
          </a:solidFill>
          <a:latin typeface="+mn-lt"/>
          <a:ea typeface="+mn-ea"/>
          <a:cs typeface="+mn-cs"/>
        </a:defRPr>
      </a:lvl3pPr>
      <a:lvl4pPr marL="1371600" indent="-228600" algn="l" rtl="0" fontAlgn="base">
        <a:spcBef>
          <a:spcPts val="400"/>
        </a:spcBef>
        <a:spcAft>
          <a:spcPct val="0"/>
        </a:spcAft>
        <a:buClr>
          <a:srgbClr val="A5AB81"/>
        </a:buClr>
        <a:buSzPct val="75000"/>
        <a:buFont typeface="Wingdings" pitchFamily="2" charset="2"/>
        <a:buChar char=""/>
        <a:defRPr sz="2000" kern="1200">
          <a:solidFill>
            <a:schemeClr val="tx1"/>
          </a:solidFill>
          <a:latin typeface="+mn-lt"/>
          <a:ea typeface="+mn-ea"/>
          <a:cs typeface="+mn-cs"/>
        </a:defRPr>
      </a:lvl4pPr>
      <a:lvl5pPr marL="1828800" indent="-228600" algn="l" rtl="0" fontAlgn="base">
        <a:spcBef>
          <a:spcPts val="400"/>
        </a:spcBef>
        <a:spcAft>
          <a:spcPct val="0"/>
        </a:spcAft>
        <a:buClr>
          <a:srgbClr val="D8B25C"/>
        </a:buClr>
        <a:buSzPct val="65000"/>
        <a:buFont typeface="Wingdings" pitchFamily="2" charset="2"/>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blipFill dpi="0" rotWithShape="1">
          <a:blip r:embed="rId20">
            <a:lum/>
          </a:blip>
          <a:srcRect/>
          <a:stretch>
            <a:fillRect l="-17000" r="-17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40000" y="1825625"/>
            <a:ext cx="767535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51CF1133-3259-4C45-BABA-5B62D9C6F78D}" type="datetimeFigureOut">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08/2024</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6D22F896-40B5-4ADD-8801-0D06FADFA095}" type="slidenum">
              <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gradFill flip="none" rotWithShape="1">
                <a:gsLst>
                  <a:gs pos="28000">
                    <a:prstClr val="white">
                      <a:lumMod val="93000"/>
                    </a:prstClr>
                  </a:gs>
                  <a:gs pos="0">
                    <a:prstClr val="black">
                      <a:lumMod val="38000"/>
                      <a:lumOff val="62000"/>
                    </a:prstClr>
                  </a:gs>
                  <a:gs pos="100000">
                    <a:srgbClr val="94D7E4">
                      <a:lumMod val="0"/>
                      <a:lumOff val="100000"/>
                    </a:srgbClr>
                  </a:gs>
                </a:gsLst>
                <a:lin ang="5400000" scaled="1"/>
                <a:tileRect/>
              </a:gra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558938850"/>
      </p:ext>
    </p:extLst>
  </p:cSld>
  <p:clrMap bg1="dk1" tx1="lt1" bg2="dk2" tx2="lt2" accent1="accent1" accent2="accent2" accent3="accent3" accent4="accent4" accent5="accent5" accent6="accent6" hlink="hlink" folHlink="folHlink"/>
  <p:sldLayoutIdLst>
    <p:sldLayoutId id="2147484467" r:id="rId1"/>
    <p:sldLayoutId id="2147484468" r:id="rId2"/>
    <p:sldLayoutId id="2147484469" r:id="rId3"/>
    <p:sldLayoutId id="2147484470" r:id="rId4"/>
    <p:sldLayoutId id="2147484471" r:id="rId5"/>
    <p:sldLayoutId id="2147484472" r:id="rId6"/>
    <p:sldLayoutId id="2147484473" r:id="rId7"/>
    <p:sldLayoutId id="2147484474" r:id="rId8"/>
    <p:sldLayoutId id="2147484475" r:id="rId9"/>
    <p:sldLayoutId id="2147484476" r:id="rId10"/>
    <p:sldLayoutId id="2147484477" r:id="rId11"/>
    <p:sldLayoutId id="2147484478" r:id="rId12"/>
    <p:sldLayoutId id="2147484479" r:id="rId13"/>
    <p:sldLayoutId id="2147484480" r:id="rId14"/>
    <p:sldLayoutId id="2147484481" r:id="rId15"/>
    <p:sldLayoutId id="2147484482" r:id="rId16"/>
    <p:sldLayoutId id="2147484483" r:id="rId17"/>
    <p:sldLayoutId id="2147484484" r:id="rId18"/>
  </p:sldLayoutIdLst>
  <p:txStyles>
    <p:titleStyle>
      <a:lvl1pPr algn="l" defTabSz="685800" rtl="0" eaLnBrk="1" latinLnBrk="0" hangingPunct="1">
        <a:lnSpc>
          <a:spcPct val="90000"/>
        </a:lnSpc>
        <a:spcBef>
          <a:spcPct val="0"/>
        </a:spcBef>
        <a:buNone/>
        <a:defRPr sz="4400" b="0" kern="1200">
          <a:gradFill flip="none" rotWithShape="1">
            <a:gsLst>
              <a:gs pos="28000">
                <a:schemeClr val="tx1">
                  <a:lumMod val="93000"/>
                </a:schemeClr>
              </a:gs>
              <a:gs pos="0">
                <a:schemeClr val="bg1">
                  <a:lumMod val="25000"/>
                  <a:lumOff val="75000"/>
                </a:schemeClr>
              </a:gs>
              <a:gs pos="100000">
                <a:schemeClr val="tx2">
                  <a:lumMod val="0"/>
                  <a:lumOff val="100000"/>
                </a:schemeClr>
              </a:gs>
            </a:gsLst>
            <a:lin ang="4800000" scaled="0"/>
            <a:tileRect/>
          </a:gra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4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20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ar-OM" smtClean="0"/>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ar-OM" smtClean="0"/>
              <a:t>Click to edit Master text styles</a:t>
            </a:r>
          </a:p>
          <a:p>
            <a:pPr lvl="1"/>
            <a:r>
              <a:rPr lang="en-US" altLang="ar-OM" smtClean="0"/>
              <a:t>Second level</a:t>
            </a:r>
          </a:p>
          <a:p>
            <a:pPr lvl="2"/>
            <a:r>
              <a:rPr lang="en-US" altLang="ar-OM" smtClean="0"/>
              <a:t>Third level</a:t>
            </a:r>
          </a:p>
          <a:p>
            <a:pPr lvl="3"/>
            <a:r>
              <a:rPr lang="en-US" altLang="ar-OM" smtClean="0"/>
              <a:t>Fourth level</a:t>
            </a:r>
          </a:p>
          <a:p>
            <a:pPr lvl="4"/>
            <a:r>
              <a:rPr lang="en-US" altLang="ar-OM"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07/25/2013</a:t>
            </a: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prstClr val="black">
                    <a:tint val="75000"/>
                  </a:prstClr>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How Do I Think About Pneumonia?</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itchFamily="34" charset="0"/>
                <a:ea typeface="ＭＳ Ｐゴシック" pitchFamily="34" charset="-128"/>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D4FEEC2-A8D0-4E5C-B68C-0694CE55E814}" type="slidenum">
              <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srgbClr val="898989"/>
              </a:solidFill>
              <a:effectLst/>
              <a:uLnTx/>
              <a:uFillTx/>
              <a:latin typeface="Calibri" pitchFamily="34"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3691291204"/>
      </p:ext>
    </p:extLst>
  </p:cSld>
  <p:clrMap bg1="lt1" tx1="dk1" bg2="lt2" tx2="dk2" accent1="accent1" accent2="accent2" accent3="accent3" accent4="accent4" accent5="accent5" accent6="accent6" hlink="hlink" folHlink="folHlink"/>
  <p:sldLayoutIdLst>
    <p:sldLayoutId id="2147484486" r:id="rId1"/>
    <p:sldLayoutId id="2147484487" r:id="rId2"/>
    <p:sldLayoutId id="2147484488" r:id="rId3"/>
    <p:sldLayoutId id="2147484489" r:id="rId4"/>
    <p:sldLayoutId id="2147484490" r:id="rId5"/>
    <p:sldLayoutId id="2147484491" r:id="rId6"/>
    <p:sldLayoutId id="2147484492" r:id="rId7"/>
    <p:sldLayoutId id="2147484493" r:id="rId8"/>
    <p:sldLayoutId id="2147484494" r:id="rId9"/>
    <p:sldLayoutId id="2147484495" r:id="rId10"/>
    <p:sldLayoutId id="2147484496" r:id="rId11"/>
    <p:sldLayoutId id="2147484497" r:id="rId12"/>
    <p:sldLayoutId id="2147484498" r:id="rId13"/>
  </p:sldLayoutIdLst>
  <p:hf hdr="0"/>
  <p:txStyles>
    <p:titleStyle>
      <a:lvl1pPr algn="ctr" rtl="0" eaLnBrk="0" fontAlgn="base" hangingPunct="0">
        <a:spcBef>
          <a:spcPct val="0"/>
        </a:spcBef>
        <a:spcAft>
          <a:spcPct val="0"/>
        </a:spcAft>
        <a:defRPr sz="4400" kern="1200">
          <a:solidFill>
            <a:schemeClr val="tx1"/>
          </a:solidFill>
          <a:latin typeface="+mj-lt"/>
          <a:ea typeface="ＭＳ Ｐゴシック" pitchFamily="34" charset="-128"/>
          <a:cs typeface="+mj-cs"/>
        </a:defRPr>
      </a:lvl1pPr>
      <a:lvl2pPr algn="ctr" rtl="0" eaLnBrk="0" fontAlgn="base" hangingPunct="0">
        <a:spcBef>
          <a:spcPct val="0"/>
        </a:spcBef>
        <a:spcAft>
          <a:spcPct val="0"/>
        </a:spcAft>
        <a:defRPr sz="4400">
          <a:solidFill>
            <a:schemeClr val="tx1"/>
          </a:solidFill>
          <a:latin typeface="Calibri" pitchFamily="34" charset="0"/>
          <a:ea typeface="ＭＳ Ｐゴシック" pitchFamily="34" charset="-128"/>
        </a:defRPr>
      </a:lvl2pPr>
      <a:lvl3pPr algn="ctr" rtl="0" eaLnBrk="0" fontAlgn="base" hangingPunct="0">
        <a:spcBef>
          <a:spcPct val="0"/>
        </a:spcBef>
        <a:spcAft>
          <a:spcPct val="0"/>
        </a:spcAft>
        <a:defRPr sz="4400">
          <a:solidFill>
            <a:schemeClr val="tx1"/>
          </a:solidFill>
          <a:latin typeface="Calibri" pitchFamily="34" charset="0"/>
          <a:ea typeface="ＭＳ Ｐゴシック" pitchFamily="34" charset="-128"/>
        </a:defRPr>
      </a:lvl3pPr>
      <a:lvl4pPr algn="ctr" rtl="0" eaLnBrk="0" fontAlgn="base" hangingPunct="0">
        <a:spcBef>
          <a:spcPct val="0"/>
        </a:spcBef>
        <a:spcAft>
          <a:spcPct val="0"/>
        </a:spcAft>
        <a:defRPr sz="4400">
          <a:solidFill>
            <a:schemeClr val="tx1"/>
          </a:solidFill>
          <a:latin typeface="Calibri" pitchFamily="34" charset="0"/>
          <a:ea typeface="ＭＳ Ｐゴシック" pitchFamily="34" charset="-128"/>
        </a:defRPr>
      </a:lvl4pPr>
      <a:lvl5pPr algn="ctr" rtl="0" eaLnBrk="0" fontAlgn="base" hangingPunct="0">
        <a:spcBef>
          <a:spcPct val="0"/>
        </a:spcBef>
        <a:spcAft>
          <a:spcPct val="0"/>
        </a:spcAft>
        <a:defRPr sz="4400">
          <a:solidFill>
            <a:schemeClr val="tx1"/>
          </a:solidFill>
          <a:latin typeface="Calibri" pitchFamily="34" charset="0"/>
          <a:ea typeface="ＭＳ Ｐゴシック" pitchFamily="34"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pitchFamily="34" charset="-128"/>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pitchFamily="34"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pitchFamily="34"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pitchFamily="34"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4098" name="Title Placeholder 1">
            <a:extLst>
              <a:ext uri="{FF2B5EF4-FFF2-40B4-BE49-F238E27FC236}">
                <a16:creationId xmlns:a16="http://schemas.microsoft.com/office/drawing/2014/main" id="{C72C3E58-1901-0B32-1403-CE32BF8F331C}"/>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099" name="Text Placeholder 2">
            <a:extLst>
              <a:ext uri="{FF2B5EF4-FFF2-40B4-BE49-F238E27FC236}">
                <a16:creationId xmlns:a16="http://schemas.microsoft.com/office/drawing/2014/main" id="{BBBD9C36-B799-D008-DC11-111D2AE2D2B5}"/>
              </a:ext>
            </a:extLst>
          </p:cNvPr>
          <p:cNvSpPr>
            <a:spLocks noGrp="1"/>
          </p:cNvSpPr>
          <p:nvPr>
            <p:ph type="body" idx="1"/>
          </p:nvPr>
        </p:nvSpPr>
        <p:spPr bwMode="auto">
          <a:xfrm>
            <a:off x="457200" y="1600206"/>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B5ED4B58-D84F-94B7-E254-93D067F9305F}"/>
              </a:ext>
            </a:extLst>
          </p:cNvPr>
          <p:cNvSpPr>
            <a:spLocks noGrp="1"/>
          </p:cNvSpPr>
          <p:nvPr>
            <p:ph type="dt" sz="half" idx="2"/>
          </p:nvPr>
        </p:nvSpPr>
        <p:spPr>
          <a:xfrm>
            <a:off x="457200" y="6356368"/>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F891100-96AE-4507-B7F4-85DB51FAEE42}"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4E7B33EC-939A-11FB-FBEC-98C83C520C79}"/>
              </a:ext>
            </a:extLst>
          </p:cNvPr>
          <p:cNvSpPr>
            <a:spLocks noGrp="1"/>
          </p:cNvSpPr>
          <p:nvPr>
            <p:ph type="ftr" sz="quarter" idx="3"/>
          </p:nvPr>
        </p:nvSpPr>
        <p:spPr>
          <a:xfrm>
            <a:off x="3124200" y="6356368"/>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9FBFA560-03E7-2C94-3095-B5B2F9A277FC}"/>
              </a:ext>
            </a:extLst>
          </p:cNvPr>
          <p:cNvSpPr>
            <a:spLocks noGrp="1"/>
          </p:cNvSpPr>
          <p:nvPr>
            <p:ph type="sldNum" sz="quarter" idx="4"/>
          </p:nvPr>
        </p:nvSpPr>
        <p:spPr>
          <a:xfrm>
            <a:off x="6553200" y="6356368"/>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Georgia" panose="02040502050405020303" pitchFamily="18"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7ED2D149-5E4A-4A10-BC88-FF6BBC876668}"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3293378751"/>
      </p:ext>
    </p:extLst>
  </p:cSld>
  <p:clrMap bg1="lt1" tx1="dk1" bg2="lt2" tx2="dk2" accent1="accent1" accent2="accent2" accent3="accent3" accent4="accent4" accent5="accent5" accent6="accent6" hlink="hlink" folHlink="folHlink"/>
  <p:sldLayoutIdLst>
    <p:sldLayoutId id="2147484500" r:id="rId1"/>
    <p:sldLayoutId id="2147484501" r:id="rId2"/>
    <p:sldLayoutId id="2147484502" r:id="rId3"/>
    <p:sldLayoutId id="2147484503" r:id="rId4"/>
    <p:sldLayoutId id="2147484504" r:id="rId5"/>
    <p:sldLayoutId id="2147484505" r:id="rId6"/>
    <p:sldLayoutId id="2147484506" r:id="rId7"/>
    <p:sldLayoutId id="2147484507" r:id="rId8"/>
    <p:sldLayoutId id="2147484508" r:id="rId9"/>
    <p:sldLayoutId id="2147484509" r:id="rId10"/>
    <p:sldLayoutId id="2147484510"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Georgia" pitchFamily="18" charset="0"/>
        </a:defRPr>
      </a:lvl2pPr>
      <a:lvl3pPr algn="ctr" rtl="0" eaLnBrk="0" fontAlgn="base" hangingPunct="0">
        <a:spcBef>
          <a:spcPct val="0"/>
        </a:spcBef>
        <a:spcAft>
          <a:spcPct val="0"/>
        </a:spcAft>
        <a:defRPr sz="4400">
          <a:solidFill>
            <a:schemeClr val="tx1"/>
          </a:solidFill>
          <a:latin typeface="Georgia" pitchFamily="18" charset="0"/>
        </a:defRPr>
      </a:lvl3pPr>
      <a:lvl4pPr algn="ctr" rtl="0" eaLnBrk="0" fontAlgn="base" hangingPunct="0">
        <a:spcBef>
          <a:spcPct val="0"/>
        </a:spcBef>
        <a:spcAft>
          <a:spcPct val="0"/>
        </a:spcAft>
        <a:defRPr sz="4400">
          <a:solidFill>
            <a:schemeClr val="tx1"/>
          </a:solidFill>
          <a:latin typeface="Georgia" pitchFamily="18" charset="0"/>
        </a:defRPr>
      </a:lvl4pPr>
      <a:lvl5pPr algn="ctr" rtl="0" eaLnBrk="0" fontAlgn="base" hangingPunct="0">
        <a:spcBef>
          <a:spcPct val="0"/>
        </a:spcBef>
        <a:spcAft>
          <a:spcPct val="0"/>
        </a:spcAft>
        <a:defRPr sz="4400">
          <a:solidFill>
            <a:schemeClr val="tx1"/>
          </a:solidFill>
          <a:latin typeface="Georgia" pitchFamily="18"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4098" name="Title Placeholder 1">
            <a:extLst>
              <a:ext uri="{FF2B5EF4-FFF2-40B4-BE49-F238E27FC236}">
                <a16:creationId xmlns:a16="http://schemas.microsoft.com/office/drawing/2014/main" id="{C72C3E58-1901-0B32-1403-CE32BF8F331C}"/>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099" name="Text Placeholder 2">
            <a:extLst>
              <a:ext uri="{FF2B5EF4-FFF2-40B4-BE49-F238E27FC236}">
                <a16:creationId xmlns:a16="http://schemas.microsoft.com/office/drawing/2014/main" id="{BBBD9C36-B799-D008-DC11-111D2AE2D2B5}"/>
              </a:ext>
            </a:extLst>
          </p:cNvPr>
          <p:cNvSpPr>
            <a:spLocks noGrp="1"/>
          </p:cNvSpPr>
          <p:nvPr>
            <p:ph type="body" idx="1"/>
          </p:nvPr>
        </p:nvSpPr>
        <p:spPr bwMode="auto">
          <a:xfrm>
            <a:off x="457200" y="1600206"/>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B5ED4B58-D84F-94B7-E254-93D067F9305F}"/>
              </a:ext>
            </a:extLst>
          </p:cNvPr>
          <p:cNvSpPr>
            <a:spLocks noGrp="1"/>
          </p:cNvSpPr>
          <p:nvPr>
            <p:ph type="dt" sz="half" idx="2"/>
          </p:nvPr>
        </p:nvSpPr>
        <p:spPr>
          <a:xfrm>
            <a:off x="457200" y="6356368"/>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F891100-96AE-4507-B7F4-85DB51FAEE42}"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4E7B33EC-939A-11FB-FBEC-98C83C520C79}"/>
              </a:ext>
            </a:extLst>
          </p:cNvPr>
          <p:cNvSpPr>
            <a:spLocks noGrp="1"/>
          </p:cNvSpPr>
          <p:nvPr>
            <p:ph type="ftr" sz="quarter" idx="3"/>
          </p:nvPr>
        </p:nvSpPr>
        <p:spPr>
          <a:xfrm>
            <a:off x="3124200" y="6356368"/>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9FBFA560-03E7-2C94-3095-B5B2F9A277FC}"/>
              </a:ext>
            </a:extLst>
          </p:cNvPr>
          <p:cNvSpPr>
            <a:spLocks noGrp="1"/>
          </p:cNvSpPr>
          <p:nvPr>
            <p:ph type="sldNum" sz="quarter" idx="4"/>
          </p:nvPr>
        </p:nvSpPr>
        <p:spPr>
          <a:xfrm>
            <a:off x="6553200" y="6356368"/>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Georgia" panose="02040502050405020303" pitchFamily="18"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7ED2D149-5E4A-4A10-BC88-FF6BBC876668}"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575094893"/>
      </p:ext>
    </p:extLst>
  </p:cSld>
  <p:clrMap bg1="lt1" tx1="dk1" bg2="lt2" tx2="dk2" accent1="accent1" accent2="accent2" accent3="accent3" accent4="accent4" accent5="accent5" accent6="accent6" hlink="hlink" folHlink="folHlink"/>
  <p:sldLayoutIdLst>
    <p:sldLayoutId id="2147484512" r:id="rId1"/>
    <p:sldLayoutId id="2147484513" r:id="rId2"/>
    <p:sldLayoutId id="2147484514" r:id="rId3"/>
    <p:sldLayoutId id="2147484515" r:id="rId4"/>
    <p:sldLayoutId id="2147484516" r:id="rId5"/>
    <p:sldLayoutId id="2147484517" r:id="rId6"/>
    <p:sldLayoutId id="2147484518" r:id="rId7"/>
    <p:sldLayoutId id="2147484519" r:id="rId8"/>
    <p:sldLayoutId id="2147484520" r:id="rId9"/>
    <p:sldLayoutId id="2147484521" r:id="rId10"/>
    <p:sldLayoutId id="2147484522"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Georgia" pitchFamily="18" charset="0"/>
        </a:defRPr>
      </a:lvl2pPr>
      <a:lvl3pPr algn="ctr" rtl="0" eaLnBrk="0" fontAlgn="base" hangingPunct="0">
        <a:spcBef>
          <a:spcPct val="0"/>
        </a:spcBef>
        <a:spcAft>
          <a:spcPct val="0"/>
        </a:spcAft>
        <a:defRPr sz="4400">
          <a:solidFill>
            <a:schemeClr val="tx1"/>
          </a:solidFill>
          <a:latin typeface="Georgia" pitchFamily="18" charset="0"/>
        </a:defRPr>
      </a:lvl3pPr>
      <a:lvl4pPr algn="ctr" rtl="0" eaLnBrk="0" fontAlgn="base" hangingPunct="0">
        <a:spcBef>
          <a:spcPct val="0"/>
        </a:spcBef>
        <a:spcAft>
          <a:spcPct val="0"/>
        </a:spcAft>
        <a:defRPr sz="4400">
          <a:solidFill>
            <a:schemeClr val="tx1"/>
          </a:solidFill>
          <a:latin typeface="Georgia" pitchFamily="18" charset="0"/>
        </a:defRPr>
      </a:lvl4pPr>
      <a:lvl5pPr algn="ctr" rtl="0" eaLnBrk="0" fontAlgn="base" hangingPunct="0">
        <a:spcBef>
          <a:spcPct val="0"/>
        </a:spcBef>
        <a:spcAft>
          <a:spcPct val="0"/>
        </a:spcAft>
        <a:defRPr sz="4400">
          <a:solidFill>
            <a:schemeClr val="tx1"/>
          </a:solidFill>
          <a:latin typeface="Georgia" pitchFamily="18"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4098" name="Title Placeholder 1">
            <a:extLst>
              <a:ext uri="{FF2B5EF4-FFF2-40B4-BE49-F238E27FC236}">
                <a16:creationId xmlns:a16="http://schemas.microsoft.com/office/drawing/2014/main" id="{C72C3E58-1901-0B32-1403-CE32BF8F331C}"/>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099" name="Text Placeholder 2">
            <a:extLst>
              <a:ext uri="{FF2B5EF4-FFF2-40B4-BE49-F238E27FC236}">
                <a16:creationId xmlns:a16="http://schemas.microsoft.com/office/drawing/2014/main" id="{BBBD9C36-B799-D008-DC11-111D2AE2D2B5}"/>
              </a:ext>
            </a:extLst>
          </p:cNvPr>
          <p:cNvSpPr>
            <a:spLocks noGrp="1"/>
          </p:cNvSpPr>
          <p:nvPr>
            <p:ph type="body" idx="1"/>
          </p:nvPr>
        </p:nvSpPr>
        <p:spPr bwMode="auto">
          <a:xfrm>
            <a:off x="457200" y="1600206"/>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B5ED4B58-D84F-94B7-E254-93D067F9305F}"/>
              </a:ext>
            </a:extLst>
          </p:cNvPr>
          <p:cNvSpPr>
            <a:spLocks noGrp="1"/>
          </p:cNvSpPr>
          <p:nvPr>
            <p:ph type="dt" sz="half" idx="2"/>
          </p:nvPr>
        </p:nvSpPr>
        <p:spPr>
          <a:xfrm>
            <a:off x="457200" y="6356368"/>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F891100-96AE-4507-B7F4-85DB51FAEE42}"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4E7B33EC-939A-11FB-FBEC-98C83C520C79}"/>
              </a:ext>
            </a:extLst>
          </p:cNvPr>
          <p:cNvSpPr>
            <a:spLocks noGrp="1"/>
          </p:cNvSpPr>
          <p:nvPr>
            <p:ph type="ftr" sz="quarter" idx="3"/>
          </p:nvPr>
        </p:nvSpPr>
        <p:spPr>
          <a:xfrm>
            <a:off x="3124200" y="6356368"/>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9FBFA560-03E7-2C94-3095-B5B2F9A277FC}"/>
              </a:ext>
            </a:extLst>
          </p:cNvPr>
          <p:cNvSpPr>
            <a:spLocks noGrp="1"/>
          </p:cNvSpPr>
          <p:nvPr>
            <p:ph type="sldNum" sz="quarter" idx="4"/>
          </p:nvPr>
        </p:nvSpPr>
        <p:spPr>
          <a:xfrm>
            <a:off x="6553200" y="6356368"/>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Georgia" panose="02040502050405020303" pitchFamily="18"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7ED2D149-5E4A-4A10-BC88-FF6BBC876668}"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4211924563"/>
      </p:ext>
    </p:extLst>
  </p:cSld>
  <p:clrMap bg1="lt1" tx1="dk1" bg2="lt2" tx2="dk2" accent1="accent1" accent2="accent2" accent3="accent3" accent4="accent4" accent5="accent5" accent6="accent6" hlink="hlink" folHlink="folHlink"/>
  <p:sldLayoutIdLst>
    <p:sldLayoutId id="2147484524" r:id="rId1"/>
    <p:sldLayoutId id="2147484525" r:id="rId2"/>
    <p:sldLayoutId id="2147484526" r:id="rId3"/>
    <p:sldLayoutId id="2147484527" r:id="rId4"/>
    <p:sldLayoutId id="2147484528" r:id="rId5"/>
    <p:sldLayoutId id="2147484529" r:id="rId6"/>
    <p:sldLayoutId id="2147484530" r:id="rId7"/>
    <p:sldLayoutId id="2147484531" r:id="rId8"/>
    <p:sldLayoutId id="2147484532" r:id="rId9"/>
    <p:sldLayoutId id="2147484533" r:id="rId10"/>
    <p:sldLayoutId id="2147484534"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Georgia" pitchFamily="18" charset="0"/>
        </a:defRPr>
      </a:lvl2pPr>
      <a:lvl3pPr algn="ctr" rtl="0" eaLnBrk="0" fontAlgn="base" hangingPunct="0">
        <a:spcBef>
          <a:spcPct val="0"/>
        </a:spcBef>
        <a:spcAft>
          <a:spcPct val="0"/>
        </a:spcAft>
        <a:defRPr sz="4400">
          <a:solidFill>
            <a:schemeClr val="tx1"/>
          </a:solidFill>
          <a:latin typeface="Georgia" pitchFamily="18" charset="0"/>
        </a:defRPr>
      </a:lvl3pPr>
      <a:lvl4pPr algn="ctr" rtl="0" eaLnBrk="0" fontAlgn="base" hangingPunct="0">
        <a:spcBef>
          <a:spcPct val="0"/>
        </a:spcBef>
        <a:spcAft>
          <a:spcPct val="0"/>
        </a:spcAft>
        <a:defRPr sz="4400">
          <a:solidFill>
            <a:schemeClr val="tx1"/>
          </a:solidFill>
          <a:latin typeface="Georgia" pitchFamily="18" charset="0"/>
        </a:defRPr>
      </a:lvl4pPr>
      <a:lvl5pPr algn="ctr" rtl="0" eaLnBrk="0" fontAlgn="base" hangingPunct="0">
        <a:spcBef>
          <a:spcPct val="0"/>
        </a:spcBef>
        <a:spcAft>
          <a:spcPct val="0"/>
        </a:spcAft>
        <a:defRPr sz="4400">
          <a:solidFill>
            <a:schemeClr val="tx1"/>
          </a:solidFill>
          <a:latin typeface="Georgia" pitchFamily="18"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bwMode="invGray">
      <p:bgPr>
        <a:gradFill rotWithShape="0">
          <a:gsLst>
            <a:gs pos="0">
              <a:schemeClr val="bg2"/>
            </a:gs>
            <a:gs pos="100000">
              <a:schemeClr val="bg1"/>
            </a:gs>
          </a:gsLst>
          <a:lin ang="0" scaled="1"/>
        </a:gradFill>
        <a:effectLst/>
      </p:bgPr>
    </p:bg>
    <p:spTree>
      <p:nvGrpSpPr>
        <p:cNvPr id="1" name=""/>
        <p:cNvGrpSpPr/>
        <p:nvPr/>
      </p:nvGrpSpPr>
      <p:grpSpPr>
        <a:xfrm>
          <a:off x="0" y="0"/>
          <a:ext cx="0" cy="0"/>
          <a:chOff x="0" y="0"/>
          <a:chExt cx="0" cy="0"/>
        </a:xfrm>
      </p:grpSpPr>
      <p:sp>
        <p:nvSpPr>
          <p:cNvPr id="16386" name="Rectangle 2"/>
          <p:cNvSpPr>
            <a:spLocks noChangeArrowheads="1"/>
          </p:cNvSpPr>
          <p:nvPr/>
        </p:nvSpPr>
        <p:spPr bwMode="invGray">
          <a:xfrm>
            <a:off x="8809038" y="0"/>
            <a:ext cx="334962" cy="6858000"/>
          </a:xfrm>
          <a:prstGeom prst="rect">
            <a:avLst/>
          </a:prstGeom>
          <a:gradFill rotWithShape="0">
            <a:gsLst>
              <a:gs pos="0">
                <a:schemeClr val="accent2"/>
              </a:gs>
              <a:gs pos="50000">
                <a:schemeClr val="hlink"/>
              </a:gs>
              <a:gs pos="100000">
                <a:schemeClr val="accent2"/>
              </a:gs>
            </a:gsLst>
            <a:lin ang="0" scaled="1"/>
          </a:gra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6387" name="Freeform 3"/>
          <p:cNvSpPr>
            <a:spLocks/>
          </p:cNvSpPr>
          <p:nvPr/>
        </p:nvSpPr>
        <p:spPr bwMode="white">
          <a:xfrm>
            <a:off x="-9525" y="4489450"/>
            <a:ext cx="5754688" cy="2368550"/>
          </a:xfrm>
          <a:custGeom>
            <a:avLst/>
            <a:gdLst>
              <a:gd name="T0" fmla="*/ 0 w 3625"/>
              <a:gd name="T1" fmla="*/ 1491 h 1492"/>
              <a:gd name="T2" fmla="*/ 0 w 3625"/>
              <a:gd name="T3" fmla="*/ 0 h 1492"/>
              <a:gd name="T4" fmla="*/ 171 w 3625"/>
              <a:gd name="T5" fmla="*/ 3 h 1492"/>
              <a:gd name="T6" fmla="*/ 355 w 3625"/>
              <a:gd name="T7" fmla="*/ 9 h 1492"/>
              <a:gd name="T8" fmla="*/ 499 w 3625"/>
              <a:gd name="T9" fmla="*/ 21 h 1492"/>
              <a:gd name="T10" fmla="*/ 650 w 3625"/>
              <a:gd name="T11" fmla="*/ 36 h 1492"/>
              <a:gd name="T12" fmla="*/ 809 w 3625"/>
              <a:gd name="T13" fmla="*/ 54 h 1492"/>
              <a:gd name="T14" fmla="*/ 957 w 3625"/>
              <a:gd name="T15" fmla="*/ 78 h 1492"/>
              <a:gd name="T16" fmla="*/ 1119 w 3625"/>
              <a:gd name="T17" fmla="*/ 105 h 1492"/>
              <a:gd name="T18" fmla="*/ 1261 w 3625"/>
              <a:gd name="T19" fmla="*/ 133 h 1492"/>
              <a:gd name="T20" fmla="*/ 1441 w 3625"/>
              <a:gd name="T21" fmla="*/ 175 h 1492"/>
              <a:gd name="T22" fmla="*/ 1598 w 3625"/>
              <a:gd name="T23" fmla="*/ 217 h 1492"/>
              <a:gd name="T24" fmla="*/ 1763 w 3625"/>
              <a:gd name="T25" fmla="*/ 269 h 1492"/>
              <a:gd name="T26" fmla="*/ 1887 w 3625"/>
              <a:gd name="T27" fmla="*/ 308 h 1492"/>
              <a:gd name="T28" fmla="*/ 2085 w 3625"/>
              <a:gd name="T29" fmla="*/ 384 h 1492"/>
              <a:gd name="T30" fmla="*/ 2230 w 3625"/>
              <a:gd name="T31" fmla="*/ 444 h 1492"/>
              <a:gd name="T32" fmla="*/ 2456 w 3625"/>
              <a:gd name="T33" fmla="*/ 547 h 1492"/>
              <a:gd name="T34" fmla="*/ 2666 w 3625"/>
              <a:gd name="T35" fmla="*/ 662 h 1492"/>
              <a:gd name="T36" fmla="*/ 2859 w 3625"/>
              <a:gd name="T37" fmla="*/ 786 h 1492"/>
              <a:gd name="T38" fmla="*/ 3046 w 3625"/>
              <a:gd name="T39" fmla="*/ 920 h 1492"/>
              <a:gd name="T40" fmla="*/ 3193 w 3625"/>
              <a:gd name="T41" fmla="*/ 1038 h 1492"/>
              <a:gd name="T42" fmla="*/ 3332 w 3625"/>
              <a:gd name="T43" fmla="*/ 1168 h 1492"/>
              <a:gd name="T44" fmla="*/ 3440 w 3625"/>
              <a:gd name="T45" fmla="*/ 1280 h 1492"/>
              <a:gd name="T46" fmla="*/ 3524 w 3625"/>
              <a:gd name="T47" fmla="*/ 1380 h 1492"/>
              <a:gd name="T48" fmla="*/ 3624 w 3625"/>
              <a:gd name="T49" fmla="*/ 1491 h 1492"/>
              <a:gd name="T50" fmla="*/ 3608 w 3625"/>
              <a:gd name="T51" fmla="*/ 1491 h 1492"/>
              <a:gd name="T52" fmla="*/ 0 w 3625"/>
              <a:gd name="T53" fmla="*/ 1491 h 1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25" h="1492">
                <a:moveTo>
                  <a:pt x="0" y="1491"/>
                </a:moveTo>
                <a:lnTo>
                  <a:pt x="0" y="0"/>
                </a:lnTo>
                <a:lnTo>
                  <a:pt x="171" y="3"/>
                </a:lnTo>
                <a:lnTo>
                  <a:pt x="355" y="9"/>
                </a:lnTo>
                <a:lnTo>
                  <a:pt x="499" y="21"/>
                </a:lnTo>
                <a:lnTo>
                  <a:pt x="650" y="36"/>
                </a:lnTo>
                <a:lnTo>
                  <a:pt x="809" y="54"/>
                </a:lnTo>
                <a:lnTo>
                  <a:pt x="957" y="78"/>
                </a:lnTo>
                <a:lnTo>
                  <a:pt x="1119" y="105"/>
                </a:lnTo>
                <a:lnTo>
                  <a:pt x="1261" y="133"/>
                </a:lnTo>
                <a:lnTo>
                  <a:pt x="1441" y="175"/>
                </a:lnTo>
                <a:lnTo>
                  <a:pt x="1598" y="217"/>
                </a:lnTo>
                <a:lnTo>
                  <a:pt x="1763" y="269"/>
                </a:lnTo>
                <a:lnTo>
                  <a:pt x="1887" y="308"/>
                </a:lnTo>
                <a:lnTo>
                  <a:pt x="2085" y="384"/>
                </a:lnTo>
                <a:lnTo>
                  <a:pt x="2230" y="444"/>
                </a:lnTo>
                <a:lnTo>
                  <a:pt x="2456" y="547"/>
                </a:lnTo>
                <a:lnTo>
                  <a:pt x="2666" y="662"/>
                </a:lnTo>
                <a:lnTo>
                  <a:pt x="2859" y="786"/>
                </a:lnTo>
                <a:lnTo>
                  <a:pt x="3046" y="920"/>
                </a:lnTo>
                <a:lnTo>
                  <a:pt x="3193" y="1038"/>
                </a:lnTo>
                <a:lnTo>
                  <a:pt x="3332" y="1168"/>
                </a:lnTo>
                <a:lnTo>
                  <a:pt x="3440" y="1280"/>
                </a:lnTo>
                <a:lnTo>
                  <a:pt x="3524" y="1380"/>
                </a:lnTo>
                <a:lnTo>
                  <a:pt x="3624" y="1491"/>
                </a:lnTo>
                <a:lnTo>
                  <a:pt x="3608" y="1491"/>
                </a:lnTo>
                <a:lnTo>
                  <a:pt x="0" y="1491"/>
                </a:lnTo>
              </a:path>
            </a:pathLst>
          </a:custGeom>
          <a:gradFill rotWithShape="0">
            <a:gsLst>
              <a:gs pos="0">
                <a:schemeClr val="bg2"/>
              </a:gs>
              <a:gs pos="100000">
                <a:schemeClr val="bg1"/>
              </a:gs>
            </a:gsLst>
            <a:lin ang="5400000" scaled="1"/>
          </a:gradFill>
          <a:ln>
            <a:noFill/>
          </a:ln>
          <a:effectLst/>
          <a:extLst>
            <a:ext uri="{91240B29-F687-4F45-9708-019B960494DF}">
              <a14:hiddenLine xmlns:a14="http://schemas.microsoft.com/office/drawing/2010/main" w="9525" cap="flat" cmpd="sng">
                <a:solidFill>
                  <a:schemeClr val="tx1"/>
                </a:solidFill>
                <a:prstDash val="solid"/>
                <a:miter lim="800000"/>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6388" name="Freeform 4"/>
          <p:cNvSpPr>
            <a:spLocks/>
          </p:cNvSpPr>
          <p:nvPr/>
        </p:nvSpPr>
        <p:spPr bwMode="white">
          <a:xfrm>
            <a:off x="0" y="3817938"/>
            <a:ext cx="8164513" cy="3019425"/>
          </a:xfrm>
          <a:custGeom>
            <a:avLst/>
            <a:gdLst>
              <a:gd name="T0" fmla="*/ 2718 w 5143"/>
              <a:gd name="T1" fmla="*/ 405 h 1902"/>
              <a:gd name="T2" fmla="*/ 2466 w 5143"/>
              <a:gd name="T3" fmla="*/ 333 h 1902"/>
              <a:gd name="T4" fmla="*/ 2202 w 5143"/>
              <a:gd name="T5" fmla="*/ 261 h 1902"/>
              <a:gd name="T6" fmla="*/ 1929 w 5143"/>
              <a:gd name="T7" fmla="*/ 198 h 1902"/>
              <a:gd name="T8" fmla="*/ 1695 w 5143"/>
              <a:gd name="T9" fmla="*/ 153 h 1902"/>
              <a:gd name="T10" fmla="*/ 1434 w 5143"/>
              <a:gd name="T11" fmla="*/ 111 h 1902"/>
              <a:gd name="T12" fmla="*/ 1188 w 5143"/>
              <a:gd name="T13" fmla="*/ 75 h 1902"/>
              <a:gd name="T14" fmla="*/ 957 w 5143"/>
              <a:gd name="T15" fmla="*/ 48 h 1902"/>
              <a:gd name="T16" fmla="*/ 747 w 5143"/>
              <a:gd name="T17" fmla="*/ 30 h 1902"/>
              <a:gd name="T18" fmla="*/ 501 w 5143"/>
              <a:gd name="T19" fmla="*/ 15 h 1902"/>
              <a:gd name="T20" fmla="*/ 246 w 5143"/>
              <a:gd name="T21" fmla="*/ 3 h 1902"/>
              <a:gd name="T22" fmla="*/ 0 w 5143"/>
              <a:gd name="T23" fmla="*/ 0 h 1902"/>
              <a:gd name="T24" fmla="*/ 0 w 5143"/>
              <a:gd name="T25" fmla="*/ 275 h 1902"/>
              <a:gd name="T26" fmla="*/ 0 w 5143"/>
              <a:gd name="T27" fmla="*/ 345 h 1902"/>
              <a:gd name="T28" fmla="*/ 0 w 5143"/>
              <a:gd name="T29" fmla="*/ 275 h 1902"/>
              <a:gd name="T30" fmla="*/ 0 w 5143"/>
              <a:gd name="T31" fmla="*/ 342 h 1902"/>
              <a:gd name="T32" fmla="*/ 339 w 5143"/>
              <a:gd name="T33" fmla="*/ 351 h 1902"/>
              <a:gd name="T34" fmla="*/ 606 w 5143"/>
              <a:gd name="T35" fmla="*/ 372 h 1902"/>
              <a:gd name="T36" fmla="*/ 852 w 5143"/>
              <a:gd name="T37" fmla="*/ 399 h 1902"/>
              <a:gd name="T38" fmla="*/ 1068 w 5143"/>
              <a:gd name="T39" fmla="*/ 435 h 1902"/>
              <a:gd name="T40" fmla="*/ 1275 w 5143"/>
              <a:gd name="T41" fmla="*/ 474 h 1902"/>
              <a:gd name="T42" fmla="*/ 1545 w 5143"/>
              <a:gd name="T43" fmla="*/ 540 h 1902"/>
              <a:gd name="T44" fmla="*/ 1761 w 5143"/>
              <a:gd name="T45" fmla="*/ 603 h 1902"/>
              <a:gd name="T46" fmla="*/ 1971 w 5143"/>
              <a:gd name="T47" fmla="*/ 678 h 1902"/>
              <a:gd name="T48" fmla="*/ 2166 w 5143"/>
              <a:gd name="T49" fmla="*/ 747 h 1902"/>
              <a:gd name="T50" fmla="*/ 2397 w 5143"/>
              <a:gd name="T51" fmla="*/ 852 h 1902"/>
              <a:gd name="T52" fmla="*/ 2613 w 5143"/>
              <a:gd name="T53" fmla="*/ 960 h 1902"/>
              <a:gd name="T54" fmla="*/ 2832 w 5143"/>
              <a:gd name="T55" fmla="*/ 1095 h 1902"/>
              <a:gd name="T56" fmla="*/ 3012 w 5143"/>
              <a:gd name="T57" fmla="*/ 1212 h 1902"/>
              <a:gd name="T58" fmla="*/ 3186 w 5143"/>
              <a:gd name="T59" fmla="*/ 1347 h 1902"/>
              <a:gd name="T60" fmla="*/ 3351 w 5143"/>
              <a:gd name="T61" fmla="*/ 1497 h 1902"/>
              <a:gd name="T62" fmla="*/ 3480 w 5143"/>
              <a:gd name="T63" fmla="*/ 1629 h 1902"/>
              <a:gd name="T64" fmla="*/ 3612 w 5143"/>
              <a:gd name="T65" fmla="*/ 1785 h 1902"/>
              <a:gd name="T66" fmla="*/ 3699 w 5143"/>
              <a:gd name="T67" fmla="*/ 1901 h 1902"/>
              <a:gd name="T68" fmla="*/ 5142 w 5143"/>
              <a:gd name="T69" fmla="*/ 1901 h 1902"/>
              <a:gd name="T70" fmla="*/ 5076 w 5143"/>
              <a:gd name="T71" fmla="*/ 1827 h 1902"/>
              <a:gd name="T72" fmla="*/ 4968 w 5143"/>
              <a:gd name="T73" fmla="*/ 1707 h 1902"/>
              <a:gd name="T74" fmla="*/ 4797 w 5143"/>
              <a:gd name="T75" fmla="*/ 1539 h 1902"/>
              <a:gd name="T76" fmla="*/ 4617 w 5143"/>
              <a:gd name="T77" fmla="*/ 1383 h 1902"/>
              <a:gd name="T78" fmla="*/ 4410 w 5143"/>
              <a:gd name="T79" fmla="*/ 1221 h 1902"/>
              <a:gd name="T80" fmla="*/ 4185 w 5143"/>
              <a:gd name="T81" fmla="*/ 1071 h 1902"/>
              <a:gd name="T82" fmla="*/ 3960 w 5143"/>
              <a:gd name="T83" fmla="*/ 939 h 1902"/>
              <a:gd name="T84" fmla="*/ 3708 w 5143"/>
              <a:gd name="T85" fmla="*/ 801 h 1902"/>
              <a:gd name="T86" fmla="*/ 3492 w 5143"/>
              <a:gd name="T87" fmla="*/ 702 h 1902"/>
              <a:gd name="T88" fmla="*/ 3231 w 5143"/>
              <a:gd name="T89" fmla="*/ 588 h 1902"/>
              <a:gd name="T90" fmla="*/ 2964 w 5143"/>
              <a:gd name="T91" fmla="*/ 489 h 1902"/>
              <a:gd name="T92" fmla="*/ 2718 w 5143"/>
              <a:gd name="T93" fmla="*/ 405 h 1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43" h="1902">
                <a:moveTo>
                  <a:pt x="2718" y="405"/>
                </a:moveTo>
                <a:lnTo>
                  <a:pt x="2466" y="333"/>
                </a:lnTo>
                <a:lnTo>
                  <a:pt x="2202" y="261"/>
                </a:lnTo>
                <a:lnTo>
                  <a:pt x="1929" y="198"/>
                </a:lnTo>
                <a:lnTo>
                  <a:pt x="1695" y="153"/>
                </a:lnTo>
                <a:lnTo>
                  <a:pt x="1434" y="111"/>
                </a:lnTo>
                <a:lnTo>
                  <a:pt x="1188" y="75"/>
                </a:lnTo>
                <a:lnTo>
                  <a:pt x="957" y="48"/>
                </a:lnTo>
                <a:lnTo>
                  <a:pt x="747" y="30"/>
                </a:lnTo>
                <a:lnTo>
                  <a:pt x="501" y="15"/>
                </a:lnTo>
                <a:lnTo>
                  <a:pt x="246" y="3"/>
                </a:lnTo>
                <a:lnTo>
                  <a:pt x="0" y="0"/>
                </a:lnTo>
                <a:lnTo>
                  <a:pt x="0" y="275"/>
                </a:lnTo>
                <a:lnTo>
                  <a:pt x="0" y="345"/>
                </a:lnTo>
                <a:lnTo>
                  <a:pt x="0" y="275"/>
                </a:lnTo>
                <a:lnTo>
                  <a:pt x="0" y="342"/>
                </a:lnTo>
                <a:lnTo>
                  <a:pt x="339" y="351"/>
                </a:lnTo>
                <a:lnTo>
                  <a:pt x="606" y="372"/>
                </a:lnTo>
                <a:lnTo>
                  <a:pt x="852" y="399"/>
                </a:lnTo>
                <a:lnTo>
                  <a:pt x="1068" y="435"/>
                </a:lnTo>
                <a:lnTo>
                  <a:pt x="1275" y="474"/>
                </a:lnTo>
                <a:lnTo>
                  <a:pt x="1545" y="540"/>
                </a:lnTo>
                <a:lnTo>
                  <a:pt x="1761" y="603"/>
                </a:lnTo>
                <a:lnTo>
                  <a:pt x="1971" y="678"/>
                </a:lnTo>
                <a:lnTo>
                  <a:pt x="2166" y="747"/>
                </a:lnTo>
                <a:lnTo>
                  <a:pt x="2397" y="852"/>
                </a:lnTo>
                <a:lnTo>
                  <a:pt x="2613" y="960"/>
                </a:lnTo>
                <a:lnTo>
                  <a:pt x="2832" y="1095"/>
                </a:lnTo>
                <a:lnTo>
                  <a:pt x="3012" y="1212"/>
                </a:lnTo>
                <a:lnTo>
                  <a:pt x="3186" y="1347"/>
                </a:lnTo>
                <a:lnTo>
                  <a:pt x="3351" y="1497"/>
                </a:lnTo>
                <a:lnTo>
                  <a:pt x="3480" y="1629"/>
                </a:lnTo>
                <a:lnTo>
                  <a:pt x="3612" y="1785"/>
                </a:lnTo>
                <a:lnTo>
                  <a:pt x="3699" y="1901"/>
                </a:lnTo>
                <a:lnTo>
                  <a:pt x="5142" y="1901"/>
                </a:lnTo>
                <a:lnTo>
                  <a:pt x="5076" y="1827"/>
                </a:lnTo>
                <a:lnTo>
                  <a:pt x="4968" y="1707"/>
                </a:lnTo>
                <a:lnTo>
                  <a:pt x="4797" y="1539"/>
                </a:lnTo>
                <a:lnTo>
                  <a:pt x="4617" y="1383"/>
                </a:lnTo>
                <a:lnTo>
                  <a:pt x="4410" y="1221"/>
                </a:lnTo>
                <a:lnTo>
                  <a:pt x="4185" y="1071"/>
                </a:lnTo>
                <a:lnTo>
                  <a:pt x="3960" y="939"/>
                </a:lnTo>
                <a:lnTo>
                  <a:pt x="3708" y="801"/>
                </a:lnTo>
                <a:lnTo>
                  <a:pt x="3492" y="702"/>
                </a:lnTo>
                <a:lnTo>
                  <a:pt x="3231" y="588"/>
                </a:lnTo>
                <a:lnTo>
                  <a:pt x="2964" y="489"/>
                </a:lnTo>
                <a:lnTo>
                  <a:pt x="2718" y="405"/>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6389" name="Freeform 5"/>
          <p:cNvSpPr>
            <a:spLocks/>
          </p:cNvSpPr>
          <p:nvPr/>
        </p:nvSpPr>
        <p:spPr bwMode="white">
          <a:xfrm>
            <a:off x="0" y="3146425"/>
            <a:ext cx="9144000" cy="3690938"/>
          </a:xfrm>
          <a:custGeom>
            <a:avLst/>
            <a:gdLst>
              <a:gd name="T0" fmla="*/ 0 w 5760"/>
              <a:gd name="T1" fmla="*/ 0 h 2325"/>
              <a:gd name="T2" fmla="*/ 0 w 5760"/>
              <a:gd name="T3" fmla="*/ 339 h 2325"/>
              <a:gd name="T4" fmla="*/ 558 w 5760"/>
              <a:gd name="T5" fmla="*/ 357 h 2325"/>
              <a:gd name="T6" fmla="*/ 807 w 5760"/>
              <a:gd name="T7" fmla="*/ 375 h 2325"/>
              <a:gd name="T8" fmla="*/ 1056 w 5760"/>
              <a:gd name="T9" fmla="*/ 399 h 2325"/>
              <a:gd name="T10" fmla="*/ 1272 w 5760"/>
              <a:gd name="T11" fmla="*/ 426 h 2325"/>
              <a:gd name="T12" fmla="*/ 1539 w 5760"/>
              <a:gd name="T13" fmla="*/ 465 h 2325"/>
              <a:gd name="T14" fmla="*/ 1791 w 5760"/>
              <a:gd name="T15" fmla="*/ 510 h 2325"/>
              <a:gd name="T16" fmla="*/ 2076 w 5760"/>
              <a:gd name="T17" fmla="*/ 570 h 2325"/>
              <a:gd name="T18" fmla="*/ 2334 w 5760"/>
              <a:gd name="T19" fmla="*/ 630 h 2325"/>
              <a:gd name="T20" fmla="*/ 2544 w 5760"/>
              <a:gd name="T21" fmla="*/ 687 h 2325"/>
              <a:gd name="T22" fmla="*/ 2775 w 5760"/>
              <a:gd name="T23" fmla="*/ 759 h 2325"/>
              <a:gd name="T24" fmla="*/ 3003 w 5760"/>
              <a:gd name="T25" fmla="*/ 837 h 2325"/>
              <a:gd name="T26" fmla="*/ 3231 w 5760"/>
              <a:gd name="T27" fmla="*/ 924 h 2325"/>
              <a:gd name="T28" fmla="*/ 3438 w 5760"/>
              <a:gd name="T29" fmla="*/ 1005 h 2325"/>
              <a:gd name="T30" fmla="*/ 3663 w 5760"/>
              <a:gd name="T31" fmla="*/ 1110 h 2325"/>
              <a:gd name="T32" fmla="*/ 3903 w 5760"/>
              <a:gd name="T33" fmla="*/ 1233 h 2325"/>
              <a:gd name="T34" fmla="*/ 4149 w 5760"/>
              <a:gd name="T35" fmla="*/ 1374 h 2325"/>
              <a:gd name="T36" fmla="*/ 4353 w 5760"/>
              <a:gd name="T37" fmla="*/ 1506 h 2325"/>
              <a:gd name="T38" fmla="*/ 4491 w 5760"/>
              <a:gd name="T39" fmla="*/ 1602 h 2325"/>
              <a:gd name="T40" fmla="*/ 4668 w 5760"/>
              <a:gd name="T41" fmla="*/ 1740 h 2325"/>
              <a:gd name="T42" fmla="*/ 4824 w 5760"/>
              <a:gd name="T43" fmla="*/ 1875 h 2325"/>
              <a:gd name="T44" fmla="*/ 4968 w 5760"/>
              <a:gd name="T45" fmla="*/ 2016 h 2325"/>
              <a:gd name="T46" fmla="*/ 5100 w 5760"/>
              <a:gd name="T47" fmla="*/ 2154 h 2325"/>
              <a:gd name="T48" fmla="*/ 5238 w 5760"/>
              <a:gd name="T49" fmla="*/ 2324 h 2325"/>
              <a:gd name="T50" fmla="*/ 5759 w 5760"/>
              <a:gd name="T51" fmla="*/ 2324 h 2325"/>
              <a:gd name="T52" fmla="*/ 5759 w 5760"/>
              <a:gd name="T53" fmla="*/ 1245 h 2325"/>
              <a:gd name="T54" fmla="*/ 5580 w 5760"/>
              <a:gd name="T55" fmla="*/ 1119 h 2325"/>
              <a:gd name="T56" fmla="*/ 5400 w 5760"/>
              <a:gd name="T57" fmla="*/ 1020 h 2325"/>
              <a:gd name="T58" fmla="*/ 5205 w 5760"/>
              <a:gd name="T59" fmla="*/ 918 h 2325"/>
              <a:gd name="T60" fmla="*/ 5031 w 5760"/>
              <a:gd name="T61" fmla="*/ 837 h 2325"/>
              <a:gd name="T62" fmla="*/ 4866 w 5760"/>
              <a:gd name="T63" fmla="*/ 771 h 2325"/>
              <a:gd name="T64" fmla="*/ 4710 w 5760"/>
              <a:gd name="T65" fmla="*/ 711 h 2325"/>
              <a:gd name="T66" fmla="*/ 4545 w 5760"/>
              <a:gd name="T67" fmla="*/ 651 h 2325"/>
              <a:gd name="T68" fmla="*/ 4386 w 5760"/>
              <a:gd name="T69" fmla="*/ 600 h 2325"/>
              <a:gd name="T70" fmla="*/ 4248 w 5760"/>
              <a:gd name="T71" fmla="*/ 552 h 2325"/>
              <a:gd name="T72" fmla="*/ 3993 w 5760"/>
              <a:gd name="T73" fmla="*/ 483 h 2325"/>
              <a:gd name="T74" fmla="*/ 3777 w 5760"/>
              <a:gd name="T75" fmla="*/ 423 h 2325"/>
              <a:gd name="T76" fmla="*/ 3564 w 5760"/>
              <a:gd name="T77" fmla="*/ 375 h 2325"/>
              <a:gd name="T78" fmla="*/ 3282 w 5760"/>
              <a:gd name="T79" fmla="*/ 312 h 2325"/>
              <a:gd name="T80" fmla="*/ 3003 w 5760"/>
              <a:gd name="T81" fmla="*/ 261 h 2325"/>
              <a:gd name="T82" fmla="*/ 2733 w 5760"/>
              <a:gd name="T83" fmla="*/ 213 h 2325"/>
              <a:gd name="T84" fmla="*/ 2451 w 5760"/>
              <a:gd name="T85" fmla="*/ 171 h 2325"/>
              <a:gd name="T86" fmla="*/ 2211 w 5760"/>
              <a:gd name="T87" fmla="*/ 138 h 2325"/>
              <a:gd name="T88" fmla="*/ 1974 w 5760"/>
              <a:gd name="T89" fmla="*/ 108 h 2325"/>
              <a:gd name="T90" fmla="*/ 1665 w 5760"/>
              <a:gd name="T91" fmla="*/ 81 h 2325"/>
              <a:gd name="T92" fmla="*/ 1437 w 5760"/>
              <a:gd name="T93" fmla="*/ 60 h 2325"/>
              <a:gd name="T94" fmla="*/ 1125 w 5760"/>
              <a:gd name="T95" fmla="*/ 36 h 2325"/>
              <a:gd name="T96" fmla="*/ 828 w 5760"/>
              <a:gd name="T97" fmla="*/ 21 h 2325"/>
              <a:gd name="T98" fmla="*/ 558 w 5760"/>
              <a:gd name="T99" fmla="*/ 12 h 2325"/>
              <a:gd name="T100" fmla="*/ 282 w 5760"/>
              <a:gd name="T101" fmla="*/ 3 h 2325"/>
              <a:gd name="T102" fmla="*/ 0 w 5760"/>
              <a:gd name="T103" fmla="*/ 0 h 2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2325">
                <a:moveTo>
                  <a:pt x="0" y="0"/>
                </a:moveTo>
                <a:lnTo>
                  <a:pt x="0" y="339"/>
                </a:lnTo>
                <a:lnTo>
                  <a:pt x="558" y="357"/>
                </a:lnTo>
                <a:lnTo>
                  <a:pt x="807" y="375"/>
                </a:lnTo>
                <a:lnTo>
                  <a:pt x="1056" y="399"/>
                </a:lnTo>
                <a:lnTo>
                  <a:pt x="1272" y="426"/>
                </a:lnTo>
                <a:lnTo>
                  <a:pt x="1539" y="465"/>
                </a:lnTo>
                <a:lnTo>
                  <a:pt x="1791" y="510"/>
                </a:lnTo>
                <a:lnTo>
                  <a:pt x="2076" y="570"/>
                </a:lnTo>
                <a:lnTo>
                  <a:pt x="2334" y="630"/>
                </a:lnTo>
                <a:lnTo>
                  <a:pt x="2544" y="687"/>
                </a:lnTo>
                <a:lnTo>
                  <a:pt x="2775" y="759"/>
                </a:lnTo>
                <a:lnTo>
                  <a:pt x="3003" y="837"/>
                </a:lnTo>
                <a:lnTo>
                  <a:pt x="3231" y="924"/>
                </a:lnTo>
                <a:lnTo>
                  <a:pt x="3438" y="1005"/>
                </a:lnTo>
                <a:lnTo>
                  <a:pt x="3663" y="1110"/>
                </a:lnTo>
                <a:lnTo>
                  <a:pt x="3903" y="1233"/>
                </a:lnTo>
                <a:lnTo>
                  <a:pt x="4149" y="1374"/>
                </a:lnTo>
                <a:lnTo>
                  <a:pt x="4353" y="1506"/>
                </a:lnTo>
                <a:lnTo>
                  <a:pt x="4491" y="1602"/>
                </a:lnTo>
                <a:lnTo>
                  <a:pt x="4668" y="1740"/>
                </a:lnTo>
                <a:lnTo>
                  <a:pt x="4824" y="1875"/>
                </a:lnTo>
                <a:lnTo>
                  <a:pt x="4968" y="2016"/>
                </a:lnTo>
                <a:lnTo>
                  <a:pt x="5100" y="2154"/>
                </a:lnTo>
                <a:lnTo>
                  <a:pt x="5238" y="2324"/>
                </a:lnTo>
                <a:lnTo>
                  <a:pt x="5759" y="2324"/>
                </a:lnTo>
                <a:lnTo>
                  <a:pt x="5759" y="1245"/>
                </a:lnTo>
                <a:lnTo>
                  <a:pt x="5580" y="1119"/>
                </a:lnTo>
                <a:lnTo>
                  <a:pt x="5400" y="1020"/>
                </a:lnTo>
                <a:lnTo>
                  <a:pt x="5205" y="918"/>
                </a:lnTo>
                <a:lnTo>
                  <a:pt x="5031" y="837"/>
                </a:lnTo>
                <a:lnTo>
                  <a:pt x="4866" y="771"/>
                </a:lnTo>
                <a:lnTo>
                  <a:pt x="4710" y="711"/>
                </a:lnTo>
                <a:lnTo>
                  <a:pt x="4545" y="651"/>
                </a:lnTo>
                <a:lnTo>
                  <a:pt x="4386" y="600"/>
                </a:lnTo>
                <a:lnTo>
                  <a:pt x="4248" y="552"/>
                </a:lnTo>
                <a:lnTo>
                  <a:pt x="3993" y="483"/>
                </a:lnTo>
                <a:lnTo>
                  <a:pt x="3777" y="423"/>
                </a:lnTo>
                <a:lnTo>
                  <a:pt x="3564" y="375"/>
                </a:lnTo>
                <a:lnTo>
                  <a:pt x="3282" y="312"/>
                </a:lnTo>
                <a:lnTo>
                  <a:pt x="3003" y="261"/>
                </a:lnTo>
                <a:lnTo>
                  <a:pt x="2733" y="213"/>
                </a:lnTo>
                <a:lnTo>
                  <a:pt x="2451" y="171"/>
                </a:lnTo>
                <a:lnTo>
                  <a:pt x="2211" y="138"/>
                </a:lnTo>
                <a:lnTo>
                  <a:pt x="1974" y="108"/>
                </a:lnTo>
                <a:lnTo>
                  <a:pt x="1665" y="81"/>
                </a:lnTo>
                <a:lnTo>
                  <a:pt x="1437" y="60"/>
                </a:lnTo>
                <a:lnTo>
                  <a:pt x="1125" y="36"/>
                </a:lnTo>
                <a:lnTo>
                  <a:pt x="828" y="21"/>
                </a:lnTo>
                <a:lnTo>
                  <a:pt x="558" y="12"/>
                </a:lnTo>
                <a:lnTo>
                  <a:pt x="282" y="3"/>
                </a:lnTo>
                <a:lnTo>
                  <a:pt x="0" y="0"/>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6390" name="Freeform 6"/>
          <p:cNvSpPr>
            <a:spLocks/>
          </p:cNvSpPr>
          <p:nvPr/>
        </p:nvSpPr>
        <p:spPr bwMode="white">
          <a:xfrm>
            <a:off x="0" y="2460625"/>
            <a:ext cx="9144000" cy="2497138"/>
          </a:xfrm>
          <a:custGeom>
            <a:avLst/>
            <a:gdLst>
              <a:gd name="T0" fmla="*/ 0 w 5760"/>
              <a:gd name="T1" fmla="*/ 0 h 1573"/>
              <a:gd name="T2" fmla="*/ 0 w 5760"/>
              <a:gd name="T3" fmla="*/ 351 h 1573"/>
              <a:gd name="T4" fmla="*/ 282 w 5760"/>
              <a:gd name="T5" fmla="*/ 357 h 1573"/>
              <a:gd name="T6" fmla="*/ 627 w 5760"/>
              <a:gd name="T7" fmla="*/ 363 h 1573"/>
              <a:gd name="T8" fmla="*/ 960 w 5760"/>
              <a:gd name="T9" fmla="*/ 375 h 1573"/>
              <a:gd name="T10" fmla="*/ 1218 w 5760"/>
              <a:gd name="T11" fmla="*/ 393 h 1573"/>
              <a:gd name="T12" fmla="*/ 1470 w 5760"/>
              <a:gd name="T13" fmla="*/ 411 h 1573"/>
              <a:gd name="T14" fmla="*/ 1746 w 5760"/>
              <a:gd name="T15" fmla="*/ 435 h 1573"/>
              <a:gd name="T16" fmla="*/ 2022 w 5760"/>
              <a:gd name="T17" fmla="*/ 462 h 1573"/>
              <a:gd name="T18" fmla="*/ 2340 w 5760"/>
              <a:gd name="T19" fmla="*/ 504 h 1573"/>
              <a:gd name="T20" fmla="*/ 2664 w 5760"/>
              <a:gd name="T21" fmla="*/ 549 h 1573"/>
              <a:gd name="T22" fmla="*/ 2952 w 5760"/>
              <a:gd name="T23" fmla="*/ 597 h 1573"/>
              <a:gd name="T24" fmla="*/ 3225 w 5760"/>
              <a:gd name="T25" fmla="*/ 648 h 1573"/>
              <a:gd name="T26" fmla="*/ 3513 w 5760"/>
              <a:gd name="T27" fmla="*/ 708 h 1573"/>
              <a:gd name="T28" fmla="*/ 3693 w 5760"/>
              <a:gd name="T29" fmla="*/ 750 h 1573"/>
              <a:gd name="T30" fmla="*/ 3936 w 5760"/>
              <a:gd name="T31" fmla="*/ 810 h 1573"/>
              <a:gd name="T32" fmla="*/ 4095 w 5760"/>
              <a:gd name="T33" fmla="*/ 855 h 1573"/>
              <a:gd name="T34" fmla="*/ 4281 w 5760"/>
              <a:gd name="T35" fmla="*/ 909 h 1573"/>
              <a:gd name="T36" fmla="*/ 4503 w 5760"/>
              <a:gd name="T37" fmla="*/ 981 h 1573"/>
              <a:gd name="T38" fmla="*/ 4704 w 5760"/>
              <a:gd name="T39" fmla="*/ 1053 h 1573"/>
              <a:gd name="T40" fmla="*/ 4911 w 5760"/>
              <a:gd name="T41" fmla="*/ 1131 h 1573"/>
              <a:gd name="T42" fmla="*/ 5073 w 5760"/>
              <a:gd name="T43" fmla="*/ 1197 h 1573"/>
              <a:gd name="T44" fmla="*/ 5256 w 5760"/>
              <a:gd name="T45" fmla="*/ 1281 h 1573"/>
              <a:gd name="T46" fmla="*/ 5475 w 5760"/>
              <a:gd name="T47" fmla="*/ 1401 h 1573"/>
              <a:gd name="T48" fmla="*/ 5628 w 5760"/>
              <a:gd name="T49" fmla="*/ 1482 h 1573"/>
              <a:gd name="T50" fmla="*/ 5759 w 5760"/>
              <a:gd name="T51" fmla="*/ 1572 h 1573"/>
              <a:gd name="T52" fmla="*/ 5759 w 5760"/>
              <a:gd name="T53" fmla="*/ 633 h 1573"/>
              <a:gd name="T54" fmla="*/ 5493 w 5760"/>
              <a:gd name="T55" fmla="*/ 570 h 1573"/>
              <a:gd name="T56" fmla="*/ 5214 w 5760"/>
              <a:gd name="T57" fmla="*/ 501 h 1573"/>
              <a:gd name="T58" fmla="*/ 4950 w 5760"/>
              <a:gd name="T59" fmla="*/ 444 h 1573"/>
              <a:gd name="T60" fmla="*/ 4701 w 5760"/>
              <a:gd name="T61" fmla="*/ 396 h 1573"/>
              <a:gd name="T62" fmla="*/ 4425 w 5760"/>
              <a:gd name="T63" fmla="*/ 348 h 1573"/>
              <a:gd name="T64" fmla="*/ 4110 w 5760"/>
              <a:gd name="T65" fmla="*/ 294 h 1573"/>
              <a:gd name="T66" fmla="*/ 3813 w 5760"/>
              <a:gd name="T67" fmla="*/ 252 h 1573"/>
              <a:gd name="T68" fmla="*/ 3549 w 5760"/>
              <a:gd name="T69" fmla="*/ 213 h 1573"/>
              <a:gd name="T70" fmla="*/ 3261 w 5760"/>
              <a:gd name="T71" fmla="*/ 183 h 1573"/>
              <a:gd name="T72" fmla="*/ 3015 w 5760"/>
              <a:gd name="T73" fmla="*/ 153 h 1573"/>
              <a:gd name="T74" fmla="*/ 2757 w 5760"/>
              <a:gd name="T75" fmla="*/ 129 h 1573"/>
              <a:gd name="T76" fmla="*/ 2520 w 5760"/>
              <a:gd name="T77" fmla="*/ 105 h 1573"/>
              <a:gd name="T78" fmla="*/ 2301 w 5760"/>
              <a:gd name="T79" fmla="*/ 87 h 1573"/>
              <a:gd name="T80" fmla="*/ 2013 w 5760"/>
              <a:gd name="T81" fmla="*/ 66 h 1573"/>
              <a:gd name="T82" fmla="*/ 1731 w 5760"/>
              <a:gd name="T83" fmla="*/ 48 h 1573"/>
              <a:gd name="T84" fmla="*/ 1524 w 5760"/>
              <a:gd name="T85" fmla="*/ 39 h 1573"/>
              <a:gd name="T86" fmla="*/ 1260 w 5760"/>
              <a:gd name="T87" fmla="*/ 27 h 1573"/>
              <a:gd name="T88" fmla="*/ 966 w 5760"/>
              <a:gd name="T89" fmla="*/ 15 h 1573"/>
              <a:gd name="T90" fmla="*/ 714 w 5760"/>
              <a:gd name="T91" fmla="*/ 12 h 1573"/>
              <a:gd name="T92" fmla="*/ 510 w 5760"/>
              <a:gd name="T93" fmla="*/ 6 h 1573"/>
              <a:gd name="T94" fmla="*/ 243 w 5760"/>
              <a:gd name="T95" fmla="*/ 0 h 1573"/>
              <a:gd name="T96" fmla="*/ 0 w 5760"/>
              <a:gd name="T97" fmla="*/ 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0" h="1573">
                <a:moveTo>
                  <a:pt x="0" y="0"/>
                </a:moveTo>
                <a:lnTo>
                  <a:pt x="0" y="351"/>
                </a:lnTo>
                <a:lnTo>
                  <a:pt x="282" y="357"/>
                </a:lnTo>
                <a:lnTo>
                  <a:pt x="627" y="363"/>
                </a:lnTo>
                <a:lnTo>
                  <a:pt x="960" y="375"/>
                </a:lnTo>
                <a:lnTo>
                  <a:pt x="1218" y="393"/>
                </a:lnTo>
                <a:lnTo>
                  <a:pt x="1470" y="411"/>
                </a:lnTo>
                <a:lnTo>
                  <a:pt x="1746" y="435"/>
                </a:lnTo>
                <a:lnTo>
                  <a:pt x="2022" y="462"/>
                </a:lnTo>
                <a:lnTo>
                  <a:pt x="2340" y="504"/>
                </a:lnTo>
                <a:lnTo>
                  <a:pt x="2664" y="549"/>
                </a:lnTo>
                <a:lnTo>
                  <a:pt x="2952" y="597"/>
                </a:lnTo>
                <a:lnTo>
                  <a:pt x="3225" y="648"/>
                </a:lnTo>
                <a:lnTo>
                  <a:pt x="3513" y="708"/>
                </a:lnTo>
                <a:lnTo>
                  <a:pt x="3693" y="750"/>
                </a:lnTo>
                <a:lnTo>
                  <a:pt x="3936" y="810"/>
                </a:lnTo>
                <a:lnTo>
                  <a:pt x="4095" y="855"/>
                </a:lnTo>
                <a:lnTo>
                  <a:pt x="4281" y="909"/>
                </a:lnTo>
                <a:lnTo>
                  <a:pt x="4503" y="981"/>
                </a:lnTo>
                <a:lnTo>
                  <a:pt x="4704" y="1053"/>
                </a:lnTo>
                <a:lnTo>
                  <a:pt x="4911" y="1131"/>
                </a:lnTo>
                <a:lnTo>
                  <a:pt x="5073" y="1197"/>
                </a:lnTo>
                <a:lnTo>
                  <a:pt x="5256" y="1281"/>
                </a:lnTo>
                <a:lnTo>
                  <a:pt x="5475" y="1401"/>
                </a:lnTo>
                <a:lnTo>
                  <a:pt x="5628" y="1482"/>
                </a:lnTo>
                <a:lnTo>
                  <a:pt x="5759" y="1572"/>
                </a:lnTo>
                <a:lnTo>
                  <a:pt x="5759" y="633"/>
                </a:lnTo>
                <a:lnTo>
                  <a:pt x="5493" y="570"/>
                </a:lnTo>
                <a:lnTo>
                  <a:pt x="5214" y="501"/>
                </a:lnTo>
                <a:lnTo>
                  <a:pt x="4950" y="444"/>
                </a:lnTo>
                <a:lnTo>
                  <a:pt x="4701" y="396"/>
                </a:lnTo>
                <a:lnTo>
                  <a:pt x="4425" y="348"/>
                </a:lnTo>
                <a:lnTo>
                  <a:pt x="4110" y="294"/>
                </a:lnTo>
                <a:lnTo>
                  <a:pt x="3813" y="252"/>
                </a:lnTo>
                <a:lnTo>
                  <a:pt x="3549" y="213"/>
                </a:lnTo>
                <a:lnTo>
                  <a:pt x="3261" y="183"/>
                </a:lnTo>
                <a:lnTo>
                  <a:pt x="3015" y="153"/>
                </a:lnTo>
                <a:lnTo>
                  <a:pt x="2757" y="129"/>
                </a:lnTo>
                <a:lnTo>
                  <a:pt x="2520" y="105"/>
                </a:lnTo>
                <a:lnTo>
                  <a:pt x="2301" y="87"/>
                </a:lnTo>
                <a:lnTo>
                  <a:pt x="2013" y="66"/>
                </a:lnTo>
                <a:lnTo>
                  <a:pt x="1731" y="48"/>
                </a:lnTo>
                <a:lnTo>
                  <a:pt x="1524" y="39"/>
                </a:lnTo>
                <a:lnTo>
                  <a:pt x="1260" y="27"/>
                </a:lnTo>
                <a:lnTo>
                  <a:pt x="966" y="15"/>
                </a:lnTo>
                <a:lnTo>
                  <a:pt x="714" y="12"/>
                </a:lnTo>
                <a:lnTo>
                  <a:pt x="510" y="6"/>
                </a:lnTo>
                <a:lnTo>
                  <a:pt x="243" y="0"/>
                </a:lnTo>
                <a:lnTo>
                  <a:pt x="0" y="0"/>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6391" name="Freeform 7"/>
          <p:cNvSpPr>
            <a:spLocks/>
          </p:cNvSpPr>
          <p:nvPr/>
        </p:nvSpPr>
        <p:spPr bwMode="white">
          <a:xfrm>
            <a:off x="0" y="1793875"/>
            <a:ext cx="9144000" cy="1539875"/>
          </a:xfrm>
          <a:custGeom>
            <a:avLst/>
            <a:gdLst>
              <a:gd name="T0" fmla="*/ 0 w 5760"/>
              <a:gd name="T1" fmla="*/ 0 h 970"/>
              <a:gd name="T2" fmla="*/ 0 w 5760"/>
              <a:gd name="T3" fmla="*/ 339 h 970"/>
              <a:gd name="T4" fmla="*/ 318 w 5760"/>
              <a:gd name="T5" fmla="*/ 342 h 970"/>
              <a:gd name="T6" fmla="*/ 591 w 5760"/>
              <a:gd name="T7" fmla="*/ 348 h 970"/>
              <a:gd name="T8" fmla="*/ 846 w 5760"/>
              <a:gd name="T9" fmla="*/ 354 h 970"/>
              <a:gd name="T10" fmla="*/ 1074 w 5760"/>
              <a:gd name="T11" fmla="*/ 360 h 970"/>
              <a:gd name="T12" fmla="*/ 1314 w 5760"/>
              <a:gd name="T13" fmla="*/ 366 h 970"/>
              <a:gd name="T14" fmla="*/ 1599 w 5760"/>
              <a:gd name="T15" fmla="*/ 381 h 970"/>
              <a:gd name="T16" fmla="*/ 1911 w 5760"/>
              <a:gd name="T17" fmla="*/ 399 h 970"/>
              <a:gd name="T18" fmla="*/ 2241 w 5760"/>
              <a:gd name="T19" fmla="*/ 420 h 970"/>
              <a:gd name="T20" fmla="*/ 2619 w 5760"/>
              <a:gd name="T21" fmla="*/ 453 h 970"/>
              <a:gd name="T22" fmla="*/ 2889 w 5760"/>
              <a:gd name="T23" fmla="*/ 477 h 970"/>
              <a:gd name="T24" fmla="*/ 3177 w 5760"/>
              <a:gd name="T25" fmla="*/ 507 h 970"/>
              <a:gd name="T26" fmla="*/ 3498 w 5760"/>
              <a:gd name="T27" fmla="*/ 543 h 970"/>
              <a:gd name="T28" fmla="*/ 3813 w 5760"/>
              <a:gd name="T29" fmla="*/ 585 h 970"/>
              <a:gd name="T30" fmla="*/ 4044 w 5760"/>
              <a:gd name="T31" fmla="*/ 618 h 970"/>
              <a:gd name="T32" fmla="*/ 4365 w 5760"/>
              <a:gd name="T33" fmla="*/ 669 h 970"/>
              <a:gd name="T34" fmla="*/ 4683 w 5760"/>
              <a:gd name="T35" fmla="*/ 726 h 970"/>
              <a:gd name="T36" fmla="*/ 4980 w 5760"/>
              <a:gd name="T37" fmla="*/ 786 h 970"/>
              <a:gd name="T38" fmla="*/ 5268 w 5760"/>
              <a:gd name="T39" fmla="*/ 846 h 970"/>
              <a:gd name="T40" fmla="*/ 5646 w 5760"/>
              <a:gd name="T41" fmla="*/ 942 h 970"/>
              <a:gd name="T42" fmla="*/ 5759 w 5760"/>
              <a:gd name="T43" fmla="*/ 969 h 970"/>
              <a:gd name="T44" fmla="*/ 5759 w 5760"/>
              <a:gd name="T45" fmla="*/ 0 h 970"/>
              <a:gd name="T46" fmla="*/ 0 w 5760"/>
              <a:gd name="T47" fmla="*/ 0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760" h="970">
                <a:moveTo>
                  <a:pt x="0" y="0"/>
                </a:moveTo>
                <a:lnTo>
                  <a:pt x="0" y="339"/>
                </a:lnTo>
                <a:lnTo>
                  <a:pt x="318" y="342"/>
                </a:lnTo>
                <a:lnTo>
                  <a:pt x="591" y="348"/>
                </a:lnTo>
                <a:lnTo>
                  <a:pt x="846" y="354"/>
                </a:lnTo>
                <a:lnTo>
                  <a:pt x="1074" y="360"/>
                </a:lnTo>
                <a:lnTo>
                  <a:pt x="1314" y="366"/>
                </a:lnTo>
                <a:lnTo>
                  <a:pt x="1599" y="381"/>
                </a:lnTo>
                <a:lnTo>
                  <a:pt x="1911" y="399"/>
                </a:lnTo>
                <a:lnTo>
                  <a:pt x="2241" y="420"/>
                </a:lnTo>
                <a:lnTo>
                  <a:pt x="2619" y="453"/>
                </a:lnTo>
                <a:lnTo>
                  <a:pt x="2889" y="477"/>
                </a:lnTo>
                <a:lnTo>
                  <a:pt x="3177" y="507"/>
                </a:lnTo>
                <a:lnTo>
                  <a:pt x="3498" y="543"/>
                </a:lnTo>
                <a:lnTo>
                  <a:pt x="3813" y="585"/>
                </a:lnTo>
                <a:lnTo>
                  <a:pt x="4044" y="618"/>
                </a:lnTo>
                <a:lnTo>
                  <a:pt x="4365" y="669"/>
                </a:lnTo>
                <a:lnTo>
                  <a:pt x="4683" y="726"/>
                </a:lnTo>
                <a:lnTo>
                  <a:pt x="4980" y="786"/>
                </a:lnTo>
                <a:lnTo>
                  <a:pt x="5268" y="846"/>
                </a:lnTo>
                <a:lnTo>
                  <a:pt x="5646" y="942"/>
                </a:lnTo>
                <a:lnTo>
                  <a:pt x="5759" y="969"/>
                </a:lnTo>
                <a:lnTo>
                  <a:pt x="5759" y="0"/>
                </a:lnTo>
                <a:lnTo>
                  <a:pt x="0" y="0"/>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6392" name="Freeform 8"/>
          <p:cNvSpPr>
            <a:spLocks/>
          </p:cNvSpPr>
          <p:nvPr/>
        </p:nvSpPr>
        <p:spPr bwMode="white">
          <a:xfrm>
            <a:off x="0" y="-20638"/>
            <a:ext cx="9144000" cy="1682751"/>
          </a:xfrm>
          <a:custGeom>
            <a:avLst/>
            <a:gdLst>
              <a:gd name="T0" fmla="*/ 0 w 5760"/>
              <a:gd name="T1" fmla="*/ 753 h 1060"/>
              <a:gd name="T2" fmla="*/ 0 w 5760"/>
              <a:gd name="T3" fmla="*/ 1059 h 1060"/>
              <a:gd name="T4" fmla="*/ 5759 w 5760"/>
              <a:gd name="T5" fmla="*/ 1059 h 1060"/>
              <a:gd name="T6" fmla="*/ 5759 w 5760"/>
              <a:gd name="T7" fmla="*/ 0 h 1060"/>
              <a:gd name="T8" fmla="*/ 5430 w 5760"/>
              <a:gd name="T9" fmla="*/ 0 h 1060"/>
              <a:gd name="T10" fmla="*/ 5298 w 5760"/>
              <a:gd name="T11" fmla="*/ 84 h 1060"/>
              <a:gd name="T12" fmla="*/ 5136 w 5760"/>
              <a:gd name="T13" fmla="*/ 159 h 1060"/>
              <a:gd name="T14" fmla="*/ 4968 w 5760"/>
              <a:gd name="T15" fmla="*/ 222 h 1060"/>
              <a:gd name="T16" fmla="*/ 4812 w 5760"/>
              <a:gd name="T17" fmla="*/ 267 h 1060"/>
              <a:gd name="T18" fmla="*/ 4626 w 5760"/>
              <a:gd name="T19" fmla="*/ 324 h 1060"/>
              <a:gd name="T20" fmla="*/ 4440 w 5760"/>
              <a:gd name="T21" fmla="*/ 366 h 1060"/>
              <a:gd name="T22" fmla="*/ 4230 w 5760"/>
              <a:gd name="T23" fmla="*/ 414 h 1060"/>
              <a:gd name="T24" fmla="*/ 3939 w 5760"/>
              <a:gd name="T25" fmla="*/ 468 h 1060"/>
              <a:gd name="T26" fmla="*/ 3711 w 5760"/>
              <a:gd name="T27" fmla="*/ 504 h 1060"/>
              <a:gd name="T28" fmla="*/ 3441 w 5760"/>
              <a:gd name="T29" fmla="*/ 543 h 1060"/>
              <a:gd name="T30" fmla="*/ 3189 w 5760"/>
              <a:gd name="T31" fmla="*/ 579 h 1060"/>
              <a:gd name="T32" fmla="*/ 2925 w 5760"/>
              <a:gd name="T33" fmla="*/ 606 h 1060"/>
              <a:gd name="T34" fmla="*/ 2679 w 5760"/>
              <a:gd name="T35" fmla="*/ 633 h 1060"/>
              <a:gd name="T36" fmla="*/ 2418 w 5760"/>
              <a:gd name="T37" fmla="*/ 654 h 1060"/>
              <a:gd name="T38" fmla="*/ 2142 w 5760"/>
              <a:gd name="T39" fmla="*/ 675 h 1060"/>
              <a:gd name="T40" fmla="*/ 1896 w 5760"/>
              <a:gd name="T41" fmla="*/ 693 h 1060"/>
              <a:gd name="T42" fmla="*/ 1647 w 5760"/>
              <a:gd name="T43" fmla="*/ 708 h 1060"/>
              <a:gd name="T44" fmla="*/ 1404 w 5760"/>
              <a:gd name="T45" fmla="*/ 720 h 1060"/>
              <a:gd name="T46" fmla="*/ 1170 w 5760"/>
              <a:gd name="T47" fmla="*/ 732 h 1060"/>
              <a:gd name="T48" fmla="*/ 906 w 5760"/>
              <a:gd name="T49" fmla="*/ 738 h 1060"/>
              <a:gd name="T50" fmla="*/ 534 w 5760"/>
              <a:gd name="T51" fmla="*/ 747 h 1060"/>
              <a:gd name="T52" fmla="*/ 201 w 5760"/>
              <a:gd name="T53" fmla="*/ 753 h 1060"/>
              <a:gd name="T54" fmla="*/ 0 w 5760"/>
              <a:gd name="T55" fmla="*/ 753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60" h="1060">
                <a:moveTo>
                  <a:pt x="0" y="753"/>
                </a:moveTo>
                <a:lnTo>
                  <a:pt x="0" y="1059"/>
                </a:lnTo>
                <a:lnTo>
                  <a:pt x="5759" y="1059"/>
                </a:lnTo>
                <a:lnTo>
                  <a:pt x="5759" y="0"/>
                </a:lnTo>
                <a:lnTo>
                  <a:pt x="5430" y="0"/>
                </a:lnTo>
                <a:lnTo>
                  <a:pt x="5298" y="84"/>
                </a:lnTo>
                <a:lnTo>
                  <a:pt x="5136" y="159"/>
                </a:lnTo>
                <a:lnTo>
                  <a:pt x="4968" y="222"/>
                </a:lnTo>
                <a:lnTo>
                  <a:pt x="4812" y="267"/>
                </a:lnTo>
                <a:lnTo>
                  <a:pt x="4626" y="324"/>
                </a:lnTo>
                <a:lnTo>
                  <a:pt x="4440" y="366"/>
                </a:lnTo>
                <a:lnTo>
                  <a:pt x="4230" y="414"/>
                </a:lnTo>
                <a:lnTo>
                  <a:pt x="3939" y="468"/>
                </a:lnTo>
                <a:lnTo>
                  <a:pt x="3711" y="504"/>
                </a:lnTo>
                <a:lnTo>
                  <a:pt x="3441" y="543"/>
                </a:lnTo>
                <a:lnTo>
                  <a:pt x="3189" y="579"/>
                </a:lnTo>
                <a:lnTo>
                  <a:pt x="2925" y="606"/>
                </a:lnTo>
                <a:lnTo>
                  <a:pt x="2679" y="633"/>
                </a:lnTo>
                <a:lnTo>
                  <a:pt x="2418" y="654"/>
                </a:lnTo>
                <a:lnTo>
                  <a:pt x="2142" y="675"/>
                </a:lnTo>
                <a:lnTo>
                  <a:pt x="1896" y="693"/>
                </a:lnTo>
                <a:lnTo>
                  <a:pt x="1647" y="708"/>
                </a:lnTo>
                <a:lnTo>
                  <a:pt x="1404" y="720"/>
                </a:lnTo>
                <a:lnTo>
                  <a:pt x="1170" y="732"/>
                </a:lnTo>
                <a:lnTo>
                  <a:pt x="906" y="738"/>
                </a:lnTo>
                <a:lnTo>
                  <a:pt x="534" y="747"/>
                </a:lnTo>
                <a:lnTo>
                  <a:pt x="201" y="753"/>
                </a:lnTo>
                <a:lnTo>
                  <a:pt x="0" y="753"/>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6393" name="Freeform 9"/>
          <p:cNvSpPr>
            <a:spLocks/>
          </p:cNvSpPr>
          <p:nvPr/>
        </p:nvSpPr>
        <p:spPr bwMode="white">
          <a:xfrm>
            <a:off x="0" y="-20638"/>
            <a:ext cx="8388350" cy="1068388"/>
          </a:xfrm>
          <a:custGeom>
            <a:avLst/>
            <a:gdLst>
              <a:gd name="T0" fmla="*/ 0 w 5284"/>
              <a:gd name="T1" fmla="*/ 366 h 673"/>
              <a:gd name="T2" fmla="*/ 0 w 5284"/>
              <a:gd name="T3" fmla="*/ 672 h 673"/>
              <a:gd name="T4" fmla="*/ 303 w 5284"/>
              <a:gd name="T5" fmla="*/ 672 h 673"/>
              <a:gd name="T6" fmla="*/ 723 w 5284"/>
              <a:gd name="T7" fmla="*/ 663 h 673"/>
              <a:gd name="T8" fmla="*/ 1020 w 5284"/>
              <a:gd name="T9" fmla="*/ 654 h 673"/>
              <a:gd name="T10" fmla="*/ 1302 w 5284"/>
              <a:gd name="T11" fmla="*/ 642 h 673"/>
              <a:gd name="T12" fmla="*/ 1554 w 5284"/>
              <a:gd name="T13" fmla="*/ 630 h 673"/>
              <a:gd name="T14" fmla="*/ 1779 w 5284"/>
              <a:gd name="T15" fmla="*/ 615 h 673"/>
              <a:gd name="T16" fmla="*/ 1962 w 5284"/>
              <a:gd name="T17" fmla="*/ 606 h 673"/>
              <a:gd name="T18" fmla="*/ 2193 w 5284"/>
              <a:gd name="T19" fmla="*/ 588 h 673"/>
              <a:gd name="T20" fmla="*/ 2448 w 5284"/>
              <a:gd name="T21" fmla="*/ 570 h 673"/>
              <a:gd name="T22" fmla="*/ 2700 w 5284"/>
              <a:gd name="T23" fmla="*/ 546 h 673"/>
              <a:gd name="T24" fmla="*/ 2904 w 5284"/>
              <a:gd name="T25" fmla="*/ 528 h 673"/>
              <a:gd name="T26" fmla="*/ 3138 w 5284"/>
              <a:gd name="T27" fmla="*/ 498 h 673"/>
              <a:gd name="T28" fmla="*/ 3324 w 5284"/>
              <a:gd name="T29" fmla="*/ 474 h 673"/>
              <a:gd name="T30" fmla="*/ 3534 w 5284"/>
              <a:gd name="T31" fmla="*/ 447 h 673"/>
              <a:gd name="T32" fmla="*/ 3735 w 5284"/>
              <a:gd name="T33" fmla="*/ 420 h 673"/>
              <a:gd name="T34" fmla="*/ 3933 w 5284"/>
              <a:gd name="T35" fmla="*/ 384 h 673"/>
              <a:gd name="T36" fmla="*/ 4116 w 5284"/>
              <a:gd name="T37" fmla="*/ 351 h 673"/>
              <a:gd name="T38" fmla="*/ 4266 w 5284"/>
              <a:gd name="T39" fmla="*/ 318 h 673"/>
              <a:gd name="T40" fmla="*/ 4446 w 5284"/>
              <a:gd name="T41" fmla="*/ 279 h 673"/>
              <a:gd name="T42" fmla="*/ 4620 w 5284"/>
              <a:gd name="T43" fmla="*/ 237 h 673"/>
              <a:gd name="T44" fmla="*/ 4779 w 5284"/>
              <a:gd name="T45" fmla="*/ 192 h 673"/>
              <a:gd name="T46" fmla="*/ 4920 w 5284"/>
              <a:gd name="T47" fmla="*/ 147 h 673"/>
              <a:gd name="T48" fmla="*/ 5085 w 5284"/>
              <a:gd name="T49" fmla="*/ 90 h 673"/>
              <a:gd name="T50" fmla="*/ 5193 w 5284"/>
              <a:gd name="T51" fmla="*/ 42 h 673"/>
              <a:gd name="T52" fmla="*/ 5283 w 5284"/>
              <a:gd name="T53" fmla="*/ 0 h 673"/>
              <a:gd name="T54" fmla="*/ 3201 w 5284"/>
              <a:gd name="T55" fmla="*/ 0 h 673"/>
              <a:gd name="T56" fmla="*/ 2982 w 5284"/>
              <a:gd name="T57" fmla="*/ 57 h 673"/>
              <a:gd name="T58" fmla="*/ 2775 w 5284"/>
              <a:gd name="T59" fmla="*/ 108 h 673"/>
              <a:gd name="T60" fmla="*/ 2562 w 5284"/>
              <a:gd name="T61" fmla="*/ 150 h 673"/>
              <a:gd name="T62" fmla="*/ 2397 w 5284"/>
              <a:gd name="T63" fmla="*/ 183 h 673"/>
              <a:gd name="T64" fmla="*/ 2205 w 5284"/>
              <a:gd name="T65" fmla="*/ 213 h 673"/>
              <a:gd name="T66" fmla="*/ 2001 w 5284"/>
              <a:gd name="T67" fmla="*/ 243 h 673"/>
              <a:gd name="T68" fmla="*/ 1776 w 5284"/>
              <a:gd name="T69" fmla="*/ 273 h 673"/>
              <a:gd name="T70" fmla="*/ 1536 w 5284"/>
              <a:gd name="T71" fmla="*/ 297 h 673"/>
              <a:gd name="T72" fmla="*/ 1344 w 5284"/>
              <a:gd name="T73" fmla="*/ 312 h 673"/>
              <a:gd name="T74" fmla="*/ 1134 w 5284"/>
              <a:gd name="T75" fmla="*/ 330 h 673"/>
              <a:gd name="T76" fmla="*/ 921 w 5284"/>
              <a:gd name="T77" fmla="*/ 342 h 673"/>
              <a:gd name="T78" fmla="*/ 696 w 5284"/>
              <a:gd name="T79" fmla="*/ 354 h 673"/>
              <a:gd name="T80" fmla="*/ 501 w 5284"/>
              <a:gd name="T81" fmla="*/ 360 h 673"/>
              <a:gd name="T82" fmla="*/ 279 w 5284"/>
              <a:gd name="T83" fmla="*/ 366 h 673"/>
              <a:gd name="T84" fmla="*/ 99 w 5284"/>
              <a:gd name="T85" fmla="*/ 369 h 673"/>
              <a:gd name="T86" fmla="*/ 0 w 5284"/>
              <a:gd name="T87" fmla="*/ 366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84" h="673">
                <a:moveTo>
                  <a:pt x="0" y="366"/>
                </a:moveTo>
                <a:lnTo>
                  <a:pt x="0" y="672"/>
                </a:lnTo>
                <a:lnTo>
                  <a:pt x="303" y="672"/>
                </a:lnTo>
                <a:lnTo>
                  <a:pt x="723" y="663"/>
                </a:lnTo>
                <a:lnTo>
                  <a:pt x="1020" y="654"/>
                </a:lnTo>
                <a:lnTo>
                  <a:pt x="1302" y="642"/>
                </a:lnTo>
                <a:lnTo>
                  <a:pt x="1554" y="630"/>
                </a:lnTo>
                <a:lnTo>
                  <a:pt x="1779" y="615"/>
                </a:lnTo>
                <a:lnTo>
                  <a:pt x="1962" y="606"/>
                </a:lnTo>
                <a:lnTo>
                  <a:pt x="2193" y="588"/>
                </a:lnTo>
                <a:lnTo>
                  <a:pt x="2448" y="570"/>
                </a:lnTo>
                <a:lnTo>
                  <a:pt x="2700" y="546"/>
                </a:lnTo>
                <a:lnTo>
                  <a:pt x="2904" y="528"/>
                </a:lnTo>
                <a:lnTo>
                  <a:pt x="3138" y="498"/>
                </a:lnTo>
                <a:lnTo>
                  <a:pt x="3324" y="474"/>
                </a:lnTo>
                <a:lnTo>
                  <a:pt x="3534" y="447"/>
                </a:lnTo>
                <a:lnTo>
                  <a:pt x="3735" y="420"/>
                </a:lnTo>
                <a:lnTo>
                  <a:pt x="3933" y="384"/>
                </a:lnTo>
                <a:lnTo>
                  <a:pt x="4116" y="351"/>
                </a:lnTo>
                <a:lnTo>
                  <a:pt x="4266" y="318"/>
                </a:lnTo>
                <a:lnTo>
                  <a:pt x="4446" y="279"/>
                </a:lnTo>
                <a:lnTo>
                  <a:pt x="4620" y="237"/>
                </a:lnTo>
                <a:lnTo>
                  <a:pt x="4779" y="192"/>
                </a:lnTo>
                <a:lnTo>
                  <a:pt x="4920" y="147"/>
                </a:lnTo>
                <a:lnTo>
                  <a:pt x="5085" y="90"/>
                </a:lnTo>
                <a:lnTo>
                  <a:pt x="5193" y="42"/>
                </a:lnTo>
                <a:lnTo>
                  <a:pt x="5283" y="0"/>
                </a:lnTo>
                <a:lnTo>
                  <a:pt x="3201" y="0"/>
                </a:lnTo>
                <a:lnTo>
                  <a:pt x="2982" y="57"/>
                </a:lnTo>
                <a:lnTo>
                  <a:pt x="2775" y="108"/>
                </a:lnTo>
                <a:lnTo>
                  <a:pt x="2562" y="150"/>
                </a:lnTo>
                <a:lnTo>
                  <a:pt x="2397" y="183"/>
                </a:lnTo>
                <a:lnTo>
                  <a:pt x="2205" y="213"/>
                </a:lnTo>
                <a:lnTo>
                  <a:pt x="2001" y="243"/>
                </a:lnTo>
                <a:lnTo>
                  <a:pt x="1776" y="273"/>
                </a:lnTo>
                <a:lnTo>
                  <a:pt x="1536" y="297"/>
                </a:lnTo>
                <a:lnTo>
                  <a:pt x="1344" y="312"/>
                </a:lnTo>
                <a:lnTo>
                  <a:pt x="1134" y="330"/>
                </a:lnTo>
                <a:lnTo>
                  <a:pt x="921" y="342"/>
                </a:lnTo>
                <a:lnTo>
                  <a:pt x="696" y="354"/>
                </a:lnTo>
                <a:lnTo>
                  <a:pt x="501" y="360"/>
                </a:lnTo>
                <a:lnTo>
                  <a:pt x="279" y="366"/>
                </a:lnTo>
                <a:lnTo>
                  <a:pt x="99" y="369"/>
                </a:lnTo>
                <a:lnTo>
                  <a:pt x="0" y="366"/>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6394" name="Freeform 10"/>
          <p:cNvSpPr>
            <a:spLocks/>
          </p:cNvSpPr>
          <p:nvPr/>
        </p:nvSpPr>
        <p:spPr bwMode="white">
          <a:xfrm>
            <a:off x="0" y="-20638"/>
            <a:ext cx="4578350" cy="454026"/>
          </a:xfrm>
          <a:custGeom>
            <a:avLst/>
            <a:gdLst>
              <a:gd name="T0" fmla="*/ 0 w 2884"/>
              <a:gd name="T1" fmla="*/ 0 h 286"/>
              <a:gd name="T2" fmla="*/ 0 w 2884"/>
              <a:gd name="T3" fmla="*/ 285 h 286"/>
              <a:gd name="T4" fmla="*/ 192 w 2884"/>
              <a:gd name="T5" fmla="*/ 285 h 286"/>
              <a:gd name="T6" fmla="*/ 384 w 2884"/>
              <a:gd name="T7" fmla="*/ 282 h 286"/>
              <a:gd name="T8" fmla="*/ 579 w 2884"/>
              <a:gd name="T9" fmla="*/ 276 h 286"/>
              <a:gd name="T10" fmla="*/ 789 w 2884"/>
              <a:gd name="T11" fmla="*/ 267 h 286"/>
              <a:gd name="T12" fmla="*/ 999 w 2884"/>
              <a:gd name="T13" fmla="*/ 258 h 286"/>
              <a:gd name="T14" fmla="*/ 1161 w 2884"/>
              <a:gd name="T15" fmla="*/ 246 h 286"/>
              <a:gd name="T16" fmla="*/ 1302 w 2884"/>
              <a:gd name="T17" fmla="*/ 234 h 286"/>
              <a:gd name="T18" fmla="*/ 1458 w 2884"/>
              <a:gd name="T19" fmla="*/ 222 h 286"/>
              <a:gd name="T20" fmla="*/ 1665 w 2884"/>
              <a:gd name="T21" fmla="*/ 201 h 286"/>
              <a:gd name="T22" fmla="*/ 1992 w 2884"/>
              <a:gd name="T23" fmla="*/ 159 h 286"/>
              <a:gd name="T24" fmla="*/ 2301 w 2884"/>
              <a:gd name="T25" fmla="*/ 117 h 286"/>
              <a:gd name="T26" fmla="*/ 2604 w 2884"/>
              <a:gd name="T27" fmla="*/ 60 h 286"/>
              <a:gd name="T28" fmla="*/ 2883 w 2884"/>
              <a:gd name="T29" fmla="*/ 0 h 286"/>
              <a:gd name="T30" fmla="*/ 0 w 2884"/>
              <a:gd name="T31"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4" h="286">
                <a:moveTo>
                  <a:pt x="0" y="0"/>
                </a:moveTo>
                <a:lnTo>
                  <a:pt x="0" y="285"/>
                </a:lnTo>
                <a:lnTo>
                  <a:pt x="192" y="285"/>
                </a:lnTo>
                <a:lnTo>
                  <a:pt x="384" y="282"/>
                </a:lnTo>
                <a:lnTo>
                  <a:pt x="579" y="276"/>
                </a:lnTo>
                <a:lnTo>
                  <a:pt x="789" y="267"/>
                </a:lnTo>
                <a:lnTo>
                  <a:pt x="999" y="258"/>
                </a:lnTo>
                <a:lnTo>
                  <a:pt x="1161" y="246"/>
                </a:lnTo>
                <a:lnTo>
                  <a:pt x="1302" y="234"/>
                </a:lnTo>
                <a:lnTo>
                  <a:pt x="1458" y="222"/>
                </a:lnTo>
                <a:lnTo>
                  <a:pt x="1665" y="201"/>
                </a:lnTo>
                <a:lnTo>
                  <a:pt x="1992" y="159"/>
                </a:lnTo>
                <a:lnTo>
                  <a:pt x="2301" y="117"/>
                </a:lnTo>
                <a:lnTo>
                  <a:pt x="2604" y="60"/>
                </a:lnTo>
                <a:lnTo>
                  <a:pt x="2883" y="0"/>
                </a:lnTo>
                <a:lnTo>
                  <a:pt x="0" y="0"/>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6395" name="Rectangle 11"/>
          <p:cNvSpPr>
            <a:spLocks noGrp="1" noChangeArrowheads="1"/>
          </p:cNvSpPr>
          <p:nvPr>
            <p:ph type="title"/>
          </p:nvPr>
        </p:nvSpPr>
        <p:spPr bwMode="auto">
          <a:xfrm>
            <a:off x="685800" y="609600"/>
            <a:ext cx="77724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6396" name="Rectangle 12"/>
          <p:cNvSpPr>
            <a:spLocks noGrp="1" noChangeArrowheads="1"/>
          </p:cNvSpPr>
          <p:nvPr>
            <p:ph type="body" idx="1"/>
          </p:nvPr>
        </p:nvSpPr>
        <p:spPr bwMode="auto">
          <a:xfrm>
            <a:off x="685800" y="1981200"/>
            <a:ext cx="7772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6397" name="Rectangle 13"/>
          <p:cNvSpPr>
            <a:spLocks noGrp="1" noChangeArrowheads="1"/>
          </p:cNvSpPr>
          <p:nvPr>
            <p:ph type="dt" sz="half" idx="2"/>
          </p:nvPr>
        </p:nvSpPr>
        <p:spPr bwMode="auto">
          <a:xfrm>
            <a:off x="685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6398" name="Rectangle 14"/>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
        <p:nvSpPr>
          <p:cNvPr id="16399" name="Rectangle 15"/>
          <p:cNvSpPr>
            <a:spLocks noGrp="1" noChangeArrowheads="1"/>
          </p:cNvSpPr>
          <p:nvPr>
            <p:ph type="sldNum" sz="quarter" idx="4"/>
          </p:nvPr>
        </p:nvSpPr>
        <p:spPr bwMode="auto">
          <a:xfrm>
            <a:off x="65532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6447F12F-CEAE-4E06-91DE-F4F7ADAF90C1}" type="slidenum">
              <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smtClean="0">
              <a:ln>
                <a:noFill/>
              </a:ln>
              <a:solidFill>
                <a:srgbClr val="FFFFFF"/>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528107837"/>
      </p:ext>
    </p:extLst>
  </p:cSld>
  <p:clrMap bg1="dk2" tx1="lt1" bg2="dk1" tx2="lt2" accent1="accent1" accent2="accent2" accent3="accent3" accent4="accent4" accent5="accent5" accent6="accent6" hlink="hlink" folHlink="folHlink"/>
  <p:sldLayoutIdLst>
    <p:sldLayoutId id="2147484536" r:id="rId1"/>
    <p:sldLayoutId id="2147484537" r:id="rId2"/>
    <p:sldLayoutId id="2147484538" r:id="rId3"/>
    <p:sldLayoutId id="2147484539" r:id="rId4"/>
    <p:sldLayoutId id="2147484540" r:id="rId5"/>
    <p:sldLayoutId id="2147484541" r:id="rId6"/>
    <p:sldLayoutId id="2147484542" r:id="rId7"/>
    <p:sldLayoutId id="2147484543" r:id="rId8"/>
    <p:sldLayoutId id="2147484544" r:id="rId9"/>
    <p:sldLayoutId id="2147484545" r:id="rId10"/>
    <p:sldLayoutId id="2147484546" r:id="rId11"/>
  </p:sldLayoutIdLs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nodeType="afterEffect">
                                  <p:stCondLst>
                                    <p:cond delay="1000"/>
                                  </p:stCondLst>
                                  <p:childTnLst>
                                    <p:set>
                                      <p:cBhvr>
                                        <p:cTn id="6" dur="1" fill="hold">
                                          <p:stCondLst>
                                            <p:cond delay="0"/>
                                          </p:stCondLst>
                                        </p:cTn>
                                        <p:tgtEl>
                                          <p:spTgt spid="16386"/>
                                        </p:tgtEl>
                                        <p:attrNameLst>
                                          <p:attrName>style.visibility</p:attrName>
                                        </p:attrNameLst>
                                      </p:cBhvr>
                                      <p:to>
                                        <p:strVal val="visible"/>
                                      </p:to>
                                    </p:set>
                                    <p:anim calcmode="lin" valueType="num">
                                      <p:cBhvr additive="base">
                                        <p:cTn id="7" dur="500" fill="hold"/>
                                        <p:tgtEl>
                                          <p:spTgt spid="16386"/>
                                        </p:tgtEl>
                                        <p:attrNameLst>
                                          <p:attrName>ppt_x</p:attrName>
                                        </p:attrNameLst>
                                      </p:cBhvr>
                                      <p:tavLst>
                                        <p:tav tm="0">
                                          <p:val>
                                            <p:strVal val="0-#ppt_w/2"/>
                                          </p:val>
                                        </p:tav>
                                        <p:tav tm="100000">
                                          <p:val>
                                            <p:strVal val="#ppt_x"/>
                                          </p:val>
                                        </p:tav>
                                      </p:tavLst>
                                    </p:anim>
                                    <p:anim calcmode="lin" valueType="num">
                                      <p:cBhvr additive="base">
                                        <p:cTn id="8" dur="500" fill="hold"/>
                                        <p:tgtEl>
                                          <p:spTgt spid="16386"/>
                                        </p:tgtEl>
                                        <p:attrNameLst>
                                          <p:attrName>ppt_y</p:attrName>
                                        </p:attrNameLst>
                                      </p:cBhvr>
                                      <p:tavLst>
                                        <p:tav tm="0">
                                          <p:val>
                                            <p:strVal val="#ppt_y"/>
                                          </p:val>
                                        </p:tav>
                                        <p:tav tm="100000">
                                          <p:val>
                                            <p:strVal val="#ppt_y"/>
                                          </p:val>
                                        </p:tav>
                                      </p:tavLst>
                                    </p:anim>
                                  </p:childTnLst>
                                  <p:subTnLst>
                                    <p:set>
                                      <p:cBhvr override="childStyle">
                                        <p:cTn dur="1" fill="hold" display="0" masterRel="sameClick" afterEffect="1">
                                          <p:stCondLst>
                                            <p:cond evt="end" delay="0">
                                              <p:tn val="5"/>
                                            </p:cond>
                                          </p:stCondLst>
                                        </p:cTn>
                                        <p:tgtEl>
                                          <p:spTgt spid="16386"/>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txStyles>
    <p:titleStyle>
      <a:lvl1pPr algn="ctr" rtl="0" eaLnBrk="0" fontAlgn="base" hangingPunct="0">
        <a:spcBef>
          <a:spcPct val="0"/>
        </a:spcBef>
        <a:spcAft>
          <a:spcPct val="0"/>
        </a:spcAft>
        <a:defRPr sz="4400" kern="12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anose="02020603050405020304" pitchFamily="18" charset="0"/>
        </a:defRPr>
      </a:lvl2pPr>
      <a:lvl3pPr algn="ctr" rtl="0" eaLnBrk="0" fontAlgn="base" hangingPunct="0">
        <a:spcBef>
          <a:spcPct val="0"/>
        </a:spcBef>
        <a:spcAft>
          <a:spcPct val="0"/>
        </a:spcAft>
        <a:defRPr sz="4400">
          <a:solidFill>
            <a:schemeClr val="tx2"/>
          </a:solidFill>
          <a:latin typeface="Times New Roman" panose="02020603050405020304" pitchFamily="18" charset="0"/>
        </a:defRPr>
      </a:lvl3pPr>
      <a:lvl4pPr algn="ctr" rtl="0" eaLnBrk="0" fontAlgn="base" hangingPunct="0">
        <a:spcBef>
          <a:spcPct val="0"/>
        </a:spcBef>
        <a:spcAft>
          <a:spcPct val="0"/>
        </a:spcAft>
        <a:defRPr sz="4400">
          <a:solidFill>
            <a:schemeClr val="tx2"/>
          </a:solidFill>
          <a:latin typeface="Times New Roman" panose="02020603050405020304" pitchFamily="18" charset="0"/>
        </a:defRPr>
      </a:lvl4pPr>
      <a:lvl5pPr algn="ctr" rtl="0" eaLnBrk="0" fontAlgn="base" hangingPunct="0">
        <a:spcBef>
          <a:spcPct val="0"/>
        </a:spcBef>
        <a:spcAft>
          <a:spcPct val="0"/>
        </a:spcAft>
        <a:defRPr sz="4400">
          <a:solidFill>
            <a:schemeClr val="tx2"/>
          </a:solidFill>
          <a:latin typeface="Times New Roman" panose="02020603050405020304" pitchFamily="18" charset="0"/>
        </a:defRPr>
      </a:lvl5pPr>
      <a:lvl6pPr marL="457200" algn="ctr" rtl="0" eaLnBrk="0" fontAlgn="base" hangingPunct="0">
        <a:spcBef>
          <a:spcPct val="0"/>
        </a:spcBef>
        <a:spcAft>
          <a:spcPct val="0"/>
        </a:spcAft>
        <a:defRPr sz="4400">
          <a:solidFill>
            <a:schemeClr val="tx2"/>
          </a:solidFill>
          <a:latin typeface="Times New Roman" panose="02020603050405020304" pitchFamily="18" charset="0"/>
        </a:defRPr>
      </a:lvl6pPr>
      <a:lvl7pPr marL="914400" algn="ctr" rtl="0" eaLnBrk="0" fontAlgn="base" hangingPunct="0">
        <a:spcBef>
          <a:spcPct val="0"/>
        </a:spcBef>
        <a:spcAft>
          <a:spcPct val="0"/>
        </a:spcAft>
        <a:defRPr sz="4400">
          <a:solidFill>
            <a:schemeClr val="tx2"/>
          </a:solidFill>
          <a:latin typeface="Times New Roman" panose="02020603050405020304" pitchFamily="18" charset="0"/>
        </a:defRPr>
      </a:lvl7pPr>
      <a:lvl8pPr marL="1371600" algn="ctr" rtl="0" eaLnBrk="0" fontAlgn="base" hangingPunct="0">
        <a:spcBef>
          <a:spcPct val="0"/>
        </a:spcBef>
        <a:spcAft>
          <a:spcPct val="0"/>
        </a:spcAft>
        <a:defRPr sz="4400">
          <a:solidFill>
            <a:schemeClr val="tx2"/>
          </a:solidFill>
          <a:latin typeface="Times New Roman" panose="02020603050405020304" pitchFamily="18" charset="0"/>
        </a:defRPr>
      </a:lvl8pPr>
      <a:lvl9pPr marL="1828800" algn="ctr" rtl="0" eaLnBrk="0" fontAlgn="base" hangingPunct="0">
        <a:spcBef>
          <a:spcPct val="0"/>
        </a:spcBef>
        <a:spcAft>
          <a:spcPct val="0"/>
        </a:spcAft>
        <a:defRPr sz="4400">
          <a:solidFill>
            <a:schemeClr val="tx2"/>
          </a:solidFill>
          <a:latin typeface="Times New Roman" panose="02020603050405020304" pitchFamily="18" charset="0"/>
        </a:defRPr>
      </a:lvl9pPr>
    </p:titleStyle>
    <p:body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bwMode="invGray">
          <a:xfrm>
            <a:off x="0" y="1435895"/>
            <a:ext cx="9144000" cy="45720"/>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7" name="Rectangle 6"/>
          <p:cNvSpPr/>
          <p:nvPr/>
        </p:nvSpPr>
        <p:spPr bwMode="ltGray">
          <a:xfrm>
            <a:off x="2" y="4"/>
            <a:ext cx="9143999" cy="1433733"/>
          </a:xfrm>
          <a:prstGeom prst="rect">
            <a:avLst/>
          </a:prstGeom>
          <a:solidFill>
            <a:srgbClr val="000000"/>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2" name="Title Placeholder 1"/>
          <p:cNvSpPr>
            <a:spLocks noGrp="1"/>
          </p:cNvSpPr>
          <p:nvPr>
            <p:ph type="title"/>
          </p:nvPr>
        </p:nvSpPr>
        <p:spPr>
          <a:xfrm>
            <a:off x="457200" y="152400"/>
            <a:ext cx="8229600" cy="1251062"/>
          </a:xfrm>
          <a:prstGeom prst="rect">
            <a:avLst/>
          </a:prstGeom>
        </p:spPr>
        <p:txBody>
          <a:bodyPr vert="horz" lIns="91440" rIns="45720" rtlCol="0" anchor="ctr">
            <a:normAutofit/>
            <a:scene3d>
              <a:camera prst="orthographicFront"/>
              <a:lightRig rig="threePt" dir="t">
                <a:rot lat="0" lon="0" rev="4800000"/>
              </a:lightRig>
            </a:scene3d>
            <a:sp3d prstMaterial="matte">
              <a:bevelT w="50800" h="10160"/>
            </a:sp3d>
          </a:bodyPr>
          <a:lstStyle/>
          <a:p>
            <a:r>
              <a:rPr kumimoji="0" lang="en-US" smtClean="0"/>
              <a:t>Click to edit Master title style</a:t>
            </a:r>
            <a:endParaRPr kumimoji="0" lang="en-US"/>
          </a:p>
        </p:txBody>
      </p:sp>
      <p:sp>
        <p:nvSpPr>
          <p:cNvPr id="3" name="Text Placeholder 2"/>
          <p:cNvSpPr>
            <a:spLocks noGrp="1"/>
          </p:cNvSpPr>
          <p:nvPr>
            <p:ph type="body" idx="1"/>
          </p:nvPr>
        </p:nvSpPr>
        <p:spPr>
          <a:xfrm>
            <a:off x="457200" y="1775194"/>
            <a:ext cx="8229600" cy="4625609"/>
          </a:xfrm>
          <a:prstGeom prst="rect">
            <a:avLst/>
          </a:prstGeom>
        </p:spPr>
        <p:txBody>
          <a:bodyPr vert="horz" lIns="54864" tIns="91440" rtlCol="0">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4" name="Date Placeholder 3"/>
          <p:cNvSpPr>
            <a:spLocks noGrp="1"/>
          </p:cNvSpPr>
          <p:nvPr>
            <p:ph type="dt" sz="half" idx="2"/>
          </p:nvPr>
        </p:nvSpPr>
        <p:spPr>
          <a:xfrm>
            <a:off x="457200" y="6476999"/>
            <a:ext cx="2133600" cy="274320"/>
          </a:xfrm>
          <a:prstGeom prst="rect">
            <a:avLst/>
          </a:prstGeom>
        </p:spPr>
        <p:txBody>
          <a:bodyPr vert="horz" lIns="109728" rIns="45720" bIns="0" rtlCol="0" anchor="b"/>
          <a:lstStyle>
            <a:lvl1pPr algn="l" eaLnBrk="1" latinLnBrk="0" hangingPunct="1">
              <a:defRPr kumimoji="0" sz="1200">
                <a:solidFill>
                  <a:schemeClr val="tx1">
                    <a:tint val="95000"/>
                  </a:schemeClr>
                </a:solidFill>
              </a:defRPr>
            </a:lvl1pPr>
            <a:extLst/>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5" name="Footer Placeholder 4"/>
          <p:cNvSpPr>
            <a:spLocks noGrp="1"/>
          </p:cNvSpPr>
          <p:nvPr>
            <p:ph type="ftr" sz="quarter" idx="3"/>
          </p:nvPr>
        </p:nvSpPr>
        <p:spPr>
          <a:xfrm>
            <a:off x="2640597" y="6476999"/>
            <a:ext cx="5507719" cy="274320"/>
          </a:xfrm>
          <a:prstGeom prst="rect">
            <a:avLst/>
          </a:prstGeom>
        </p:spPr>
        <p:txBody>
          <a:bodyPr vert="horz" lIns="45720" rIns="45720" bIns="0" rtlCol="0" anchor="b"/>
          <a:lstStyle>
            <a:lvl1pPr algn="l" eaLnBrk="1" latinLnBrk="0" hangingPunct="1">
              <a:defRPr kumimoji="0" sz="1200">
                <a:solidFill>
                  <a:schemeClr val="tx1">
                    <a:tint val="95000"/>
                  </a:schemeClr>
                </a:solidFill>
              </a:defRPr>
            </a:lvl1pPr>
            <a:extLs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
        <p:nvSpPr>
          <p:cNvPr id="6" name="Slide Number Placeholder 5"/>
          <p:cNvSpPr>
            <a:spLocks noGrp="1"/>
          </p:cNvSpPr>
          <p:nvPr>
            <p:ph type="sldNum" sz="quarter" idx="4"/>
          </p:nvPr>
        </p:nvSpPr>
        <p:spPr>
          <a:xfrm>
            <a:off x="8204398" y="6476999"/>
            <a:ext cx="733864" cy="274320"/>
          </a:xfrm>
          <a:prstGeom prst="rect">
            <a:avLst/>
          </a:prstGeom>
        </p:spPr>
        <p:txBody>
          <a:bodyPr vert="horz" bIns="0" rtlCol="0" anchor="b"/>
          <a:lstStyle>
            <a:lvl1pPr algn="r" eaLnBrk="1" latinLnBrk="0" hangingPunct="1">
              <a:defRPr kumimoji="0" sz="1200">
                <a:solidFill>
                  <a:schemeClr val="tx1">
                    <a:tint val="95000"/>
                  </a:schemeClr>
                </a:solidFill>
              </a:defRPr>
            </a:lvl1pPr>
            <a:extLst/>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prstClr val="black">
                    <a:tint val="95000"/>
                  </a:prst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95000"/>
                </a:prstClr>
              </a:solidFill>
              <a:effectLst/>
              <a:uLnTx/>
              <a:uFillTx/>
              <a:latin typeface="Corbel"/>
              <a:ea typeface="+mn-ea"/>
              <a:cs typeface="+mn-cs"/>
            </a:endParaRPr>
          </a:p>
        </p:txBody>
      </p:sp>
    </p:spTree>
    <p:extLst>
      <p:ext uri="{BB962C8B-B14F-4D97-AF65-F5344CB8AC3E}">
        <p14:creationId xmlns:p14="http://schemas.microsoft.com/office/powerpoint/2010/main" val="3615062042"/>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 id="2147484558" r:id="rId11"/>
    <p:sldLayoutId id="2147484559" r:id="rId12"/>
  </p:sldLayoutIdLst>
  <p:txStyles>
    <p:titleStyle>
      <a:lvl1pPr algn="l" rtl="0" eaLnBrk="1" latinLnBrk="0" hangingPunct="1">
        <a:spcBef>
          <a:spcPct val="0"/>
        </a:spcBef>
        <a:buNone/>
        <a:defRPr kumimoji="0" sz="4500" b="1" kern="1200">
          <a:solidFill>
            <a:schemeClr val="accent1">
              <a:satMod val="150000"/>
            </a:schemeClr>
          </a:solidFill>
          <a:effectLst/>
          <a:latin typeface="+mj-lt"/>
          <a:ea typeface="+mj-ea"/>
          <a:cs typeface="+mj-cs"/>
        </a:defRPr>
      </a:lvl1pPr>
      <a:extLst/>
    </p:titleStyle>
    <p:bodyStyle>
      <a:lvl1pPr marL="438912" indent="-320040" algn="l" rtl="0" eaLnBrk="1" latinLnBrk="0" hangingPunct="1">
        <a:spcBef>
          <a:spcPts val="0"/>
        </a:spcBef>
        <a:buClr>
          <a:schemeClr val="accent1"/>
        </a:buClr>
        <a:buSzPct val="80000"/>
        <a:buFont typeface="Wingdings 2"/>
        <a:buChar char=""/>
        <a:defRPr kumimoji="0" sz="3200" kern="1200">
          <a:solidFill>
            <a:schemeClr val="tx1"/>
          </a:solidFill>
          <a:latin typeface="+mn-lt"/>
          <a:ea typeface="+mn-ea"/>
          <a:cs typeface="+mn-cs"/>
        </a:defRPr>
      </a:lvl1pPr>
      <a:lvl2pPr marL="731520" indent="-274320" algn="l" rtl="0" eaLnBrk="1" latinLnBrk="0" hangingPunct="1">
        <a:spcBef>
          <a:spcPct val="20000"/>
        </a:spcBef>
        <a:buClr>
          <a:schemeClr val="accent2"/>
        </a:buClr>
        <a:buSzPct val="90000"/>
        <a:buFont typeface="Wingdings"/>
        <a:buChar char=""/>
        <a:defRPr kumimoji="0" sz="2800" kern="1200">
          <a:solidFill>
            <a:schemeClr val="tx1"/>
          </a:solidFill>
          <a:latin typeface="+mn-lt"/>
          <a:ea typeface="+mn-ea"/>
          <a:cs typeface="+mn-cs"/>
        </a:defRPr>
      </a:lvl2pPr>
      <a:lvl3pPr marL="996696" indent="-228600" algn="l" rtl="0" eaLnBrk="1" latinLnBrk="0" hangingPunct="1">
        <a:spcBef>
          <a:spcPct val="20000"/>
        </a:spcBef>
        <a:buClr>
          <a:schemeClr val="accent3"/>
        </a:buClr>
        <a:buFont typeface="Arial"/>
        <a:buChar char="▪"/>
        <a:defRPr kumimoji="0" sz="2400" kern="1200">
          <a:solidFill>
            <a:schemeClr val="tx1"/>
          </a:solidFill>
          <a:latin typeface="+mn-lt"/>
          <a:ea typeface="+mn-ea"/>
          <a:cs typeface="+mn-cs"/>
        </a:defRPr>
      </a:lvl3pPr>
      <a:lvl4pPr marL="1216152" indent="-182880" algn="l" rtl="0" eaLnBrk="1" latinLnBrk="0" hangingPunct="1">
        <a:spcBef>
          <a:spcPct val="20000"/>
        </a:spcBef>
        <a:buClr>
          <a:schemeClr val="accent4"/>
        </a:buClr>
        <a:buFont typeface="Arial"/>
        <a:buChar char="▪"/>
        <a:defRPr kumimoji="0" sz="2000" kern="1200">
          <a:solidFill>
            <a:schemeClr val="tx1"/>
          </a:solidFill>
          <a:latin typeface="+mn-lt"/>
          <a:ea typeface="+mn-ea"/>
          <a:cs typeface="+mn-cs"/>
        </a:defRPr>
      </a:lvl4pPr>
      <a:lvl5pPr marL="1426464" indent="-182880" algn="l" rtl="0" eaLnBrk="1" latinLnBrk="0" hangingPunct="1">
        <a:spcBef>
          <a:spcPct val="20000"/>
        </a:spcBef>
        <a:buClr>
          <a:schemeClr val="accent5"/>
        </a:buClr>
        <a:buFont typeface="Wingdings 3"/>
        <a:buChar char=""/>
        <a:defRPr kumimoji="0" lang="en-US" sz="2000" kern="1200" smtClean="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Freeform 12"/>
          <p:cNvSpPr>
            <a:spLocks/>
          </p:cNvSpPr>
          <p:nvPr/>
        </p:nvSpPr>
        <p:spPr bwMode="auto">
          <a:xfrm>
            <a:off x="499273" y="5944936"/>
            <a:ext cx="4940624"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12" name="Freeform 11"/>
          <p:cNvSpPr>
            <a:spLocks/>
          </p:cNvSpPr>
          <p:nvPr/>
        </p:nvSpPr>
        <p:spPr bwMode="auto">
          <a:xfrm>
            <a:off x="485717" y="5939011"/>
            <a:ext cx="369045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14" name="Right Triangle 13"/>
          <p:cNvSpPr>
            <a:spLocks/>
          </p:cNvSpPr>
          <p:nvPr/>
        </p:nvSpPr>
        <p:spPr bwMode="auto">
          <a:xfrm>
            <a:off x="-6042" y="5791253"/>
            <a:ext cx="3402314" cy="1080868"/>
          </a:xfrm>
          <a:prstGeom prst="rtTriangle">
            <a:avLst/>
          </a:prstGeom>
          <a:blipFill>
            <a:blip r:embed="rId13">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cxnSp>
        <p:nvCxnSpPr>
          <p:cNvPr id="15" name="Straight Connector 14"/>
          <p:cNvCxnSpPr/>
          <p:nvPr/>
        </p:nvCxnSpPr>
        <p:spPr>
          <a:xfrm>
            <a:off x="-9237" y="5787738"/>
            <a:ext cx="340550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9" name="Title Placeholder 8"/>
          <p:cNvSpPr>
            <a:spLocks noGrp="1"/>
          </p:cNvSpPr>
          <p:nvPr>
            <p:ph type="title"/>
          </p:nvPr>
        </p:nvSpPr>
        <p:spPr>
          <a:xfrm>
            <a:off x="457200" y="274638"/>
            <a:ext cx="8229600" cy="1143000"/>
          </a:xfrm>
          <a:prstGeom prst="rect">
            <a:avLst/>
          </a:prstGeom>
        </p:spPr>
        <p:txBody>
          <a:bodyPr vert="horz" anchor="ctr">
            <a:normAutofit/>
            <a:scene3d>
              <a:camera prst="orthographicFront"/>
              <a:lightRig rig="soft" dir="t"/>
            </a:scene3d>
            <a:sp3d prstMaterial="softEdge">
              <a:bevelT w="25400" h="25400"/>
            </a:sp3d>
          </a:bodyPr>
          <a:lstStyle/>
          <a:p>
            <a:r>
              <a:rPr kumimoji="0" lang="en-US" smtClean="0"/>
              <a:t>Click to edit Master title style</a:t>
            </a:r>
            <a:endParaRPr kumimoji="0" lang="en-US"/>
          </a:p>
        </p:txBody>
      </p:sp>
      <p:sp>
        <p:nvSpPr>
          <p:cNvPr id="30" name="Text Placeholder 29"/>
          <p:cNvSpPr>
            <a:spLocks noGrp="1"/>
          </p:cNvSpPr>
          <p:nvPr>
            <p:ph type="body" idx="1"/>
          </p:nvPr>
        </p:nvSpPr>
        <p:spPr>
          <a:xfrm>
            <a:off x="457200" y="1481328"/>
            <a:ext cx="8229600" cy="4525963"/>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0" name="Date Placeholder 9"/>
          <p:cNvSpPr>
            <a:spLocks noGrp="1"/>
          </p:cNvSpPr>
          <p:nvPr>
            <p:ph type="dt" sz="half" idx="2"/>
          </p:nvPr>
        </p:nvSpPr>
        <p:spPr>
          <a:xfrm>
            <a:off x="6727032" y="6407944"/>
            <a:ext cx="1920240" cy="365760"/>
          </a:xfrm>
          <a:prstGeom prst="rect">
            <a:avLst/>
          </a:prstGeom>
        </p:spPr>
        <p:txBody>
          <a:bodyPr vert="horz" anchor="b"/>
          <a:lstStyle>
            <a:lvl1pPr algn="l" eaLnBrk="1" latinLnBrk="0" hangingPunct="1">
              <a:defRPr kumimoji="0" sz="1000">
                <a:solidFill>
                  <a:schemeClr val="tx1"/>
                </a:solidFill>
              </a:defRPr>
            </a:lvl1pPr>
            <a:extLst/>
          </a:lstStyle>
          <a:p>
            <a:pPr marL="0" marR="0" lvl="0" indent="0" algn="l" defTabSz="914400" rtl="0" eaLnBrk="1" fontAlgn="auto" latinLnBrk="0" hangingPunct="1">
              <a:lnSpc>
                <a:spcPct val="100000"/>
              </a:lnSpc>
              <a:spcBef>
                <a:spcPts val="0"/>
              </a:spcBef>
              <a:spcAft>
                <a:spcPts val="0"/>
              </a:spcAft>
              <a:buClrTx/>
              <a:buSzTx/>
              <a:buFontTx/>
              <a:buNone/>
              <a:tabLst/>
              <a:defRPr/>
            </a:pPr>
            <a:fld id="{C3099951-A35E-41B9-889B-6EBB9216D515}" type="datetimeFigureOut">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22" name="Footer Placeholder 21"/>
          <p:cNvSpPr>
            <a:spLocks noGrp="1"/>
          </p:cNvSpPr>
          <p:nvPr>
            <p:ph type="ftr" sz="quarter" idx="3"/>
          </p:nvPr>
        </p:nvSpPr>
        <p:spPr>
          <a:xfrm>
            <a:off x="4380072" y="6407944"/>
            <a:ext cx="2350681" cy="365125"/>
          </a:xfrm>
          <a:prstGeom prst="rect">
            <a:avLst/>
          </a:prstGeom>
        </p:spPr>
        <p:txBody>
          <a:bodyPr vert="horz" anchor="b"/>
          <a:lstStyle>
            <a:lvl1pPr algn="r" eaLnBrk="1" latinLnBrk="0" hangingPunct="1">
              <a:defRPr kumimoji="0" sz="1000">
                <a:solidFill>
                  <a:schemeClr val="tx1"/>
                </a:solidFill>
              </a:defRPr>
            </a:lvl1pPr>
            <a:extLst/>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18" name="Slide Number Placeholder 17"/>
          <p:cNvSpPr>
            <a:spLocks noGrp="1"/>
          </p:cNvSpPr>
          <p:nvPr>
            <p:ph type="sldNum" sz="quarter" idx="4"/>
          </p:nvPr>
        </p:nvSpPr>
        <p:spPr>
          <a:xfrm>
            <a:off x="8647272" y="6407944"/>
            <a:ext cx="365760" cy="365125"/>
          </a:xfrm>
          <a:prstGeom prst="rect">
            <a:avLst/>
          </a:prstGeom>
        </p:spPr>
        <p:txBody>
          <a:bodyPr vert="horz" anchor="b"/>
          <a:lstStyle>
            <a:lvl1pPr algn="r" eaLnBrk="1" latinLnBrk="0" hangingPunct="1">
              <a:defRPr kumimoji="0" sz="1000" b="0">
                <a:solidFill>
                  <a:schemeClr val="tx1"/>
                </a:solidFill>
              </a:defRPr>
            </a:lvl1pPr>
            <a:extLst/>
          </a:lstStyle>
          <a:p>
            <a:pPr marL="0" marR="0" lvl="0" indent="0" algn="r" defTabSz="914400" rtl="0" eaLnBrk="1" fontAlgn="auto" latinLnBrk="0" hangingPunct="1">
              <a:lnSpc>
                <a:spcPct val="100000"/>
              </a:lnSpc>
              <a:spcBef>
                <a:spcPts val="0"/>
              </a:spcBef>
              <a:spcAft>
                <a:spcPts val="0"/>
              </a:spcAft>
              <a:buClrTx/>
              <a:buSzTx/>
              <a:buFontTx/>
              <a:buNone/>
              <a:tabLst/>
              <a:defRPr/>
            </a:pPr>
            <a:fld id="{17CA3EFA-F548-48D1-92C5-09240777D341}" type="slidenum">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Tree>
    <p:extLst>
      <p:ext uri="{BB962C8B-B14F-4D97-AF65-F5344CB8AC3E}">
        <p14:creationId xmlns:p14="http://schemas.microsoft.com/office/powerpoint/2010/main" val="3209350433"/>
      </p:ext>
    </p:extLst>
  </p:cSld>
  <p:clrMap bg1="lt1" tx1="dk1" bg2="lt2" tx2="dk2" accent1="accent1" accent2="accent2" accent3="accent3" accent4="accent4" accent5="accent5" accent6="accent6" hlink="hlink" folHlink="folHlink"/>
  <p:sldLayoutIdLst>
    <p:sldLayoutId id="2147484561" r:id="rId1"/>
    <p:sldLayoutId id="2147484562" r:id="rId2"/>
    <p:sldLayoutId id="2147484563" r:id="rId3"/>
    <p:sldLayoutId id="2147484564" r:id="rId4"/>
    <p:sldLayoutId id="2147484565" r:id="rId5"/>
    <p:sldLayoutId id="2147484566" r:id="rId6"/>
    <p:sldLayoutId id="2147484567" r:id="rId7"/>
    <p:sldLayoutId id="2147484568" r:id="rId8"/>
    <p:sldLayoutId id="2147484569" r:id="rId9"/>
    <p:sldLayoutId id="2147484570" r:id="rId10"/>
    <p:sldLayoutId id="2147484571" r:id="rId11"/>
  </p:sldLayoutIdLst>
  <p:txStyles>
    <p:title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p:titleStyle>
    <p:bodyStyle>
      <a:lvl1pPr marL="365760" indent="-256032" algn="l" rtl="0"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0033CC"/>
            </a:gs>
            <a:gs pos="50000">
              <a:schemeClr val="tx1"/>
            </a:gs>
            <a:gs pos="100000">
              <a:srgbClr val="0033CC"/>
            </a:gs>
          </a:gsLst>
          <a:lin ang="2700000" scaled="1"/>
        </a:gra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685800" y="355600"/>
            <a:ext cx="7772400" cy="685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5123" name="Rectangle 3"/>
          <p:cNvSpPr>
            <a:spLocks noGrp="1" noChangeArrowheads="1"/>
          </p:cNvSpPr>
          <p:nvPr>
            <p:ph type="body" idx="1"/>
          </p:nvPr>
        </p:nvSpPr>
        <p:spPr bwMode="auto">
          <a:xfrm>
            <a:off x="685800" y="1517650"/>
            <a:ext cx="7772400"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076"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chemeClr val="tx1"/>
                </a:solidFill>
                <a:latin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077"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chemeClr val="tx1"/>
                </a:solidFill>
                <a:latin typeface="Arial"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030" name="Rectangle 8"/>
          <p:cNvSpPr>
            <a:spLocks noChangeArrowheads="1"/>
          </p:cNvSpPr>
          <p:nvPr/>
        </p:nvSpPr>
        <p:spPr bwMode="auto">
          <a:xfrm>
            <a:off x="0" y="1117600"/>
            <a:ext cx="9144000" cy="76200"/>
          </a:xfrm>
          <a:prstGeom prst="rect">
            <a:avLst/>
          </a:prstGeom>
          <a:solidFill>
            <a:srgbClr val="FF3300"/>
          </a:solidFill>
          <a:ln w="9525">
            <a:no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298144219"/>
      </p:ext>
    </p:extLst>
  </p:cSld>
  <p:clrMap bg1="lt1" tx1="dk1" bg2="lt2" tx2="dk2" accent1="accent1" accent2="accent2" accent3="accent3" accent4="accent4" accent5="accent5" accent6="accent6" hlink="hlink" folHlink="folHlink"/>
  <p:sldLayoutIdLst>
    <p:sldLayoutId id="2147484573" r:id="rId1"/>
    <p:sldLayoutId id="2147484574" r:id="rId2"/>
    <p:sldLayoutId id="2147484575" r:id="rId3"/>
    <p:sldLayoutId id="2147484576" r:id="rId4"/>
    <p:sldLayoutId id="2147484577" r:id="rId5"/>
    <p:sldLayoutId id="2147484578" r:id="rId6"/>
    <p:sldLayoutId id="2147484579" r:id="rId7"/>
    <p:sldLayoutId id="2147484580" r:id="rId8"/>
    <p:sldLayoutId id="2147484581" r:id="rId9"/>
    <p:sldLayoutId id="2147484582" r:id="rId10"/>
    <p:sldLayoutId id="2147484583" r:id="rId11"/>
    <p:sldLayoutId id="2147484584" r:id="rId12"/>
    <p:sldLayoutId id="2147484585" r:id="rId13"/>
    <p:sldLayoutId id="2147484586" r:id="rId14"/>
    <p:sldLayoutId id="2147484587" r:id="rId15"/>
    <p:sldLayoutId id="2147484588" r:id="rId16"/>
  </p:sldLayoutIdLst>
  <p:txStyles>
    <p:titleStyle>
      <a:lvl1pPr algn="ctr" rtl="0" eaLnBrk="0" fontAlgn="base" hangingPunct="0">
        <a:spcBef>
          <a:spcPct val="0"/>
        </a:spcBef>
        <a:spcAft>
          <a:spcPct val="0"/>
        </a:spcAft>
        <a:defRPr sz="3600" b="1">
          <a:solidFill>
            <a:srgbClr val="FFFF00"/>
          </a:solidFill>
          <a:latin typeface="+mj-lt"/>
          <a:ea typeface="+mj-ea"/>
          <a:cs typeface="+mj-cs"/>
        </a:defRPr>
      </a:lvl1pPr>
      <a:lvl2pPr algn="ctr" rtl="0" eaLnBrk="0" fontAlgn="base" hangingPunct="0">
        <a:spcBef>
          <a:spcPct val="0"/>
        </a:spcBef>
        <a:spcAft>
          <a:spcPct val="0"/>
        </a:spcAft>
        <a:defRPr sz="3600" b="1">
          <a:solidFill>
            <a:srgbClr val="FFFF00"/>
          </a:solidFill>
          <a:latin typeface="Arial" charset="0"/>
        </a:defRPr>
      </a:lvl2pPr>
      <a:lvl3pPr algn="ctr" rtl="0" eaLnBrk="0" fontAlgn="base" hangingPunct="0">
        <a:spcBef>
          <a:spcPct val="0"/>
        </a:spcBef>
        <a:spcAft>
          <a:spcPct val="0"/>
        </a:spcAft>
        <a:defRPr sz="3600" b="1">
          <a:solidFill>
            <a:srgbClr val="FFFF00"/>
          </a:solidFill>
          <a:latin typeface="Arial" charset="0"/>
        </a:defRPr>
      </a:lvl3pPr>
      <a:lvl4pPr algn="ctr" rtl="0" eaLnBrk="0" fontAlgn="base" hangingPunct="0">
        <a:spcBef>
          <a:spcPct val="0"/>
        </a:spcBef>
        <a:spcAft>
          <a:spcPct val="0"/>
        </a:spcAft>
        <a:defRPr sz="3600" b="1">
          <a:solidFill>
            <a:srgbClr val="FFFF00"/>
          </a:solidFill>
          <a:latin typeface="Arial" charset="0"/>
        </a:defRPr>
      </a:lvl4pPr>
      <a:lvl5pPr algn="ctr" rtl="0" eaLnBrk="0" fontAlgn="base" hangingPunct="0">
        <a:spcBef>
          <a:spcPct val="0"/>
        </a:spcBef>
        <a:spcAft>
          <a:spcPct val="0"/>
        </a:spcAft>
        <a:defRPr sz="3600" b="1">
          <a:solidFill>
            <a:srgbClr val="FFFF00"/>
          </a:solidFill>
          <a:latin typeface="Arial" charset="0"/>
        </a:defRPr>
      </a:lvl5pPr>
      <a:lvl6pPr marL="457200" algn="ctr" rtl="0" eaLnBrk="0" fontAlgn="base" hangingPunct="0">
        <a:spcBef>
          <a:spcPct val="0"/>
        </a:spcBef>
        <a:spcAft>
          <a:spcPct val="0"/>
        </a:spcAft>
        <a:defRPr sz="3600" b="1">
          <a:solidFill>
            <a:srgbClr val="FFFF00"/>
          </a:solidFill>
          <a:latin typeface="Arial" charset="0"/>
        </a:defRPr>
      </a:lvl6pPr>
      <a:lvl7pPr marL="914400" algn="ctr" rtl="0" eaLnBrk="0" fontAlgn="base" hangingPunct="0">
        <a:spcBef>
          <a:spcPct val="0"/>
        </a:spcBef>
        <a:spcAft>
          <a:spcPct val="0"/>
        </a:spcAft>
        <a:defRPr sz="3600" b="1">
          <a:solidFill>
            <a:srgbClr val="FFFF00"/>
          </a:solidFill>
          <a:latin typeface="Arial" charset="0"/>
        </a:defRPr>
      </a:lvl7pPr>
      <a:lvl8pPr marL="1371600" algn="ctr" rtl="0" eaLnBrk="0" fontAlgn="base" hangingPunct="0">
        <a:spcBef>
          <a:spcPct val="0"/>
        </a:spcBef>
        <a:spcAft>
          <a:spcPct val="0"/>
        </a:spcAft>
        <a:defRPr sz="3600" b="1">
          <a:solidFill>
            <a:srgbClr val="FFFF00"/>
          </a:solidFill>
          <a:latin typeface="Arial" charset="0"/>
        </a:defRPr>
      </a:lvl8pPr>
      <a:lvl9pPr marL="1828800" algn="ctr" rtl="0" eaLnBrk="0" fontAlgn="base" hangingPunct="0">
        <a:spcBef>
          <a:spcPct val="0"/>
        </a:spcBef>
        <a:spcAft>
          <a:spcPct val="0"/>
        </a:spcAft>
        <a:defRPr sz="3600" b="1">
          <a:solidFill>
            <a:srgbClr val="FFFF00"/>
          </a:solidFill>
          <a:latin typeface="Arial" charset="0"/>
        </a:defRPr>
      </a:lvl9pPr>
    </p:titleStyle>
    <p:bodyStyle>
      <a:lvl1pPr marL="685800" indent="-685800" algn="l" rtl="0" eaLnBrk="0" fontAlgn="base" hangingPunct="0">
        <a:spcBef>
          <a:spcPct val="20000"/>
        </a:spcBef>
        <a:spcAft>
          <a:spcPct val="0"/>
        </a:spcAft>
        <a:buClr>
          <a:srgbClr val="FF3300"/>
        </a:buClr>
        <a:buSzPct val="80000"/>
        <a:buFont typeface="Wingdings" pitchFamily="2" charset="2"/>
        <a:buChar char="l"/>
        <a:defRPr sz="3200">
          <a:solidFill>
            <a:schemeClr val="bg1"/>
          </a:solidFill>
          <a:latin typeface="+mn-lt"/>
          <a:ea typeface="+mn-ea"/>
          <a:cs typeface="+mn-cs"/>
        </a:defRPr>
      </a:lvl1pPr>
      <a:lvl2pPr marL="1257300" indent="-457200" algn="l" rtl="0" eaLnBrk="0" fontAlgn="base" hangingPunct="0">
        <a:spcBef>
          <a:spcPct val="20000"/>
        </a:spcBef>
        <a:spcAft>
          <a:spcPct val="0"/>
        </a:spcAft>
        <a:buChar char="–"/>
        <a:defRPr sz="2800">
          <a:solidFill>
            <a:schemeClr val="bg1"/>
          </a:solidFill>
          <a:latin typeface="+mn-lt"/>
        </a:defRPr>
      </a:lvl2pPr>
      <a:lvl3pPr marL="1600200" indent="-228600" algn="l" rtl="0" eaLnBrk="0" fontAlgn="base" hangingPunct="0">
        <a:spcBef>
          <a:spcPct val="20000"/>
        </a:spcBef>
        <a:spcAft>
          <a:spcPct val="0"/>
        </a:spcAft>
        <a:buChar char="•"/>
        <a:defRPr sz="2400">
          <a:solidFill>
            <a:schemeClr val="bg1"/>
          </a:solidFill>
          <a:latin typeface="+mn-lt"/>
        </a:defRPr>
      </a:lvl3pPr>
      <a:lvl4pPr marL="1943100" indent="-228600" algn="l" rtl="0" eaLnBrk="0" fontAlgn="base" hangingPunct="0">
        <a:spcBef>
          <a:spcPct val="20000"/>
        </a:spcBef>
        <a:spcAft>
          <a:spcPct val="0"/>
        </a:spcAft>
        <a:buChar char="–"/>
        <a:defRPr sz="2000">
          <a:solidFill>
            <a:schemeClr val="bg1"/>
          </a:solidFill>
          <a:latin typeface="+mn-lt"/>
        </a:defRPr>
      </a:lvl4pPr>
      <a:lvl5pPr marL="2286000" indent="-228600" algn="l" rtl="0" eaLnBrk="0" fontAlgn="base" hangingPunct="0">
        <a:spcBef>
          <a:spcPct val="20000"/>
        </a:spcBef>
        <a:spcAft>
          <a:spcPct val="0"/>
        </a:spcAft>
        <a:buChar char="»"/>
        <a:defRPr sz="2000">
          <a:solidFill>
            <a:schemeClr val="bg1"/>
          </a:solidFill>
          <a:latin typeface="+mn-lt"/>
        </a:defRPr>
      </a:lvl5pPr>
      <a:lvl6pPr marL="2743200" indent="-228600" algn="l" rtl="0" eaLnBrk="0" fontAlgn="base" hangingPunct="0">
        <a:spcBef>
          <a:spcPct val="20000"/>
        </a:spcBef>
        <a:spcAft>
          <a:spcPct val="0"/>
        </a:spcAft>
        <a:buChar char="»"/>
        <a:defRPr sz="2000">
          <a:solidFill>
            <a:schemeClr val="bg1"/>
          </a:solidFill>
          <a:latin typeface="+mn-lt"/>
        </a:defRPr>
      </a:lvl6pPr>
      <a:lvl7pPr marL="3200400" indent="-228600" algn="l" rtl="0" eaLnBrk="0" fontAlgn="base" hangingPunct="0">
        <a:spcBef>
          <a:spcPct val="20000"/>
        </a:spcBef>
        <a:spcAft>
          <a:spcPct val="0"/>
        </a:spcAft>
        <a:buChar char="»"/>
        <a:defRPr sz="2000">
          <a:solidFill>
            <a:schemeClr val="bg1"/>
          </a:solidFill>
          <a:latin typeface="+mn-lt"/>
        </a:defRPr>
      </a:lvl7pPr>
      <a:lvl8pPr marL="3657600" indent="-228600" algn="l" rtl="0" eaLnBrk="0" fontAlgn="base" hangingPunct="0">
        <a:spcBef>
          <a:spcPct val="20000"/>
        </a:spcBef>
        <a:spcAft>
          <a:spcPct val="0"/>
        </a:spcAft>
        <a:buChar char="»"/>
        <a:defRPr sz="2000">
          <a:solidFill>
            <a:schemeClr val="bg1"/>
          </a:solidFill>
          <a:latin typeface="+mn-lt"/>
        </a:defRPr>
      </a:lvl8pPr>
      <a:lvl9pPr marL="4114800" indent="-228600" algn="l" rtl="0" eaLnBrk="0" fontAlgn="base" hangingPunct="0">
        <a:spcBef>
          <a:spcPct val="20000"/>
        </a:spcBef>
        <a:spcAft>
          <a:spcPct val="0"/>
        </a:spcAft>
        <a:buChar char="»"/>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alphaModFix amt="51000"/>
            <a:lum/>
          </a:blip>
          <a:srcRect/>
          <a:tile tx="0" ty="0" sx="75000" sy="80000" flip="none" algn="tl"/>
        </a:blipFill>
        <a:effectLst/>
      </p:bgPr>
    </p:bg>
    <p:spTree>
      <p:nvGrpSpPr>
        <p:cNvPr id="1" name=""/>
        <p:cNvGrpSpPr/>
        <p:nvPr/>
      </p:nvGrpSpPr>
      <p:grpSpPr>
        <a:xfrm>
          <a:off x="0" y="0"/>
          <a:ext cx="0" cy="0"/>
          <a:chOff x="0" y="0"/>
          <a:chExt cx="0" cy="0"/>
        </a:xfrm>
      </p:grpSpPr>
      <p:sp>
        <p:nvSpPr>
          <p:cNvPr id="8194" name="Title Placeholder 21"/>
          <p:cNvSpPr>
            <a:spLocks noGrp="1"/>
          </p:cNvSpPr>
          <p:nvPr>
            <p:ph type="title"/>
          </p:nvPr>
        </p:nvSpPr>
        <p:spPr bwMode="auto">
          <a:xfrm>
            <a:off x="609600" y="228600"/>
            <a:ext cx="81534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8195" name="Text Placeholder 12"/>
          <p:cNvSpPr>
            <a:spLocks noGrp="1"/>
          </p:cNvSpPr>
          <p:nvPr>
            <p:ph type="body" idx="1"/>
          </p:nvPr>
        </p:nvSpPr>
        <p:spPr bwMode="auto">
          <a:xfrm>
            <a:off x="612775" y="1600200"/>
            <a:ext cx="8153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4" name="Date Placeholder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pPr fontAlgn="base">
              <a:spcBef>
                <a:spcPct val="0"/>
              </a:spcBef>
              <a:spcAft>
                <a:spcPct val="0"/>
              </a:spcAft>
              <a:defRPr/>
            </a:pPr>
            <a:endParaRPr lang="en-US">
              <a:solidFill>
                <a:srgbClr val="775F55"/>
              </a:solidFill>
              <a:latin typeface="Times New Roman" pitchFamily="18" charset="0"/>
            </a:endParaRPr>
          </a:p>
        </p:txBody>
      </p:sp>
      <p:sp>
        <p:nvSpPr>
          <p:cNvPr id="3" name="Footer Placeholder 2"/>
          <p:cNvSpPr>
            <a:spLocks noGrp="1"/>
          </p:cNvSpPr>
          <p:nvPr>
            <p:ph type="ftr" sz="quarter" idx="3"/>
          </p:nvPr>
        </p:nvSpPr>
        <p:spPr>
          <a:xfrm>
            <a:off x="609600" y="6248400"/>
            <a:ext cx="5421313" cy="365125"/>
          </a:xfrm>
          <a:prstGeom prst="rect">
            <a:avLst/>
          </a:prstGeom>
        </p:spPr>
        <p:txBody>
          <a:bodyPr vert="horz" anchor="ctr"/>
          <a:lstStyle>
            <a:lvl1pPr algn="r" eaLnBrk="1" latinLnBrk="0" hangingPunct="1">
              <a:defRPr kumimoji="0" sz="1400">
                <a:solidFill>
                  <a:schemeClr val="tx2"/>
                </a:solidFill>
              </a:defRPr>
            </a:lvl1pPr>
          </a:lstStyle>
          <a:p>
            <a:pPr fontAlgn="base">
              <a:spcBef>
                <a:spcPct val="0"/>
              </a:spcBef>
              <a:spcAft>
                <a:spcPct val="0"/>
              </a:spcAft>
              <a:defRPr/>
            </a:pPr>
            <a:endParaRPr lang="en-US">
              <a:solidFill>
                <a:srgbClr val="775F55"/>
              </a:solidFill>
              <a:latin typeface="Times New Roman" pitchFamily="18" charset="0"/>
            </a:endParaRPr>
          </a:p>
        </p:txBody>
      </p:sp>
      <p:sp>
        <p:nvSpPr>
          <p:cNvPr id="7" name="Rectangle 6"/>
          <p:cNvSpPr/>
          <p:nvPr/>
        </p:nvSpPr>
        <p:spPr bwMode="white">
          <a:xfrm>
            <a:off x="0" y="1235075"/>
            <a:ext cx="9144000" cy="31908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8" name="Rectangle 7"/>
          <p:cNvSpPr/>
          <p:nvPr/>
        </p:nvSpPr>
        <p:spPr>
          <a:xfrm>
            <a:off x="0" y="1279525"/>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9" name="Rectangle 8"/>
          <p:cNvSpPr/>
          <p:nvPr/>
        </p:nvSpPr>
        <p:spPr>
          <a:xfrm>
            <a:off x="590550" y="1279525"/>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sz="1400">
              <a:solidFill>
                <a:prstClr val="white"/>
              </a:solidFill>
            </a:endParaRPr>
          </a:p>
        </p:txBody>
      </p:sp>
      <p:sp>
        <p:nvSpPr>
          <p:cNvPr id="23" name="Slide Number Placeholder 22"/>
          <p:cNvSpPr>
            <a:spLocks noGrp="1"/>
          </p:cNvSpPr>
          <p:nvPr>
            <p:ph type="sldNum" sz="quarter" idx="4"/>
          </p:nvPr>
        </p:nvSpPr>
        <p:spPr>
          <a:xfrm>
            <a:off x="0" y="1271588"/>
            <a:ext cx="533400" cy="244475"/>
          </a:xfrm>
          <a:prstGeom prst="rect">
            <a:avLst/>
          </a:prstGeom>
        </p:spPr>
        <p:txBody>
          <a:bodyPr vert="horz" anchor="ctr" anchorCtr="0">
            <a:normAutofit/>
          </a:bodyPr>
          <a:lstStyle>
            <a:lvl1pPr algn="ctr" eaLnBrk="1" latinLnBrk="0" hangingPunct="1">
              <a:defRPr kumimoji="0" sz="1400" b="1" smtClean="0">
                <a:solidFill>
                  <a:srgbClr val="FFFFFF"/>
                </a:solidFill>
              </a:defRPr>
            </a:lvl1pPr>
          </a:lstStyle>
          <a:p>
            <a:pPr fontAlgn="base">
              <a:spcBef>
                <a:spcPct val="0"/>
              </a:spcBef>
              <a:spcAft>
                <a:spcPct val="0"/>
              </a:spcAft>
              <a:defRPr/>
            </a:pPr>
            <a:fld id="{1F2D5CDE-A10F-4EA5-B631-CB12D706789E}" type="slidenum">
              <a:rPr lang="en-US">
                <a:latin typeface="Times New Roman" pitchFamily="18" charset="0"/>
              </a:rPr>
              <a:pPr fontAlgn="base">
                <a:spcBef>
                  <a:spcPct val="0"/>
                </a:spcBef>
                <a:spcAft>
                  <a:spcPct val="0"/>
                </a:spcAft>
                <a:defRPr/>
              </a:pPr>
              <a:t>‹#›</a:t>
            </a:fld>
            <a:endParaRPr lang="en-US">
              <a:latin typeface="Times New Roman" pitchFamily="18" charset="0"/>
            </a:endParaRPr>
          </a:p>
        </p:txBody>
      </p:sp>
      <p:pic>
        <p:nvPicPr>
          <p:cNvPr id="8202" name="Picture 10" descr="C:\Documents and Settings\Bucky Boaz\My Documents\My Pictures\2002-03-16\x-ray-01.jp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19245252"/>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9" r:id="rId12"/>
  </p:sldLayoutIdLst>
  <p:txStyles>
    <p:titleStyle>
      <a:lvl1pPr algn="l" rtl="0" fontAlgn="base">
        <a:spcBef>
          <a:spcPct val="0"/>
        </a:spcBef>
        <a:spcAft>
          <a:spcPct val="0"/>
        </a:spcAft>
        <a:defRPr sz="4400" kern="1200">
          <a:solidFill>
            <a:schemeClr val="tx2"/>
          </a:solidFill>
          <a:latin typeface="+mj-lt"/>
          <a:ea typeface="+mj-ea"/>
          <a:cs typeface="+mj-cs"/>
        </a:defRPr>
      </a:lvl1pPr>
      <a:lvl2pPr algn="l" rtl="0" fontAlgn="base">
        <a:spcBef>
          <a:spcPct val="0"/>
        </a:spcBef>
        <a:spcAft>
          <a:spcPct val="0"/>
        </a:spcAft>
        <a:defRPr sz="4400">
          <a:solidFill>
            <a:schemeClr val="tx2"/>
          </a:solidFill>
          <a:latin typeface="Tw Cen MT" pitchFamily="34" charset="0"/>
        </a:defRPr>
      </a:lvl2pPr>
      <a:lvl3pPr algn="l" rtl="0" fontAlgn="base">
        <a:spcBef>
          <a:spcPct val="0"/>
        </a:spcBef>
        <a:spcAft>
          <a:spcPct val="0"/>
        </a:spcAft>
        <a:defRPr sz="4400">
          <a:solidFill>
            <a:schemeClr val="tx2"/>
          </a:solidFill>
          <a:latin typeface="Tw Cen MT" pitchFamily="34" charset="0"/>
        </a:defRPr>
      </a:lvl3pPr>
      <a:lvl4pPr algn="l" rtl="0" fontAlgn="base">
        <a:spcBef>
          <a:spcPct val="0"/>
        </a:spcBef>
        <a:spcAft>
          <a:spcPct val="0"/>
        </a:spcAft>
        <a:defRPr sz="4400">
          <a:solidFill>
            <a:schemeClr val="tx2"/>
          </a:solidFill>
          <a:latin typeface="Tw Cen MT" pitchFamily="34" charset="0"/>
        </a:defRPr>
      </a:lvl4pPr>
      <a:lvl5pPr algn="l" rtl="0" fontAlgn="base">
        <a:spcBef>
          <a:spcPct val="0"/>
        </a:spcBef>
        <a:spcAft>
          <a:spcPct val="0"/>
        </a:spcAft>
        <a:defRPr sz="4400">
          <a:solidFill>
            <a:schemeClr val="tx2"/>
          </a:solidFill>
          <a:latin typeface="Tw Cen MT" pitchFamily="34" charset="0"/>
        </a:defRPr>
      </a:lvl5pPr>
      <a:lvl6pPr marL="457200" algn="l" rtl="0" fontAlgn="base">
        <a:spcBef>
          <a:spcPct val="0"/>
        </a:spcBef>
        <a:spcAft>
          <a:spcPct val="0"/>
        </a:spcAft>
        <a:defRPr sz="4400">
          <a:solidFill>
            <a:schemeClr val="tx2"/>
          </a:solidFill>
          <a:latin typeface="Tw Cen MT" pitchFamily="34" charset="0"/>
        </a:defRPr>
      </a:lvl6pPr>
      <a:lvl7pPr marL="914400" algn="l" rtl="0" fontAlgn="base">
        <a:spcBef>
          <a:spcPct val="0"/>
        </a:spcBef>
        <a:spcAft>
          <a:spcPct val="0"/>
        </a:spcAft>
        <a:defRPr sz="4400">
          <a:solidFill>
            <a:schemeClr val="tx2"/>
          </a:solidFill>
          <a:latin typeface="Tw Cen MT" pitchFamily="34" charset="0"/>
        </a:defRPr>
      </a:lvl7pPr>
      <a:lvl8pPr marL="1371600" algn="l" rtl="0" fontAlgn="base">
        <a:spcBef>
          <a:spcPct val="0"/>
        </a:spcBef>
        <a:spcAft>
          <a:spcPct val="0"/>
        </a:spcAft>
        <a:defRPr sz="4400">
          <a:solidFill>
            <a:schemeClr val="tx2"/>
          </a:solidFill>
          <a:latin typeface="Tw Cen MT" pitchFamily="34" charset="0"/>
        </a:defRPr>
      </a:lvl8pPr>
      <a:lvl9pPr marL="1828800" algn="l" rtl="0" fontAlgn="base">
        <a:spcBef>
          <a:spcPct val="0"/>
        </a:spcBef>
        <a:spcAft>
          <a:spcPct val="0"/>
        </a:spcAft>
        <a:defRPr sz="4400">
          <a:solidFill>
            <a:schemeClr val="tx2"/>
          </a:solidFill>
          <a:latin typeface="Tw Cen MT" pitchFamily="34" charset="0"/>
        </a:defRPr>
      </a:lvl9pPr>
    </p:titleStyle>
    <p:bodyStyle>
      <a:lvl1pPr marL="319088" indent="-319088" algn="l" rtl="0" fontAlgn="base">
        <a:spcBef>
          <a:spcPts val="700"/>
        </a:spcBef>
        <a:spcAft>
          <a:spcPct val="0"/>
        </a:spcAft>
        <a:buClr>
          <a:schemeClr val="accent2"/>
        </a:buClr>
        <a:buSzPct val="60000"/>
        <a:buFont typeface="Wingdings" pitchFamily="2" charset="2"/>
        <a:buChar char=""/>
        <a:defRPr sz="2900" kern="1200">
          <a:solidFill>
            <a:schemeClr val="tx1"/>
          </a:solidFill>
          <a:latin typeface="+mn-lt"/>
          <a:ea typeface="+mn-ea"/>
          <a:cs typeface="+mn-cs"/>
        </a:defRPr>
      </a:lvl1pPr>
      <a:lvl2pPr marL="639763" indent="-273050" algn="l" rtl="0" fontAlgn="base">
        <a:spcBef>
          <a:spcPts val="550"/>
        </a:spcBef>
        <a:spcAft>
          <a:spcPct val="0"/>
        </a:spcAft>
        <a:buClr>
          <a:schemeClr val="accent1"/>
        </a:buClr>
        <a:buSzPct val="70000"/>
        <a:buFont typeface="Wingdings 2" pitchFamily="18" charset="2"/>
        <a:buChar char=""/>
        <a:defRPr sz="2600" kern="1200">
          <a:solidFill>
            <a:schemeClr val="tx1"/>
          </a:solidFill>
          <a:latin typeface="+mn-lt"/>
          <a:ea typeface="+mn-ea"/>
          <a:cs typeface="+mn-cs"/>
        </a:defRPr>
      </a:lvl2pPr>
      <a:lvl3pPr marL="914400" indent="-228600" algn="l" rtl="0" fontAlgn="base">
        <a:spcBef>
          <a:spcPts val="500"/>
        </a:spcBef>
        <a:spcAft>
          <a:spcPct val="0"/>
        </a:spcAft>
        <a:buClr>
          <a:schemeClr val="accent2"/>
        </a:buClr>
        <a:buSzPct val="75000"/>
        <a:buFont typeface="Wingdings" pitchFamily="2" charset="2"/>
        <a:buChar char=""/>
        <a:defRPr sz="2300" kern="1200">
          <a:solidFill>
            <a:schemeClr val="tx1"/>
          </a:solidFill>
          <a:latin typeface="+mn-lt"/>
          <a:ea typeface="+mn-ea"/>
          <a:cs typeface="+mn-cs"/>
        </a:defRPr>
      </a:lvl3pPr>
      <a:lvl4pPr marL="1371600" indent="-228600" algn="l" rtl="0" fontAlgn="base">
        <a:spcBef>
          <a:spcPts val="400"/>
        </a:spcBef>
        <a:spcAft>
          <a:spcPct val="0"/>
        </a:spcAft>
        <a:buClr>
          <a:srgbClr val="A5AB81"/>
        </a:buClr>
        <a:buSzPct val="75000"/>
        <a:buFont typeface="Wingdings" pitchFamily="2" charset="2"/>
        <a:buChar char=""/>
        <a:defRPr sz="2000" kern="1200">
          <a:solidFill>
            <a:schemeClr val="tx1"/>
          </a:solidFill>
          <a:latin typeface="+mn-lt"/>
          <a:ea typeface="+mn-ea"/>
          <a:cs typeface="+mn-cs"/>
        </a:defRPr>
      </a:lvl4pPr>
      <a:lvl5pPr marL="1828800" indent="-228600" algn="l" rtl="0" fontAlgn="base">
        <a:spcBef>
          <a:spcPts val="400"/>
        </a:spcBef>
        <a:spcAft>
          <a:spcPct val="0"/>
        </a:spcAft>
        <a:buClr>
          <a:srgbClr val="D8B25C"/>
        </a:buClr>
        <a:buSzPct val="65000"/>
        <a:buFont typeface="Wingdings" pitchFamily="2" charset="2"/>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14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614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394590D-D187-4950-BD54-3CC91CD7BB80}" type="datetimeFigureOut">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49A7CB-7FA7-4036-B9C1-72EFC88CDE1E}" type="slidenum">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Tree>
    <p:extLst>
      <p:ext uri="{BB962C8B-B14F-4D97-AF65-F5344CB8AC3E}">
        <p14:creationId xmlns:p14="http://schemas.microsoft.com/office/powerpoint/2010/main" val="1267841816"/>
      </p:ext>
    </p:extLst>
  </p:cSld>
  <p:clrMap bg1="lt1" tx1="dk1" bg2="lt2" tx2="dk2" accent1="accent1" accent2="accent2" accent3="accent3" accent4="accent4" accent5="accent5" accent6="accent6" hlink="hlink" folHlink="folHlink"/>
  <p:sldLayoutIdLst>
    <p:sldLayoutId id="2147484590" r:id="rId1"/>
    <p:sldLayoutId id="2147484591" r:id="rId2"/>
    <p:sldLayoutId id="2147484592" r:id="rId3"/>
    <p:sldLayoutId id="2147484593" r:id="rId4"/>
    <p:sldLayoutId id="2147484594" r:id="rId5"/>
    <p:sldLayoutId id="2147484595" r:id="rId6"/>
    <p:sldLayoutId id="2147484596" r:id="rId7"/>
    <p:sldLayoutId id="2147484597" r:id="rId8"/>
    <p:sldLayoutId id="2147484598" r:id="rId9"/>
    <p:sldLayoutId id="2147484599" r:id="rId10"/>
    <p:sldLayoutId id="2147484600"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7095306"/>
      </p:ext>
    </p:extLst>
  </p:cSld>
  <p:clrMap bg1="lt1" tx1="dk1" bg2="lt2" tx2="dk2" accent1="accent1" accent2="accent2" accent3="accent3" accent4="accent4" accent5="accent5" accent6="accent6" hlink="hlink" folHlink="folHlink"/>
  <p:sldLayoutIdLst>
    <p:sldLayoutId id="2147484602" r:id="rId1"/>
    <p:sldLayoutId id="2147484603" r:id="rId2"/>
    <p:sldLayoutId id="2147484604" r:id="rId3"/>
    <p:sldLayoutId id="2147484605" r:id="rId4"/>
  </p:sldLayoutIdLst>
  <p:timing>
    <p:tnLst>
      <p:par>
        <p:cT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Arial" pitchFamily="34" charset="0"/>
        </a:defRPr>
      </a:lvl2pPr>
      <a:lvl3pPr algn="ctr" rtl="0" eaLnBrk="0" fontAlgn="base" hangingPunct="0">
        <a:spcBef>
          <a:spcPct val="0"/>
        </a:spcBef>
        <a:spcAft>
          <a:spcPct val="0"/>
        </a:spcAft>
        <a:defRPr sz="4400">
          <a:solidFill>
            <a:schemeClr val="tx1"/>
          </a:solidFill>
          <a:latin typeface="Arial" pitchFamily="34" charset="0"/>
        </a:defRPr>
      </a:lvl3pPr>
      <a:lvl4pPr algn="ctr" rtl="0" eaLnBrk="0" fontAlgn="base" hangingPunct="0">
        <a:spcBef>
          <a:spcPct val="0"/>
        </a:spcBef>
        <a:spcAft>
          <a:spcPct val="0"/>
        </a:spcAft>
        <a:defRPr sz="4400">
          <a:solidFill>
            <a:schemeClr val="tx1"/>
          </a:solidFill>
          <a:latin typeface="Arial" pitchFamily="34" charset="0"/>
        </a:defRPr>
      </a:lvl4pPr>
      <a:lvl5pPr algn="ctr" rtl="0" eaLnBrk="0" fontAlgn="base" hangingPunct="0">
        <a:spcBef>
          <a:spcPct val="0"/>
        </a:spcBef>
        <a:spcAft>
          <a:spcPct val="0"/>
        </a:spcAft>
        <a:defRPr sz="4400">
          <a:solidFill>
            <a:schemeClr val="tx1"/>
          </a:solidFill>
          <a:latin typeface="Arial" pitchFamily="34" charset="0"/>
        </a:defRPr>
      </a:lvl5pPr>
      <a:lvl6pPr marL="457200" algn="ctr" rtl="0" fontAlgn="base">
        <a:spcBef>
          <a:spcPct val="0"/>
        </a:spcBef>
        <a:spcAft>
          <a:spcPct val="0"/>
        </a:spcAft>
        <a:defRPr sz="4400">
          <a:solidFill>
            <a:schemeClr val="tx1"/>
          </a:solidFill>
          <a:latin typeface="Arial" pitchFamily="34" charset="0"/>
        </a:defRPr>
      </a:lvl6pPr>
      <a:lvl7pPr marL="914400" algn="ctr" rtl="0" fontAlgn="base">
        <a:spcBef>
          <a:spcPct val="0"/>
        </a:spcBef>
        <a:spcAft>
          <a:spcPct val="0"/>
        </a:spcAft>
        <a:defRPr sz="4400">
          <a:solidFill>
            <a:schemeClr val="tx1"/>
          </a:solidFill>
          <a:latin typeface="Arial" pitchFamily="34" charset="0"/>
        </a:defRPr>
      </a:lvl7pPr>
      <a:lvl8pPr marL="1371600" algn="ctr" rtl="0" fontAlgn="base">
        <a:spcBef>
          <a:spcPct val="0"/>
        </a:spcBef>
        <a:spcAft>
          <a:spcPct val="0"/>
        </a:spcAft>
        <a:defRPr sz="4400">
          <a:solidFill>
            <a:schemeClr val="tx1"/>
          </a:solidFill>
          <a:latin typeface="Arial" pitchFamily="34" charset="0"/>
        </a:defRPr>
      </a:lvl8pPr>
      <a:lvl9pPr marL="1828800" algn="ctr" rtl="0" fontAlgn="base">
        <a:spcBef>
          <a:spcPct val="0"/>
        </a:spcBef>
        <a:spcAft>
          <a:spcPct val="0"/>
        </a:spcAft>
        <a:defRPr sz="4400">
          <a:solidFill>
            <a:schemeClr val="tx1"/>
          </a:solidFill>
          <a:latin typeface="Arial"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srcRect/>
          <a:tile tx="0" ty="0" sx="100000" sy="100000" flip="none" algn="tl"/>
        </a:blipFill>
        <a:effectLst/>
      </p:bgPr>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6" name="Rectangle 15"/>
          <p:cNvSpPr>
            <a:spLocks noChangeArrowheads="1"/>
          </p:cNvSpPr>
          <p:nvPr/>
        </p:nvSpPr>
        <p:spPr bwMode="white">
          <a:xfrm>
            <a:off x="0" y="0"/>
            <a:ext cx="9144000" cy="139337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9" name="Rectangle 18"/>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eaLnBrk="1" latinLnBrk="0" hangingPunct="1">
              <a:defRPr kumimoji="0" sz="1400">
                <a:solidFill>
                  <a:srgbClr val="FFFFFF"/>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400" b="0" i="0" u="none" strike="noStrike" kern="1200" cap="none" spc="0" normalizeH="0" baseline="0" noProof="0" smtClean="0">
                <a:ln>
                  <a:noFill/>
                </a:ln>
                <a:solidFill>
                  <a:srgbClr val="FFFFFF"/>
                </a:solidFill>
                <a:effectLst/>
                <a:uLnTx/>
                <a:uFillTx/>
                <a:latin typeface="Georg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8/2024</a:t>
            </a:fld>
            <a:endParaRPr kumimoji="0" lang="en-US" sz="1400" b="0" i="0" u="none" strike="noStrike" kern="1200" cap="none" spc="0" normalizeH="0" baseline="0" noProof="0">
              <a:ln>
                <a:noFill/>
              </a:ln>
              <a:solidFill>
                <a:srgbClr val="FFFFFF"/>
              </a:solidFill>
              <a:effectLst/>
              <a:uLnTx/>
              <a:uFillTx/>
              <a:latin typeface="Georgia"/>
              <a:ea typeface="+mn-ea"/>
              <a:cs typeface="+mn-cs"/>
            </a:endParaRPr>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eaLnBrk="1" latinLnBrk="0" hangingPunct="1">
              <a:defRPr kumimoji="0" sz="1200">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a:ea typeface="+mn-ea"/>
              <a:cs typeface="+mn-cs"/>
            </a:endParaRPr>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eorgia"/>
              <a:ea typeface="+mn-ea"/>
              <a:cs typeface="+mn-cs"/>
            </a:endParaRPr>
          </a:p>
        </p:txBody>
      </p:sp>
      <p:sp>
        <p:nvSpPr>
          <p:cNvPr id="10" name="Straight Connector 9"/>
          <p:cNvSpPr>
            <a:spLocks noChangeShapeType="1"/>
          </p:cNvSpPr>
          <p:nvPr/>
        </p:nvSpPr>
        <p:spPr bwMode="auto">
          <a:xfrm>
            <a:off x="152400" y="1276743"/>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23" name="Slide Number Placeholder 22"/>
          <p:cNvSpPr>
            <a:spLocks noGrp="1"/>
          </p:cNvSpPr>
          <p:nvPr>
            <p:ph type="sldNum" sz="quarter" idx="4"/>
          </p:nvPr>
        </p:nvSpPr>
        <p:spPr>
          <a:xfrm>
            <a:off x="4343400" y="1040174"/>
            <a:ext cx="457200" cy="441325"/>
          </a:xfrm>
          <a:prstGeom prst="rect">
            <a:avLst/>
          </a:prstGeom>
        </p:spPr>
        <p:txBody>
          <a:bodyPr vert="horz" lIns="45720" rIns="45720" anchor="ctr">
            <a:normAutofit/>
          </a:bodyPr>
          <a:lstStyle>
            <a:lvl1pPr algn="ctr" eaLnBrk="1" latinLnBrk="0" hangingPunct="1">
              <a:defRPr kumimoji="0" sz="1600">
                <a:solidFill>
                  <a:schemeClr val="accent3">
                    <a:shade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8CADAE">
                    <a:shade val="75000"/>
                  </a:srgbClr>
                </a:solidFill>
                <a:effectLst/>
                <a:uLnTx/>
                <a:uFillTx/>
                <a:latin typeface="Georgi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8CADAE">
                  <a:shade val="75000"/>
                </a:srgbClr>
              </a:solidFill>
              <a:effectLst/>
              <a:uLnTx/>
              <a:uFillTx/>
              <a:latin typeface="Georgia"/>
              <a:ea typeface="+mn-ea"/>
              <a:cs typeface="+mn-cs"/>
            </a:endParaRPr>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301752" y="1524000"/>
            <a:ext cx="8534400" cy="459943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Tree>
    <p:extLst>
      <p:ext uri="{BB962C8B-B14F-4D97-AF65-F5344CB8AC3E}">
        <p14:creationId xmlns:p14="http://schemas.microsoft.com/office/powerpoint/2010/main" val="1349091728"/>
      </p:ext>
    </p:extLst>
  </p:cSld>
  <p:clrMap bg1="lt1" tx1="dk1" bg2="lt2" tx2="dk2" accent1="accent1" accent2="accent2" accent3="accent3" accent4="accent4" accent5="accent5" accent6="accent6" hlink="hlink" folHlink="folHlink"/>
  <p:sldLayoutIdLst>
    <p:sldLayoutId id="2147484607" r:id="rId1"/>
    <p:sldLayoutId id="2147484608" r:id="rId2"/>
    <p:sldLayoutId id="2147484609" r:id="rId3"/>
    <p:sldLayoutId id="2147484610" r:id="rId4"/>
    <p:sldLayoutId id="2147484611" r:id="rId5"/>
    <p:sldLayoutId id="2147484612" r:id="rId6"/>
    <p:sldLayoutId id="2147484613" r:id="rId7"/>
    <p:sldLayoutId id="2147484614" r:id="rId8"/>
    <p:sldLayoutId id="2147484615" r:id="rId9"/>
    <p:sldLayoutId id="2147484616" r:id="rId10"/>
    <p:sldLayoutId id="2147484617" r:id="rId11"/>
  </p:sldLayoutIdLst>
  <p:txStyles>
    <p:titleStyle>
      <a:lvl1pPr algn="ctr" rtl="0" eaLnBrk="1" latinLnBrk="0" hangingPunct="1">
        <a:spcBef>
          <a:spcPct val="0"/>
        </a:spcBef>
        <a:buNone/>
        <a:defRPr kumimoji="0"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kumimoji="0"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kumimoji="0"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Pr>
        <a:gradFill rotWithShape="0">
          <a:gsLst>
            <a:gs pos="0">
              <a:schemeClr val="bg1"/>
            </a:gs>
            <a:gs pos="100000">
              <a:schemeClr val="bg2"/>
            </a:gs>
          </a:gsLst>
          <a:lin ang="0" scaled="1"/>
        </a:gradFill>
        <a:effectLst/>
      </p:bgPr>
    </p:bg>
    <p:spTree>
      <p:nvGrpSpPr>
        <p:cNvPr id="1" name=""/>
        <p:cNvGrpSpPr/>
        <p:nvPr/>
      </p:nvGrpSpPr>
      <p:grpSpPr>
        <a:xfrm>
          <a:off x="0" y="0"/>
          <a:ext cx="0" cy="0"/>
          <a:chOff x="0" y="0"/>
          <a:chExt cx="0" cy="0"/>
        </a:xfrm>
      </p:grpSpPr>
      <p:grpSp>
        <p:nvGrpSpPr>
          <p:cNvPr id="2" name="Group 1026"/>
          <p:cNvGrpSpPr>
            <a:grpSpLocks/>
          </p:cNvGrpSpPr>
          <p:nvPr/>
        </p:nvGrpSpPr>
        <p:grpSpPr bwMode="auto">
          <a:xfrm>
            <a:off x="0" y="1588"/>
            <a:ext cx="9132888" cy="6845300"/>
            <a:chOff x="0" y="1"/>
            <a:chExt cx="5753" cy="4312"/>
          </a:xfrm>
        </p:grpSpPr>
        <p:sp>
          <p:nvSpPr>
            <p:cNvPr id="81923" name="Freeform 1027"/>
            <p:cNvSpPr>
              <a:spLocks/>
            </p:cNvSpPr>
            <p:nvPr/>
          </p:nvSpPr>
          <p:spPr bwMode="auto">
            <a:xfrm>
              <a:off x="3394" y="999"/>
              <a:ext cx="2359" cy="3314"/>
            </a:xfrm>
            <a:custGeom>
              <a:avLst/>
              <a:gdLst/>
              <a:ahLst/>
              <a:cxnLst>
                <a:cxn ang="0">
                  <a:pos x="1905" y="3312"/>
                </a:cxn>
                <a:cxn ang="0">
                  <a:pos x="2358" y="3313"/>
                </a:cxn>
                <a:cxn ang="0">
                  <a:pos x="2358" y="1437"/>
                </a:cxn>
                <a:cxn ang="0">
                  <a:pos x="0" y="0"/>
                </a:cxn>
                <a:cxn ang="0">
                  <a:pos x="201" y="150"/>
                </a:cxn>
                <a:cxn ang="0">
                  <a:pos x="366" y="279"/>
                </a:cxn>
                <a:cxn ang="0">
                  <a:pos x="552" y="441"/>
                </a:cxn>
                <a:cxn ang="0">
                  <a:pos x="732" y="612"/>
                </a:cxn>
                <a:cxn ang="0">
                  <a:pos x="996" y="903"/>
                </a:cxn>
                <a:cxn ang="0">
                  <a:pos x="1230" y="1212"/>
                </a:cxn>
                <a:cxn ang="0">
                  <a:pos x="1400" y="1482"/>
                </a:cxn>
                <a:cxn ang="0">
                  <a:pos x="1548" y="1761"/>
                </a:cxn>
                <a:cxn ang="0">
                  <a:pos x="1665" y="2040"/>
                </a:cxn>
                <a:cxn ang="0">
                  <a:pos x="1751" y="2295"/>
                </a:cxn>
                <a:cxn ang="0">
                  <a:pos x="1809" y="2511"/>
                </a:cxn>
                <a:cxn ang="0">
                  <a:pos x="1863" y="2778"/>
                </a:cxn>
                <a:cxn ang="0">
                  <a:pos x="1890" y="3012"/>
                </a:cxn>
                <a:cxn ang="0">
                  <a:pos x="1905" y="3312"/>
                </a:cxn>
              </a:cxnLst>
              <a:rect l="0" t="0" r="r" b="b"/>
              <a:pathLst>
                <a:path w="2359" h="3314">
                  <a:moveTo>
                    <a:pt x="1905" y="3312"/>
                  </a:moveTo>
                  <a:lnTo>
                    <a:pt x="2358" y="3313"/>
                  </a:lnTo>
                  <a:lnTo>
                    <a:pt x="2358" y="1437"/>
                  </a:lnTo>
                  <a:lnTo>
                    <a:pt x="0" y="0"/>
                  </a:lnTo>
                  <a:lnTo>
                    <a:pt x="201" y="150"/>
                  </a:lnTo>
                  <a:lnTo>
                    <a:pt x="366" y="279"/>
                  </a:lnTo>
                  <a:lnTo>
                    <a:pt x="552" y="441"/>
                  </a:lnTo>
                  <a:lnTo>
                    <a:pt x="732" y="612"/>
                  </a:lnTo>
                  <a:lnTo>
                    <a:pt x="996" y="903"/>
                  </a:lnTo>
                  <a:lnTo>
                    <a:pt x="1230" y="1212"/>
                  </a:lnTo>
                  <a:lnTo>
                    <a:pt x="1400" y="1482"/>
                  </a:lnTo>
                  <a:lnTo>
                    <a:pt x="1548" y="1761"/>
                  </a:lnTo>
                  <a:lnTo>
                    <a:pt x="1665" y="2040"/>
                  </a:lnTo>
                  <a:lnTo>
                    <a:pt x="1751" y="2295"/>
                  </a:lnTo>
                  <a:lnTo>
                    <a:pt x="1809" y="2511"/>
                  </a:lnTo>
                  <a:lnTo>
                    <a:pt x="1863" y="2778"/>
                  </a:lnTo>
                  <a:lnTo>
                    <a:pt x="1890" y="3012"/>
                  </a:lnTo>
                  <a:lnTo>
                    <a:pt x="1905" y="3312"/>
                  </a:lnTo>
                </a:path>
              </a:pathLst>
            </a:custGeom>
            <a:gradFill rotWithShape="0">
              <a:gsLst>
                <a:gs pos="0">
                  <a:schemeClr val="accent2">
                    <a:gamma/>
                    <a:shade val="46275"/>
                    <a:invGamma/>
                  </a:schemeClr>
                </a:gs>
                <a:gs pos="100000">
                  <a:schemeClr val="accent2"/>
                </a:gs>
              </a:gsLst>
              <a:lin ang="0" scaled="1"/>
            </a:gradFill>
            <a:ln w="9525" cap="rnd">
              <a:no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r-EG" sz="18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81924" name="Arc 1028"/>
            <p:cNvSpPr>
              <a:spLocks/>
            </p:cNvSpPr>
            <p:nvPr/>
          </p:nvSpPr>
          <p:spPr bwMode="auto">
            <a:xfrm>
              <a:off x="0" y="1"/>
              <a:ext cx="5298" cy="4312"/>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2700" cap="rnd">
              <a:solidFill>
                <a:schemeClr val="accent2"/>
              </a:solidFill>
              <a:round/>
              <a:headEnd type="none" w="sm" len="sm"/>
              <a:tailEnd type="none" w="sm" len="sm"/>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r-EG" sz="1800" b="0" i="0" u="none" strike="noStrike" kern="1200" cap="none" spc="0" normalizeH="0" baseline="0" noProof="0">
                <a:ln>
                  <a:noFill/>
                </a:ln>
                <a:solidFill>
                  <a:srgbClr val="FFFFFF"/>
                </a:solidFill>
                <a:effectLst/>
                <a:uLnTx/>
                <a:uFillTx/>
                <a:latin typeface="Times New Roman"/>
                <a:ea typeface="SimSun"/>
                <a:cs typeface="+mn-cs"/>
              </a:endParaRPr>
            </a:p>
          </p:txBody>
        </p:sp>
      </p:grpSp>
      <p:sp>
        <p:nvSpPr>
          <p:cNvPr id="81925" name="Rectangle 1029"/>
          <p:cNvSpPr>
            <a:spLocks noGrp="1" noChangeArrowheads="1"/>
          </p:cNvSpPr>
          <p:nvPr>
            <p:ph type="title"/>
          </p:nvPr>
        </p:nvSpPr>
        <p:spPr bwMode="auto">
          <a:xfrm>
            <a:off x="685800" y="609600"/>
            <a:ext cx="7772400" cy="1143000"/>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p>
            <a:pPr lvl="0"/>
            <a:r>
              <a:rPr lang="zh-CN" altLang="en-US" smtClean="0"/>
              <a:t>单击此处编辑母版标题样式</a:t>
            </a:r>
          </a:p>
        </p:txBody>
      </p:sp>
      <p:sp>
        <p:nvSpPr>
          <p:cNvPr id="81926" name="Rectangle 1030"/>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defRPr kumimoji="0" sz="14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81927" name="Rectangle 1031"/>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lgn="ctr">
              <a:defRPr kumimoji="0" sz="1400"/>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81928" name="Rectangle 1032"/>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lgn="r">
              <a:defRPr kumimoji="0" sz="14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BC61AB4-1511-40FE-AE76-9375ED2165E5}" type="slidenum">
              <a:rPr kumimoji="0" lang="en-US" altLang="zh-CN" sz="1400" b="0" i="0" u="none" strike="noStrike" kern="1200" cap="none" spc="0" normalizeH="0" baseline="0" noProof="0">
                <a:ln>
                  <a:noFill/>
                </a:ln>
                <a:solidFill>
                  <a:srgbClr val="FFFFFF"/>
                </a:solidFill>
                <a:effectLst/>
                <a:uLnTx/>
                <a:uFillTx/>
                <a:latin typeface="Times New Roman"/>
                <a:ea typeface="SimSun"/>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zh-CN" sz="14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2055" name="Rectangle 103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extLst>
      <p:ext uri="{BB962C8B-B14F-4D97-AF65-F5344CB8AC3E}">
        <p14:creationId xmlns:p14="http://schemas.microsoft.com/office/powerpoint/2010/main" val="3901364257"/>
      </p:ext>
    </p:extLst>
  </p:cSld>
  <p:clrMap bg1="dk2" tx1="lt1" bg2="dk1" tx2="lt2" accent1="accent1" accent2="accent2" accent3="accent3" accent4="accent4" accent5="accent5" accent6="accent6" hlink="hlink" folHlink="folHlink"/>
  <p:sldLayoutIdLst>
    <p:sldLayoutId id="2147484619" r:id="rId1"/>
    <p:sldLayoutId id="2147484620" r:id="rId2"/>
    <p:sldLayoutId id="2147484621" r:id="rId3"/>
    <p:sldLayoutId id="2147484622" r:id="rId4"/>
    <p:sldLayoutId id="2147484623" r:id="rId5"/>
    <p:sldLayoutId id="2147484624" r:id="rId6"/>
    <p:sldLayoutId id="2147484625" r:id="rId7"/>
    <p:sldLayoutId id="2147484626" r:id="rId8"/>
    <p:sldLayoutId id="2147484627" r:id="rId9"/>
    <p:sldLayoutId id="2147484628" r:id="rId10"/>
    <p:sldLayoutId id="2147484629" r:id="rId11"/>
    <p:sldLayoutId id="2147484630" r:id="rId12"/>
    <p:sldLayoutId id="2147484631" r:id="rId13"/>
    <p:sldLayoutId id="2147484632" r:id="rId14"/>
    <p:sldLayoutId id="2147484633" r:id="rId15"/>
  </p:sldLayoutIdLst>
  <p:txStyles>
    <p:titleStyle>
      <a:lvl1pPr algn="ctr" rtl="0" eaLnBrk="0" fontAlgn="base" hangingPunct="0">
        <a:spcBef>
          <a:spcPct val="0"/>
        </a:spcBef>
        <a:spcAft>
          <a:spcPct val="0"/>
        </a:spcAft>
        <a:defRPr kumimoji="1" sz="4400">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kumimoji="1" sz="4400">
          <a:solidFill>
            <a:schemeClr val="tx2"/>
          </a:solidFill>
          <a:effectLst>
            <a:outerShdw blurRad="38100" dist="38100" dir="2700000" algn="tl">
              <a:srgbClr val="000000"/>
            </a:outerShdw>
          </a:effectLst>
          <a:latin typeface="Arial" pitchFamily="34" charset="0"/>
          <a:ea typeface="SimSun" pitchFamily="2" charset="-122"/>
        </a:defRPr>
      </a:lvl2pPr>
      <a:lvl3pPr algn="ctr" rtl="0" eaLnBrk="0" fontAlgn="base" hangingPunct="0">
        <a:spcBef>
          <a:spcPct val="0"/>
        </a:spcBef>
        <a:spcAft>
          <a:spcPct val="0"/>
        </a:spcAft>
        <a:defRPr kumimoji="1" sz="4400">
          <a:solidFill>
            <a:schemeClr val="tx2"/>
          </a:solidFill>
          <a:effectLst>
            <a:outerShdw blurRad="38100" dist="38100" dir="2700000" algn="tl">
              <a:srgbClr val="000000"/>
            </a:outerShdw>
          </a:effectLst>
          <a:latin typeface="Arial" pitchFamily="34" charset="0"/>
          <a:ea typeface="SimSun" pitchFamily="2" charset="-122"/>
        </a:defRPr>
      </a:lvl3pPr>
      <a:lvl4pPr algn="ctr" rtl="0" eaLnBrk="0" fontAlgn="base" hangingPunct="0">
        <a:spcBef>
          <a:spcPct val="0"/>
        </a:spcBef>
        <a:spcAft>
          <a:spcPct val="0"/>
        </a:spcAft>
        <a:defRPr kumimoji="1" sz="4400">
          <a:solidFill>
            <a:schemeClr val="tx2"/>
          </a:solidFill>
          <a:effectLst>
            <a:outerShdw blurRad="38100" dist="38100" dir="2700000" algn="tl">
              <a:srgbClr val="000000"/>
            </a:outerShdw>
          </a:effectLst>
          <a:latin typeface="Arial" pitchFamily="34" charset="0"/>
          <a:ea typeface="SimSun" pitchFamily="2" charset="-122"/>
        </a:defRPr>
      </a:lvl4pPr>
      <a:lvl5pPr algn="ctr" rtl="0" eaLnBrk="0" fontAlgn="base" hangingPunct="0">
        <a:spcBef>
          <a:spcPct val="0"/>
        </a:spcBef>
        <a:spcAft>
          <a:spcPct val="0"/>
        </a:spcAft>
        <a:defRPr kumimoji="1" sz="4400">
          <a:solidFill>
            <a:schemeClr val="tx2"/>
          </a:solidFill>
          <a:effectLst>
            <a:outerShdw blurRad="38100" dist="38100" dir="2700000" algn="tl">
              <a:srgbClr val="000000"/>
            </a:outerShdw>
          </a:effectLst>
          <a:latin typeface="Arial" pitchFamily="34" charset="0"/>
          <a:ea typeface="SimSun" pitchFamily="2" charset="-122"/>
        </a:defRPr>
      </a:lvl5pPr>
      <a:lvl6pPr marL="457200" algn="ctr" rtl="0" fontAlgn="base">
        <a:spcBef>
          <a:spcPct val="0"/>
        </a:spcBef>
        <a:spcAft>
          <a:spcPct val="0"/>
        </a:spcAft>
        <a:defRPr kumimoji="1" sz="4400">
          <a:solidFill>
            <a:schemeClr val="tx2"/>
          </a:solidFill>
          <a:effectLst>
            <a:outerShdw blurRad="38100" dist="38100" dir="2700000" algn="tl">
              <a:srgbClr val="000000"/>
            </a:outerShdw>
          </a:effectLst>
          <a:latin typeface="Arial" pitchFamily="34" charset="0"/>
          <a:ea typeface="SimSun" pitchFamily="2" charset="-122"/>
        </a:defRPr>
      </a:lvl6pPr>
      <a:lvl7pPr marL="914400" algn="ctr" rtl="0" fontAlgn="base">
        <a:spcBef>
          <a:spcPct val="0"/>
        </a:spcBef>
        <a:spcAft>
          <a:spcPct val="0"/>
        </a:spcAft>
        <a:defRPr kumimoji="1" sz="4400">
          <a:solidFill>
            <a:schemeClr val="tx2"/>
          </a:solidFill>
          <a:effectLst>
            <a:outerShdw blurRad="38100" dist="38100" dir="2700000" algn="tl">
              <a:srgbClr val="000000"/>
            </a:outerShdw>
          </a:effectLst>
          <a:latin typeface="Arial" pitchFamily="34" charset="0"/>
          <a:ea typeface="SimSun" pitchFamily="2" charset="-122"/>
        </a:defRPr>
      </a:lvl7pPr>
      <a:lvl8pPr marL="1371600" algn="ctr" rtl="0" fontAlgn="base">
        <a:spcBef>
          <a:spcPct val="0"/>
        </a:spcBef>
        <a:spcAft>
          <a:spcPct val="0"/>
        </a:spcAft>
        <a:defRPr kumimoji="1" sz="4400">
          <a:solidFill>
            <a:schemeClr val="tx2"/>
          </a:solidFill>
          <a:effectLst>
            <a:outerShdw blurRad="38100" dist="38100" dir="2700000" algn="tl">
              <a:srgbClr val="000000"/>
            </a:outerShdw>
          </a:effectLst>
          <a:latin typeface="Arial" pitchFamily="34" charset="0"/>
          <a:ea typeface="SimSun" pitchFamily="2" charset="-122"/>
        </a:defRPr>
      </a:lvl8pPr>
      <a:lvl9pPr marL="1828800" algn="ctr" rtl="0" fontAlgn="base">
        <a:spcBef>
          <a:spcPct val="0"/>
        </a:spcBef>
        <a:spcAft>
          <a:spcPct val="0"/>
        </a:spcAft>
        <a:defRPr kumimoji="1" sz="4400">
          <a:solidFill>
            <a:schemeClr val="tx2"/>
          </a:solidFill>
          <a:effectLst>
            <a:outerShdw blurRad="38100" dist="38100" dir="2700000" algn="tl">
              <a:srgbClr val="000000"/>
            </a:outerShdw>
          </a:effectLst>
          <a:latin typeface="Arial" pitchFamily="34" charset="0"/>
          <a:ea typeface="SimSun" pitchFamily="2" charset="-122"/>
        </a:defRPr>
      </a:lvl9pPr>
    </p:titleStyle>
    <p:bodyStyle>
      <a:lvl1pPr marL="342900" indent="-342900" algn="l" rtl="0" eaLnBrk="0" fontAlgn="base" hangingPunct="0">
        <a:spcBef>
          <a:spcPct val="20000"/>
        </a:spcBef>
        <a:spcAft>
          <a:spcPct val="0"/>
        </a:spcAft>
        <a:buClr>
          <a:schemeClr val="accent2"/>
        </a:buClr>
        <a:buSzPct val="80000"/>
        <a:buFont typeface="Wingdings" pitchFamily="2" charset="2"/>
        <a:buChar char="l"/>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SzPct val="90000"/>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lr>
          <a:schemeClr val="accent1"/>
        </a:buClr>
        <a:buSzPct val="60000"/>
        <a:buFont typeface="Wingdings" pitchFamily="2" charset="2"/>
        <a:buChar char="l"/>
        <a:defRPr kumimoji="1" sz="2400">
          <a:solidFill>
            <a:schemeClr val="tx1"/>
          </a:solidFill>
          <a:latin typeface="+mn-lt"/>
          <a:ea typeface="+mn-ea"/>
        </a:defRPr>
      </a:lvl3pPr>
      <a:lvl4pPr marL="1600200" indent="-228600" algn="l" rtl="0" eaLnBrk="0" fontAlgn="base" hangingPunct="0">
        <a:spcBef>
          <a:spcPct val="20000"/>
        </a:spcBef>
        <a:spcAft>
          <a:spcPct val="0"/>
        </a:spcAft>
        <a:buClr>
          <a:schemeClr val="tx1"/>
        </a:buClr>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lr>
          <a:schemeClr val="accent1"/>
        </a:buClr>
        <a:buChar char="•"/>
        <a:defRPr kumimoji="1" sz="2000">
          <a:solidFill>
            <a:schemeClr val="tx1"/>
          </a:solidFill>
          <a:latin typeface="+mn-lt"/>
          <a:ea typeface="+mn-ea"/>
        </a:defRPr>
      </a:lvl5pPr>
      <a:lvl6pPr marL="2514600" indent="-228600" algn="l" rtl="0" fontAlgn="base">
        <a:spcBef>
          <a:spcPct val="20000"/>
        </a:spcBef>
        <a:spcAft>
          <a:spcPct val="0"/>
        </a:spcAft>
        <a:buClr>
          <a:schemeClr val="accent1"/>
        </a:buClr>
        <a:buChar char="•"/>
        <a:defRPr kumimoji="1" sz="2000">
          <a:solidFill>
            <a:schemeClr val="tx1"/>
          </a:solidFill>
          <a:latin typeface="+mn-lt"/>
          <a:ea typeface="+mn-ea"/>
        </a:defRPr>
      </a:lvl6pPr>
      <a:lvl7pPr marL="2971800" indent="-228600" algn="l" rtl="0" fontAlgn="base">
        <a:spcBef>
          <a:spcPct val="20000"/>
        </a:spcBef>
        <a:spcAft>
          <a:spcPct val="0"/>
        </a:spcAft>
        <a:buClr>
          <a:schemeClr val="accent1"/>
        </a:buClr>
        <a:buChar char="•"/>
        <a:defRPr kumimoji="1" sz="2000">
          <a:solidFill>
            <a:schemeClr val="tx1"/>
          </a:solidFill>
          <a:latin typeface="+mn-lt"/>
          <a:ea typeface="+mn-ea"/>
        </a:defRPr>
      </a:lvl7pPr>
      <a:lvl8pPr marL="3429000" indent="-228600" algn="l" rtl="0" fontAlgn="base">
        <a:spcBef>
          <a:spcPct val="20000"/>
        </a:spcBef>
        <a:spcAft>
          <a:spcPct val="0"/>
        </a:spcAft>
        <a:buClr>
          <a:schemeClr val="accent1"/>
        </a:buClr>
        <a:buChar char="•"/>
        <a:defRPr kumimoji="1" sz="2000">
          <a:solidFill>
            <a:schemeClr val="tx1"/>
          </a:solidFill>
          <a:latin typeface="+mn-lt"/>
          <a:ea typeface="+mn-ea"/>
        </a:defRPr>
      </a:lvl8pPr>
      <a:lvl9pPr marL="3886200" indent="-228600" algn="l" rtl="0" fontAlgn="base">
        <a:spcBef>
          <a:spcPct val="20000"/>
        </a:spcBef>
        <a:spcAft>
          <a:spcPct val="0"/>
        </a:spcAft>
        <a:buClr>
          <a:schemeClr val="accent1"/>
        </a:buClr>
        <a:buChar char="•"/>
        <a:defRPr kumimoji="1" sz="2000">
          <a:solidFill>
            <a:schemeClr val="tx1"/>
          </a:solidFill>
          <a:latin typeface="+mn-lt"/>
          <a:ea typeface="+mn-ea"/>
        </a:defRPr>
      </a:lvl9pPr>
    </p:bodyStyle>
    <p:otherStyle>
      <a:defPPr>
        <a:defRPr lang="ar-EG"/>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4098" name="Title Placeholder 1">
            <a:extLst>
              <a:ext uri="{FF2B5EF4-FFF2-40B4-BE49-F238E27FC236}">
                <a16:creationId xmlns:a16="http://schemas.microsoft.com/office/drawing/2014/main" id="{C72C3E58-1901-0B32-1403-CE32BF8F331C}"/>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099" name="Text Placeholder 2">
            <a:extLst>
              <a:ext uri="{FF2B5EF4-FFF2-40B4-BE49-F238E27FC236}">
                <a16:creationId xmlns:a16="http://schemas.microsoft.com/office/drawing/2014/main" id="{BBBD9C36-B799-D008-DC11-111D2AE2D2B5}"/>
              </a:ext>
            </a:extLst>
          </p:cNvPr>
          <p:cNvSpPr>
            <a:spLocks noGrp="1"/>
          </p:cNvSpPr>
          <p:nvPr>
            <p:ph type="body" idx="1"/>
          </p:nvPr>
        </p:nvSpPr>
        <p:spPr bwMode="auto">
          <a:xfrm>
            <a:off x="457200" y="1600206"/>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B5ED4B58-D84F-94B7-E254-93D067F9305F}"/>
              </a:ext>
            </a:extLst>
          </p:cNvPr>
          <p:cNvSpPr>
            <a:spLocks noGrp="1"/>
          </p:cNvSpPr>
          <p:nvPr>
            <p:ph type="dt" sz="half" idx="2"/>
          </p:nvPr>
        </p:nvSpPr>
        <p:spPr>
          <a:xfrm>
            <a:off x="457200" y="6356368"/>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F891100-96AE-4507-B7F4-85DB51FAEE42}"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4E7B33EC-939A-11FB-FBEC-98C83C520C79}"/>
              </a:ext>
            </a:extLst>
          </p:cNvPr>
          <p:cNvSpPr>
            <a:spLocks noGrp="1"/>
          </p:cNvSpPr>
          <p:nvPr>
            <p:ph type="ftr" sz="quarter" idx="3"/>
          </p:nvPr>
        </p:nvSpPr>
        <p:spPr>
          <a:xfrm>
            <a:off x="3124200" y="6356368"/>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9FBFA560-03E7-2C94-3095-B5B2F9A277FC}"/>
              </a:ext>
            </a:extLst>
          </p:cNvPr>
          <p:cNvSpPr>
            <a:spLocks noGrp="1"/>
          </p:cNvSpPr>
          <p:nvPr>
            <p:ph type="sldNum" sz="quarter" idx="4"/>
          </p:nvPr>
        </p:nvSpPr>
        <p:spPr>
          <a:xfrm>
            <a:off x="6553200" y="6356368"/>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Georgia" panose="02040502050405020303" pitchFamily="18"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7ED2D149-5E4A-4A10-BC88-FF6BBC876668}"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423411473"/>
      </p:ext>
    </p:extLst>
  </p:cSld>
  <p:clrMap bg1="lt1" tx1="dk1" bg2="lt2" tx2="dk2" accent1="accent1" accent2="accent2" accent3="accent3" accent4="accent4" accent5="accent5" accent6="accent6" hlink="hlink" folHlink="folHlink"/>
  <p:sldLayoutIdLst>
    <p:sldLayoutId id="2147484635" r:id="rId1"/>
    <p:sldLayoutId id="2147484636" r:id="rId2"/>
    <p:sldLayoutId id="2147484637" r:id="rId3"/>
    <p:sldLayoutId id="2147484638" r:id="rId4"/>
    <p:sldLayoutId id="2147484639" r:id="rId5"/>
    <p:sldLayoutId id="2147484640" r:id="rId6"/>
    <p:sldLayoutId id="2147484641" r:id="rId7"/>
    <p:sldLayoutId id="2147484642" r:id="rId8"/>
    <p:sldLayoutId id="2147484643" r:id="rId9"/>
    <p:sldLayoutId id="2147484644" r:id="rId10"/>
    <p:sldLayoutId id="2147484645"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Georgia" pitchFamily="18" charset="0"/>
        </a:defRPr>
      </a:lvl2pPr>
      <a:lvl3pPr algn="ctr" rtl="0" eaLnBrk="0" fontAlgn="base" hangingPunct="0">
        <a:spcBef>
          <a:spcPct val="0"/>
        </a:spcBef>
        <a:spcAft>
          <a:spcPct val="0"/>
        </a:spcAft>
        <a:defRPr sz="4400">
          <a:solidFill>
            <a:schemeClr val="tx1"/>
          </a:solidFill>
          <a:latin typeface="Georgia" pitchFamily="18" charset="0"/>
        </a:defRPr>
      </a:lvl3pPr>
      <a:lvl4pPr algn="ctr" rtl="0" eaLnBrk="0" fontAlgn="base" hangingPunct="0">
        <a:spcBef>
          <a:spcPct val="0"/>
        </a:spcBef>
        <a:spcAft>
          <a:spcPct val="0"/>
        </a:spcAft>
        <a:defRPr sz="4400">
          <a:solidFill>
            <a:schemeClr val="tx1"/>
          </a:solidFill>
          <a:latin typeface="Georgia" pitchFamily="18" charset="0"/>
        </a:defRPr>
      </a:lvl4pPr>
      <a:lvl5pPr algn="ctr" rtl="0" eaLnBrk="0" fontAlgn="base" hangingPunct="0">
        <a:spcBef>
          <a:spcPct val="0"/>
        </a:spcBef>
        <a:spcAft>
          <a:spcPct val="0"/>
        </a:spcAft>
        <a:defRPr sz="4400">
          <a:solidFill>
            <a:schemeClr val="tx1"/>
          </a:solidFill>
          <a:latin typeface="Georgia" pitchFamily="18"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4098" name="Title Placeholder 1">
            <a:extLst>
              <a:ext uri="{FF2B5EF4-FFF2-40B4-BE49-F238E27FC236}">
                <a16:creationId xmlns:a16="http://schemas.microsoft.com/office/drawing/2014/main" id="{C72C3E58-1901-0B32-1403-CE32BF8F331C}"/>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099" name="Text Placeholder 2">
            <a:extLst>
              <a:ext uri="{FF2B5EF4-FFF2-40B4-BE49-F238E27FC236}">
                <a16:creationId xmlns:a16="http://schemas.microsoft.com/office/drawing/2014/main" id="{BBBD9C36-B799-D008-DC11-111D2AE2D2B5}"/>
              </a:ext>
            </a:extLst>
          </p:cNvPr>
          <p:cNvSpPr>
            <a:spLocks noGrp="1"/>
          </p:cNvSpPr>
          <p:nvPr>
            <p:ph type="body" idx="1"/>
          </p:nvPr>
        </p:nvSpPr>
        <p:spPr bwMode="auto">
          <a:xfrm>
            <a:off x="457200" y="1600206"/>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B5ED4B58-D84F-94B7-E254-93D067F9305F}"/>
              </a:ext>
            </a:extLst>
          </p:cNvPr>
          <p:cNvSpPr>
            <a:spLocks noGrp="1"/>
          </p:cNvSpPr>
          <p:nvPr>
            <p:ph type="dt" sz="half" idx="2"/>
          </p:nvPr>
        </p:nvSpPr>
        <p:spPr>
          <a:xfrm>
            <a:off x="457200" y="6356368"/>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F891100-96AE-4507-B7F4-85DB51FAEE42}" type="datetimeFigureOut">
              <a:rPr kumimoji="0" lang="en-US" sz="1200" b="0" i="0" u="none" strike="noStrike" kern="1200" cap="none" spc="0" normalizeH="0" baseline="0" noProof="0">
                <a:ln>
                  <a:noFill/>
                </a:ln>
                <a:solidFill>
                  <a:prstClr val="black">
                    <a:tint val="75000"/>
                  </a:prstClr>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5" name="Footer Placeholder 4">
            <a:extLst>
              <a:ext uri="{FF2B5EF4-FFF2-40B4-BE49-F238E27FC236}">
                <a16:creationId xmlns:a16="http://schemas.microsoft.com/office/drawing/2014/main" id="{4E7B33EC-939A-11FB-FBEC-98C83C520C79}"/>
              </a:ext>
            </a:extLst>
          </p:cNvPr>
          <p:cNvSpPr>
            <a:spLocks noGrp="1"/>
          </p:cNvSpPr>
          <p:nvPr>
            <p:ph type="ftr" sz="quarter" idx="3"/>
          </p:nvPr>
        </p:nvSpPr>
        <p:spPr>
          <a:xfrm>
            <a:off x="3124200" y="6356368"/>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Georgia"/>
              <a:ea typeface="+mn-ea"/>
              <a:cs typeface="+mn-cs"/>
            </a:endParaRPr>
          </a:p>
        </p:txBody>
      </p:sp>
      <p:sp>
        <p:nvSpPr>
          <p:cNvPr id="6" name="Slide Number Placeholder 5">
            <a:extLst>
              <a:ext uri="{FF2B5EF4-FFF2-40B4-BE49-F238E27FC236}">
                <a16:creationId xmlns:a16="http://schemas.microsoft.com/office/drawing/2014/main" id="{9FBFA560-03E7-2C94-3095-B5B2F9A277FC}"/>
              </a:ext>
            </a:extLst>
          </p:cNvPr>
          <p:cNvSpPr>
            <a:spLocks noGrp="1"/>
          </p:cNvSpPr>
          <p:nvPr>
            <p:ph type="sldNum" sz="quarter" idx="4"/>
          </p:nvPr>
        </p:nvSpPr>
        <p:spPr>
          <a:xfrm>
            <a:off x="6553200" y="6356368"/>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Georgia" panose="02040502050405020303" pitchFamily="18"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7ED2D149-5E4A-4A10-BC88-FF6BBC876668}" type="slidenum">
              <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474390062"/>
      </p:ext>
    </p:extLst>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 id="2147484657"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Georgia" pitchFamily="18" charset="0"/>
        </a:defRPr>
      </a:lvl2pPr>
      <a:lvl3pPr algn="ctr" rtl="0" eaLnBrk="0" fontAlgn="base" hangingPunct="0">
        <a:spcBef>
          <a:spcPct val="0"/>
        </a:spcBef>
        <a:spcAft>
          <a:spcPct val="0"/>
        </a:spcAft>
        <a:defRPr sz="4400">
          <a:solidFill>
            <a:schemeClr val="tx1"/>
          </a:solidFill>
          <a:latin typeface="Georgia" pitchFamily="18" charset="0"/>
        </a:defRPr>
      </a:lvl3pPr>
      <a:lvl4pPr algn="ctr" rtl="0" eaLnBrk="0" fontAlgn="base" hangingPunct="0">
        <a:spcBef>
          <a:spcPct val="0"/>
        </a:spcBef>
        <a:spcAft>
          <a:spcPct val="0"/>
        </a:spcAft>
        <a:defRPr sz="4400">
          <a:solidFill>
            <a:schemeClr val="tx1"/>
          </a:solidFill>
          <a:latin typeface="Georgia" pitchFamily="18" charset="0"/>
        </a:defRPr>
      </a:lvl4pPr>
      <a:lvl5pPr algn="ctr" rtl="0" eaLnBrk="0" fontAlgn="base" hangingPunct="0">
        <a:spcBef>
          <a:spcPct val="0"/>
        </a:spcBef>
        <a:spcAft>
          <a:spcPct val="0"/>
        </a:spcAft>
        <a:defRPr sz="4400">
          <a:solidFill>
            <a:schemeClr val="tx1"/>
          </a:solidFill>
          <a:latin typeface="Georgia" pitchFamily="18"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67639" y="228600"/>
            <a:ext cx="8823960" cy="6096000"/>
          </a:xfrm>
          <a:custGeom>
            <a:avLst/>
            <a:gdLst/>
            <a:ahLst/>
            <a:cxnLst/>
            <a:rect l="l" t="t" r="r" b="b"/>
            <a:pathLst>
              <a:path w="8823960" h="6096000">
                <a:moveTo>
                  <a:pt x="673095" y="0"/>
                </a:moveTo>
                <a:lnTo>
                  <a:pt x="622656" y="2482"/>
                </a:lnTo>
                <a:lnTo>
                  <a:pt x="572469" y="9760"/>
                </a:lnTo>
                <a:lnTo>
                  <a:pt x="522787" y="21581"/>
                </a:lnTo>
                <a:lnTo>
                  <a:pt x="473861" y="37694"/>
                </a:lnTo>
                <a:lnTo>
                  <a:pt x="425946" y="57845"/>
                </a:lnTo>
                <a:lnTo>
                  <a:pt x="379292" y="81783"/>
                </a:lnTo>
                <a:lnTo>
                  <a:pt x="334152" y="109254"/>
                </a:lnTo>
                <a:lnTo>
                  <a:pt x="290780" y="140007"/>
                </a:lnTo>
                <a:lnTo>
                  <a:pt x="249426" y="173788"/>
                </a:lnTo>
                <a:lnTo>
                  <a:pt x="210344" y="210346"/>
                </a:lnTo>
                <a:lnTo>
                  <a:pt x="173786" y="249428"/>
                </a:lnTo>
                <a:lnTo>
                  <a:pt x="140005" y="290781"/>
                </a:lnTo>
                <a:lnTo>
                  <a:pt x="109253" y="334153"/>
                </a:lnTo>
                <a:lnTo>
                  <a:pt x="81782" y="379292"/>
                </a:lnTo>
                <a:lnTo>
                  <a:pt x="57845" y="425946"/>
                </a:lnTo>
                <a:lnTo>
                  <a:pt x="37693" y="473861"/>
                </a:lnTo>
                <a:lnTo>
                  <a:pt x="21581" y="522785"/>
                </a:lnTo>
                <a:lnTo>
                  <a:pt x="9760" y="572466"/>
                </a:lnTo>
                <a:lnTo>
                  <a:pt x="2482" y="622652"/>
                </a:lnTo>
                <a:lnTo>
                  <a:pt x="0" y="673089"/>
                </a:lnTo>
                <a:lnTo>
                  <a:pt x="0" y="5422903"/>
                </a:lnTo>
                <a:lnTo>
                  <a:pt x="2482" y="5473343"/>
                </a:lnTo>
                <a:lnTo>
                  <a:pt x="9760" y="5523530"/>
                </a:lnTo>
                <a:lnTo>
                  <a:pt x="21581" y="5573212"/>
                </a:lnTo>
                <a:lnTo>
                  <a:pt x="37693" y="5622137"/>
                </a:lnTo>
                <a:lnTo>
                  <a:pt x="57845" y="5670053"/>
                </a:lnTo>
                <a:lnTo>
                  <a:pt x="81782" y="5716707"/>
                </a:lnTo>
                <a:lnTo>
                  <a:pt x="109253" y="5761847"/>
                </a:lnTo>
                <a:lnTo>
                  <a:pt x="140005" y="5805219"/>
                </a:lnTo>
                <a:lnTo>
                  <a:pt x="173786" y="5846573"/>
                </a:lnTo>
                <a:lnTo>
                  <a:pt x="210344" y="5885655"/>
                </a:lnTo>
                <a:lnTo>
                  <a:pt x="249426" y="5922212"/>
                </a:lnTo>
                <a:lnTo>
                  <a:pt x="290780" y="5955994"/>
                </a:lnTo>
                <a:lnTo>
                  <a:pt x="334152" y="5986746"/>
                </a:lnTo>
                <a:lnTo>
                  <a:pt x="379292" y="6014217"/>
                </a:lnTo>
                <a:lnTo>
                  <a:pt x="425946" y="6038154"/>
                </a:lnTo>
                <a:lnTo>
                  <a:pt x="473861" y="6058305"/>
                </a:lnTo>
                <a:lnTo>
                  <a:pt x="522787" y="6074418"/>
                </a:lnTo>
                <a:lnTo>
                  <a:pt x="572469" y="6086239"/>
                </a:lnTo>
                <a:lnTo>
                  <a:pt x="622656" y="6093517"/>
                </a:lnTo>
                <a:lnTo>
                  <a:pt x="673095" y="6095999"/>
                </a:lnTo>
                <a:lnTo>
                  <a:pt x="8150869" y="6095999"/>
                </a:lnTo>
                <a:lnTo>
                  <a:pt x="8201307" y="6093517"/>
                </a:lnTo>
                <a:lnTo>
                  <a:pt x="8251493" y="6086239"/>
                </a:lnTo>
                <a:lnTo>
                  <a:pt x="8301174" y="6074418"/>
                </a:lnTo>
                <a:lnTo>
                  <a:pt x="8350098" y="6058305"/>
                </a:lnTo>
                <a:lnTo>
                  <a:pt x="8398013" y="6038154"/>
                </a:lnTo>
                <a:lnTo>
                  <a:pt x="8444666" y="6014217"/>
                </a:lnTo>
                <a:lnTo>
                  <a:pt x="8489806" y="5986746"/>
                </a:lnTo>
                <a:lnTo>
                  <a:pt x="8533178" y="5955994"/>
                </a:lnTo>
                <a:lnTo>
                  <a:pt x="8574531" y="5922212"/>
                </a:lnTo>
                <a:lnTo>
                  <a:pt x="8613613" y="5885655"/>
                </a:lnTo>
                <a:lnTo>
                  <a:pt x="8650171" y="5846573"/>
                </a:lnTo>
                <a:lnTo>
                  <a:pt x="8683952" y="5805219"/>
                </a:lnTo>
                <a:lnTo>
                  <a:pt x="8714705" y="5761847"/>
                </a:lnTo>
                <a:lnTo>
                  <a:pt x="8742176" y="5716707"/>
                </a:lnTo>
                <a:lnTo>
                  <a:pt x="8766114" y="5670053"/>
                </a:lnTo>
                <a:lnTo>
                  <a:pt x="8786265" y="5622137"/>
                </a:lnTo>
                <a:lnTo>
                  <a:pt x="8802377" y="5573212"/>
                </a:lnTo>
                <a:lnTo>
                  <a:pt x="8814199" y="5523530"/>
                </a:lnTo>
                <a:lnTo>
                  <a:pt x="8821477" y="5473343"/>
                </a:lnTo>
                <a:lnTo>
                  <a:pt x="8823959" y="5422903"/>
                </a:lnTo>
                <a:lnTo>
                  <a:pt x="8823959" y="673089"/>
                </a:lnTo>
                <a:lnTo>
                  <a:pt x="8821477" y="622652"/>
                </a:lnTo>
                <a:lnTo>
                  <a:pt x="8814199" y="572466"/>
                </a:lnTo>
                <a:lnTo>
                  <a:pt x="8802377" y="522785"/>
                </a:lnTo>
                <a:lnTo>
                  <a:pt x="8786265" y="473861"/>
                </a:lnTo>
                <a:lnTo>
                  <a:pt x="8766114" y="425946"/>
                </a:lnTo>
                <a:lnTo>
                  <a:pt x="8742176" y="379292"/>
                </a:lnTo>
                <a:lnTo>
                  <a:pt x="8714705" y="334153"/>
                </a:lnTo>
                <a:lnTo>
                  <a:pt x="8683952" y="290781"/>
                </a:lnTo>
                <a:lnTo>
                  <a:pt x="8650171" y="249428"/>
                </a:lnTo>
                <a:lnTo>
                  <a:pt x="8613613" y="210346"/>
                </a:lnTo>
                <a:lnTo>
                  <a:pt x="8574531" y="173788"/>
                </a:lnTo>
                <a:lnTo>
                  <a:pt x="8533178" y="140007"/>
                </a:lnTo>
                <a:lnTo>
                  <a:pt x="8489806" y="109254"/>
                </a:lnTo>
                <a:lnTo>
                  <a:pt x="8444666" y="81783"/>
                </a:lnTo>
                <a:lnTo>
                  <a:pt x="8398013" y="57845"/>
                </a:lnTo>
                <a:lnTo>
                  <a:pt x="8350098" y="37694"/>
                </a:lnTo>
                <a:lnTo>
                  <a:pt x="8301174" y="21581"/>
                </a:lnTo>
                <a:lnTo>
                  <a:pt x="8251493" y="9760"/>
                </a:lnTo>
                <a:lnTo>
                  <a:pt x="8201307" y="2482"/>
                </a:lnTo>
                <a:lnTo>
                  <a:pt x="8150869" y="0"/>
                </a:lnTo>
                <a:lnTo>
                  <a:pt x="673095" y="0"/>
                </a:lnTo>
                <a:close/>
              </a:path>
            </a:pathLst>
          </a:custGeom>
          <a:ln w="28393">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bk object 17"/>
          <p:cNvSpPr/>
          <p:nvPr/>
        </p:nvSpPr>
        <p:spPr>
          <a:xfrm>
            <a:off x="167639" y="228600"/>
            <a:ext cx="0" cy="0"/>
          </a:xfrm>
          <a:custGeom>
            <a:avLst/>
            <a:gdLst/>
            <a:ahLst/>
            <a:cxnLst/>
            <a:rect l="l" t="t" r="r" b="b"/>
            <a:pathLst>
              <a:path>
                <a:moveTo>
                  <a:pt x="0" y="0"/>
                </a:moveTo>
                <a:lnTo>
                  <a:pt x="0" y="0"/>
                </a:lnTo>
              </a:path>
            </a:pathLst>
          </a:custGeom>
          <a:ln w="28393">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bk object 18"/>
          <p:cNvSpPr/>
          <p:nvPr/>
        </p:nvSpPr>
        <p:spPr>
          <a:xfrm>
            <a:off x="8991600" y="6324600"/>
            <a:ext cx="0" cy="0"/>
          </a:xfrm>
          <a:custGeom>
            <a:avLst/>
            <a:gdLst/>
            <a:ahLst/>
            <a:cxnLst/>
            <a:rect l="l" t="t" r="r" b="b"/>
            <a:pathLst>
              <a:path>
                <a:moveTo>
                  <a:pt x="0" y="0"/>
                </a:moveTo>
                <a:lnTo>
                  <a:pt x="0" y="0"/>
                </a:lnTo>
              </a:path>
            </a:pathLst>
          </a:custGeom>
          <a:ln w="28393">
            <a:solidFill>
              <a:srgbClr val="32656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Holder 2"/>
          <p:cNvSpPr>
            <a:spLocks noGrp="1"/>
          </p:cNvSpPr>
          <p:nvPr>
            <p:ph type="title"/>
          </p:nvPr>
        </p:nvSpPr>
        <p:spPr>
          <a:xfrm>
            <a:off x="534666" y="523377"/>
            <a:ext cx="8074666" cy="1913255"/>
          </a:xfrm>
          <a:prstGeom prst="rect">
            <a:avLst/>
          </a:prstGeom>
        </p:spPr>
        <p:txBody>
          <a:bodyPr wrap="square" lIns="0" tIns="0" rIns="0" bIns="0">
            <a:spAutoFit/>
          </a:bodyPr>
          <a:lstStyle>
            <a:lvl1pPr>
              <a:defRPr sz="3600" b="1" i="0">
                <a:solidFill>
                  <a:srgbClr val="FD293D"/>
                </a:solidFill>
                <a:latin typeface="Arial Black"/>
                <a:cs typeface="Arial Black"/>
              </a:defRPr>
            </a:lvl1pPr>
          </a:lstStyle>
          <a:p>
            <a:endParaRPr/>
          </a:p>
        </p:txBody>
      </p:sp>
      <p:sp>
        <p:nvSpPr>
          <p:cNvPr id="3" name="Holder 3"/>
          <p:cNvSpPr>
            <a:spLocks noGrp="1"/>
          </p:cNvSpPr>
          <p:nvPr>
            <p:ph type="body" idx="1"/>
          </p:nvPr>
        </p:nvSpPr>
        <p:spPr>
          <a:xfrm>
            <a:off x="401316" y="1449731"/>
            <a:ext cx="8341366" cy="3895725"/>
          </a:xfrm>
          <a:prstGeom prst="rect">
            <a:avLst/>
          </a:prstGeom>
        </p:spPr>
        <p:txBody>
          <a:bodyPr wrap="square" lIns="0" tIns="0" rIns="0" bIns="0">
            <a:spAutoFit/>
          </a:bodyPr>
          <a:lstStyle>
            <a:lvl1pPr>
              <a:defRPr sz="2200" b="0" i="0">
                <a:solidFill>
                  <a:schemeClr val="tx1"/>
                </a:solidFill>
                <a:latin typeface="Arial"/>
                <a:cs typeface="Arial"/>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wrap="square" lIns="0" tIns="0" rIns="0" bIns="0">
            <a:spAutoFit/>
          </a:bodyPr>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177340970"/>
      </p:ext>
    </p:extLst>
  </p:cSld>
  <p:clrMap bg1="lt1" tx1="dk1" bg2="lt2" tx2="dk2" accent1="accent1" accent2="accent2" accent3="accent3" accent4="accent4" accent5="accent5" accent6="accent6" hlink="hlink" folHlink="folHlink"/>
  <p:sldLayoutIdLst>
    <p:sldLayoutId id="2147484659" r:id="rId1"/>
    <p:sldLayoutId id="2147484660" r:id="rId2"/>
    <p:sldLayoutId id="2147484661" r:id="rId3"/>
    <p:sldLayoutId id="2147484662" r:id="rId4"/>
    <p:sldLayoutId id="2147484663" r:id="rId5"/>
    <p:sldLayoutId id="2147484664" r:id="rId6"/>
  </p:sldLayoutIdLst>
  <p:transition/>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alphaModFix amt="51000"/>
            <a:lum/>
          </a:blip>
          <a:srcRect/>
          <a:tile tx="0" ty="0" sx="75000" sy="80000" flip="none" algn="tl"/>
        </a:blipFill>
        <a:effectLst/>
      </p:bgPr>
    </p:bg>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43011"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mn-lt"/>
              </a:defRPr>
            </a:lvl1pPr>
          </a:lstStyle>
          <a:p>
            <a:pPr fontAlgn="base">
              <a:spcBef>
                <a:spcPct val="0"/>
              </a:spcBef>
              <a:spcAft>
                <a:spcPct val="0"/>
              </a:spcAft>
              <a:defRPr/>
            </a:pPr>
            <a:endParaRPr lang="en-US">
              <a:solidFill>
                <a:srgbClr val="000000"/>
              </a:solidFill>
            </a:endParaRP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mn-lt"/>
              </a:defRPr>
            </a:lvl1pPr>
          </a:lstStyle>
          <a:p>
            <a:pPr fontAlgn="base">
              <a:spcBef>
                <a:spcPct val="0"/>
              </a:spcBef>
              <a:spcAft>
                <a:spcPct val="0"/>
              </a:spcAft>
              <a:defRPr/>
            </a:pPr>
            <a:endParaRPr lang="en-US">
              <a:solidFill>
                <a:srgbClr val="000000"/>
              </a:solidFill>
            </a:endParaRPr>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Times New Roman" pitchFamily="18" charset="0"/>
                <a:cs typeface="Times New Roman" pitchFamily="18" charset="0"/>
              </a:defRPr>
            </a:lvl1pPr>
          </a:lstStyle>
          <a:p>
            <a:pPr fontAlgn="base">
              <a:spcBef>
                <a:spcPct val="0"/>
              </a:spcBef>
              <a:spcAft>
                <a:spcPct val="0"/>
              </a:spcAft>
              <a:defRPr/>
            </a:pPr>
            <a:fld id="{E0CC3A67-0743-4EA6-A994-C2D1C96AE710}" type="slidenum">
              <a:rPr lang="ar-SA">
                <a:solidFill>
                  <a:srgbClr val="000000"/>
                </a:solidFill>
              </a:rPr>
              <a:pPr fontAlgn="base">
                <a:spcBef>
                  <a:spcPct val="0"/>
                </a:spcBef>
                <a:spcAft>
                  <a:spcPct val="0"/>
                </a:spcAft>
                <a:defRPr/>
              </a:pPr>
              <a:t>‹#›</a:t>
            </a:fld>
            <a:endParaRPr lang="en-US">
              <a:solidFill>
                <a:srgbClr val="000000"/>
              </a:solidFill>
            </a:endParaRPr>
          </a:p>
        </p:txBody>
      </p:sp>
    </p:spTree>
    <p:extLst>
      <p:ext uri="{BB962C8B-B14F-4D97-AF65-F5344CB8AC3E}">
        <p14:creationId xmlns:p14="http://schemas.microsoft.com/office/powerpoint/2010/main" val="722413951"/>
      </p:ext>
    </p:extLst>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 id="2147484031" r:id="rId9"/>
    <p:sldLayoutId id="2147484032" r:id="rId10"/>
    <p:sldLayoutId id="2147484033" r:id="rId11"/>
    <p:sldLayoutId id="2147484034" r:id="rId12"/>
    <p:sldLayoutId id="2147484035" r:id="rId13"/>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alphaModFix amt="51000"/>
            <a:lum/>
          </a:blip>
          <a:srcRect/>
          <a:tile tx="0" ty="0" sx="75000" sy="80000" flip="none" algn="tl"/>
        </a:blipFill>
        <a:effectLst/>
      </p:bgPr>
    </p:bg>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43011"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mn-lt"/>
              </a:defRPr>
            </a:lvl1pPr>
          </a:lstStyle>
          <a:p>
            <a:pPr fontAlgn="base">
              <a:spcBef>
                <a:spcPct val="0"/>
              </a:spcBef>
              <a:spcAft>
                <a:spcPct val="0"/>
              </a:spcAft>
              <a:defRPr/>
            </a:pPr>
            <a:endParaRPr lang="en-US">
              <a:solidFill>
                <a:srgbClr val="000000"/>
              </a:solidFill>
            </a:endParaRP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mn-lt"/>
              </a:defRPr>
            </a:lvl1pPr>
          </a:lstStyle>
          <a:p>
            <a:pPr fontAlgn="base">
              <a:spcBef>
                <a:spcPct val="0"/>
              </a:spcBef>
              <a:spcAft>
                <a:spcPct val="0"/>
              </a:spcAft>
              <a:defRPr/>
            </a:pPr>
            <a:endParaRPr lang="en-US">
              <a:solidFill>
                <a:srgbClr val="000000"/>
              </a:solidFill>
            </a:endParaRPr>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Times New Roman" pitchFamily="18" charset="0"/>
                <a:cs typeface="Times New Roman" pitchFamily="18" charset="0"/>
              </a:defRPr>
            </a:lvl1pPr>
          </a:lstStyle>
          <a:p>
            <a:pPr fontAlgn="base">
              <a:spcBef>
                <a:spcPct val="0"/>
              </a:spcBef>
              <a:spcAft>
                <a:spcPct val="0"/>
              </a:spcAft>
              <a:defRPr/>
            </a:pPr>
            <a:fld id="{E0CC3A67-0743-4EA6-A994-C2D1C96AE710}" type="slidenum">
              <a:rPr lang="ar-SA">
                <a:solidFill>
                  <a:srgbClr val="000000"/>
                </a:solidFill>
              </a:rPr>
              <a:pPr fontAlgn="base">
                <a:spcBef>
                  <a:spcPct val="0"/>
                </a:spcBef>
                <a:spcAft>
                  <a:spcPct val="0"/>
                </a:spcAft>
                <a:defRPr/>
              </a:pPr>
              <a:t>‹#›</a:t>
            </a:fld>
            <a:endParaRPr lang="en-US">
              <a:solidFill>
                <a:srgbClr val="000000"/>
              </a:solidFill>
            </a:endParaRPr>
          </a:p>
        </p:txBody>
      </p:sp>
    </p:spTree>
    <p:extLst>
      <p:ext uri="{BB962C8B-B14F-4D97-AF65-F5344CB8AC3E}">
        <p14:creationId xmlns:p14="http://schemas.microsoft.com/office/powerpoint/2010/main" val="383366246"/>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alphaModFix amt="51000"/>
            <a:lum/>
          </a:blip>
          <a:srcRect/>
          <a:tile tx="0" ty="0" sx="75000" sy="80000" flip="none" algn="tl"/>
        </a:blipFill>
        <a:effectLst/>
      </p:bgPr>
    </p:bg>
    <p:spTree>
      <p:nvGrpSpPr>
        <p:cNvPr id="1" name=""/>
        <p:cNvGrpSpPr/>
        <p:nvPr/>
      </p:nvGrpSpPr>
      <p:grpSpPr>
        <a:xfrm>
          <a:off x="0" y="0"/>
          <a:ext cx="0" cy="0"/>
          <a:chOff x="0" y="0"/>
          <a:chExt cx="0" cy="0"/>
        </a:xfrm>
      </p:grpSpPr>
      <p:sp>
        <p:nvSpPr>
          <p:cNvPr id="9" name="Rectangle 8"/>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8" name="Rounded Rectangle 7"/>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2" name="Title Placeholder 21"/>
          <p:cNvSpPr>
            <a:spLocks noGrp="1"/>
          </p:cNvSpPr>
          <p:nvPr>
            <p:ph type="title"/>
          </p:nvPr>
        </p:nvSpPr>
        <p:spPr>
          <a:xfrm>
            <a:off x="914400" y="274638"/>
            <a:ext cx="7772400" cy="1143000"/>
          </a:xfrm>
          <a:prstGeom prst="rect">
            <a:avLst/>
          </a:prstGeom>
        </p:spPr>
        <p:txBody>
          <a:bodyPr bIns="91440" anchor="b" anchorCtr="0">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914400" y="1447800"/>
            <a:ext cx="7772400" cy="4572000"/>
          </a:xfrm>
          <a:prstGeom prst="rect">
            <a:avLst/>
          </a:prstGeom>
        </p:spPr>
        <p:txBody>
          <a:bodyPr>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4" name="Date Placeholder 13"/>
          <p:cNvSpPr>
            <a:spLocks noGrp="1"/>
          </p:cNvSpPr>
          <p:nvPr>
            <p:ph type="dt" sz="half" idx="2"/>
          </p:nvPr>
        </p:nvSpPr>
        <p:spPr>
          <a:xfrm>
            <a:off x="6172200" y="6191250"/>
            <a:ext cx="2476500" cy="476250"/>
          </a:xfrm>
          <a:prstGeom prst="rect">
            <a:avLst/>
          </a:prstGeom>
        </p:spPr>
        <p:txBody>
          <a:bodyPr anchor="ctr" anchorCtr="0"/>
          <a:lstStyle>
            <a:lvl1pPr algn="r" eaLnBrk="1" latinLnBrk="0" hangingPunct="1">
              <a:defRPr kumimoji="0" sz="1400">
                <a:solidFill>
                  <a:schemeClr val="tx2"/>
                </a:solidFill>
              </a:defRPr>
            </a:lvl1pPr>
          </a:lstStyle>
          <a:p>
            <a:fld id="{59B234A6-B6B0-408D-92A4-4618A986D937}" type="datetimeFigureOut">
              <a:rPr lang="en-US" smtClean="0"/>
              <a:pPr/>
              <a:t>15/08/2024</a:t>
            </a:fld>
            <a:endParaRPr lang="en-US"/>
          </a:p>
        </p:txBody>
      </p:sp>
      <p:sp>
        <p:nvSpPr>
          <p:cNvPr id="3" name="Footer Placeholder 2"/>
          <p:cNvSpPr>
            <a:spLocks noGrp="1"/>
          </p:cNvSpPr>
          <p:nvPr>
            <p:ph type="ftr" sz="quarter" idx="3"/>
          </p:nvPr>
        </p:nvSpPr>
        <p:spPr>
          <a:xfrm>
            <a:off x="914400" y="6172200"/>
            <a:ext cx="3962400" cy="457200"/>
          </a:xfrm>
          <a:prstGeom prst="rect">
            <a:avLst/>
          </a:prstGeom>
        </p:spPr>
        <p:txBody>
          <a:bodyPr anchor="ctr" anchorCtr="0"/>
          <a:lstStyle>
            <a:lvl1pPr eaLnBrk="1" latinLnBrk="0" hangingPunct="1">
              <a:defRPr kumimoji="0" sz="1400">
                <a:solidFill>
                  <a:schemeClr val="tx2"/>
                </a:solidFill>
              </a:defRPr>
            </a:lvl1pPr>
          </a:lstStyle>
          <a:p>
            <a:endParaRPr lang="en-US"/>
          </a:p>
        </p:txBody>
      </p:sp>
      <p:sp>
        <p:nvSpPr>
          <p:cNvPr id="23" name="Slide Number Placeholder 22"/>
          <p:cNvSpPr>
            <a:spLocks noGrp="1"/>
          </p:cNvSpPr>
          <p:nvPr>
            <p:ph type="sldNum" sz="quarter" idx="4"/>
          </p:nvPr>
        </p:nvSpPr>
        <p:spPr>
          <a:xfrm>
            <a:off x="146304" y="6210300"/>
            <a:ext cx="457200" cy="457200"/>
          </a:xfrm>
          <a:prstGeom prst="ellipse">
            <a:avLst/>
          </a:prstGeom>
          <a:solidFill>
            <a:schemeClr val="accent1"/>
          </a:solidFill>
        </p:spPr>
        <p:txBody>
          <a:bodyPr wrap="none" lIns="0" tIns="0" rIns="0" bIns="0" anchor="ctr" anchorCtr="1">
            <a:noAutofit/>
          </a:bodyPr>
          <a:lstStyle>
            <a:lvl1pPr algn="ctr" eaLnBrk="1" latinLnBrk="0" hangingPunct="1">
              <a:defRPr kumimoji="0" sz="1400">
                <a:solidFill>
                  <a:srgbClr val="FFFFFF"/>
                </a:solidFill>
                <a:latin typeface="+mj-lt"/>
                <a:ea typeface="+mj-ea"/>
                <a:cs typeface="+mj-cs"/>
              </a:defRPr>
            </a:lvl1pPr>
          </a:lstStyle>
          <a:p>
            <a:fld id="{588F465F-DAF4-455E-950B-4E617B86F3AD}"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 id="2147484164" r:id="rId10"/>
    <p:sldLayoutId id="2147484165" r:id="rId11"/>
  </p:sldLayoutIdLst>
  <p:transition>
    <p:dissolve/>
    <p:sndAc>
      <p:stSnd>
        <p:snd r:embed="rId13" name="chimes.wav"/>
      </p:stSnd>
    </p:sndAc>
  </p:transition>
  <p:timing>
    <p:tnLst>
      <p:par>
        <p:cTn id="1" dur="indefinite" restart="never" nodeType="tmRoot"/>
      </p:par>
    </p:tnLst>
  </p:timing>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0">
          <a:blip r:embed="rId17"/>
          <a:srcRect/>
          <a:tile tx="0" ty="0" sx="100000" sy="100000" flip="none" algn="tl"/>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b="0"/>
            </a:lvl1pPr>
          </a:lstStyle>
          <a:p>
            <a:endParaRPr lang="en-US"/>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b="0"/>
            </a:lvl1pPr>
          </a:lstStyle>
          <a:p>
            <a:endParaRPr lang="en-US"/>
          </a:p>
        </p:txBody>
      </p:sp>
      <p:sp>
        <p:nvSpPr>
          <p:cNvPr id="1030" name="Rectangle 6"/>
          <p:cNvSpPr>
            <a:spLocks noGrp="1" noChangeArrowheads="1"/>
          </p:cNvSpPr>
          <p:nvPr>
            <p:ph type="sldNum" sz="quarter" idx="4"/>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b="0"/>
            </a:lvl1pPr>
          </a:lstStyle>
          <a:p>
            <a:fld id="{2B5B595E-FD0B-4A2B-AEDC-A994DF3AD945}" type="slidenum">
              <a:rPr lang="ar-SA"/>
              <a:pPr/>
              <a:t>‹#›</a:t>
            </a:fld>
            <a:endParaRPr lang="en-US"/>
          </a:p>
        </p:txBody>
      </p:sp>
    </p:spTree>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3" r:id="rId13"/>
    <p:sldLayoutId id="2147484194" r:id="rId14"/>
    <p:sldLayoutId id="2147484195" r:id="rId15"/>
  </p:sldLayoutIdLst>
  <p:txStyles>
    <p:titleStyle>
      <a:lvl1pPr algn="ctr" rtl="1" fontAlgn="base">
        <a:spcBef>
          <a:spcPct val="0"/>
        </a:spcBef>
        <a:spcAft>
          <a:spcPct val="0"/>
        </a:spcAft>
        <a:defRPr sz="4400">
          <a:solidFill>
            <a:schemeClr val="tx2"/>
          </a:solidFill>
          <a:latin typeface="+mj-lt"/>
          <a:ea typeface="+mj-ea"/>
          <a:cs typeface="+mj-cs"/>
        </a:defRPr>
      </a:lvl1pPr>
      <a:lvl2pPr algn="ctr" rtl="1" fontAlgn="base">
        <a:spcBef>
          <a:spcPct val="0"/>
        </a:spcBef>
        <a:spcAft>
          <a:spcPct val="0"/>
        </a:spcAft>
        <a:defRPr sz="4400">
          <a:solidFill>
            <a:schemeClr val="tx2"/>
          </a:solidFill>
          <a:latin typeface="Arial" charset="0"/>
          <a:cs typeface="Arial" charset="0"/>
        </a:defRPr>
      </a:lvl2pPr>
      <a:lvl3pPr algn="ctr" rtl="1" fontAlgn="base">
        <a:spcBef>
          <a:spcPct val="0"/>
        </a:spcBef>
        <a:spcAft>
          <a:spcPct val="0"/>
        </a:spcAft>
        <a:defRPr sz="4400">
          <a:solidFill>
            <a:schemeClr val="tx2"/>
          </a:solidFill>
          <a:latin typeface="Arial" charset="0"/>
          <a:cs typeface="Arial" charset="0"/>
        </a:defRPr>
      </a:lvl3pPr>
      <a:lvl4pPr algn="ctr" rtl="1" fontAlgn="base">
        <a:spcBef>
          <a:spcPct val="0"/>
        </a:spcBef>
        <a:spcAft>
          <a:spcPct val="0"/>
        </a:spcAft>
        <a:defRPr sz="4400">
          <a:solidFill>
            <a:schemeClr val="tx2"/>
          </a:solidFill>
          <a:latin typeface="Arial" charset="0"/>
          <a:cs typeface="Arial" charset="0"/>
        </a:defRPr>
      </a:lvl4pPr>
      <a:lvl5pPr algn="ctr" rtl="1" fontAlgn="base">
        <a:spcBef>
          <a:spcPct val="0"/>
        </a:spcBef>
        <a:spcAft>
          <a:spcPct val="0"/>
        </a:spcAft>
        <a:defRPr sz="4400">
          <a:solidFill>
            <a:schemeClr val="tx2"/>
          </a:solidFill>
          <a:latin typeface="Arial" charset="0"/>
          <a:cs typeface="Arial" charset="0"/>
        </a:defRPr>
      </a:lvl5pPr>
      <a:lvl6pPr marL="457200" algn="ctr" rtl="1" fontAlgn="base">
        <a:spcBef>
          <a:spcPct val="0"/>
        </a:spcBef>
        <a:spcAft>
          <a:spcPct val="0"/>
        </a:spcAft>
        <a:defRPr sz="4400">
          <a:solidFill>
            <a:schemeClr val="tx2"/>
          </a:solidFill>
          <a:latin typeface="Arial" charset="0"/>
          <a:cs typeface="Arial" charset="0"/>
        </a:defRPr>
      </a:lvl6pPr>
      <a:lvl7pPr marL="914400" algn="ctr" rtl="1" fontAlgn="base">
        <a:spcBef>
          <a:spcPct val="0"/>
        </a:spcBef>
        <a:spcAft>
          <a:spcPct val="0"/>
        </a:spcAft>
        <a:defRPr sz="4400">
          <a:solidFill>
            <a:schemeClr val="tx2"/>
          </a:solidFill>
          <a:latin typeface="Arial" charset="0"/>
          <a:cs typeface="Arial" charset="0"/>
        </a:defRPr>
      </a:lvl7pPr>
      <a:lvl8pPr marL="1371600" algn="ctr" rtl="1" fontAlgn="base">
        <a:spcBef>
          <a:spcPct val="0"/>
        </a:spcBef>
        <a:spcAft>
          <a:spcPct val="0"/>
        </a:spcAft>
        <a:defRPr sz="4400">
          <a:solidFill>
            <a:schemeClr val="tx2"/>
          </a:solidFill>
          <a:latin typeface="Arial" charset="0"/>
          <a:cs typeface="Arial" charset="0"/>
        </a:defRPr>
      </a:lvl8pPr>
      <a:lvl9pPr marL="1828800" algn="ctr" rtl="1" fontAlgn="base">
        <a:spcBef>
          <a:spcPct val="0"/>
        </a:spcBef>
        <a:spcAft>
          <a:spcPct val="0"/>
        </a:spcAft>
        <a:defRPr sz="4400">
          <a:solidFill>
            <a:schemeClr val="tx2"/>
          </a:solidFill>
          <a:latin typeface="Arial" charset="0"/>
          <a:cs typeface="Arial" charset="0"/>
        </a:defRPr>
      </a:lvl9pPr>
    </p:titleStyle>
    <p:bodyStyle>
      <a:lvl1pPr marL="342900" indent="-342900" algn="r" rtl="1" fontAlgn="base">
        <a:spcBef>
          <a:spcPct val="20000"/>
        </a:spcBef>
        <a:spcAft>
          <a:spcPct val="0"/>
        </a:spcAft>
        <a:buChar char="•"/>
        <a:defRPr sz="3200">
          <a:solidFill>
            <a:schemeClr val="tx1"/>
          </a:solidFill>
          <a:latin typeface="+mn-lt"/>
          <a:ea typeface="+mn-ea"/>
          <a:cs typeface="+mn-cs"/>
        </a:defRPr>
      </a:lvl1pPr>
      <a:lvl2pPr marL="742950" indent="-285750" algn="r" rtl="1" fontAlgn="base">
        <a:spcBef>
          <a:spcPct val="20000"/>
        </a:spcBef>
        <a:spcAft>
          <a:spcPct val="0"/>
        </a:spcAft>
        <a:buChar char="–"/>
        <a:defRPr sz="2800">
          <a:solidFill>
            <a:schemeClr val="tx1"/>
          </a:solidFill>
          <a:latin typeface="+mn-lt"/>
          <a:cs typeface="+mn-cs"/>
        </a:defRPr>
      </a:lvl2pPr>
      <a:lvl3pPr marL="1143000" indent="-228600" algn="r" rtl="1" fontAlgn="base">
        <a:spcBef>
          <a:spcPct val="20000"/>
        </a:spcBef>
        <a:spcAft>
          <a:spcPct val="0"/>
        </a:spcAft>
        <a:buChar char="•"/>
        <a:defRPr sz="2400">
          <a:solidFill>
            <a:schemeClr val="tx1"/>
          </a:solidFill>
          <a:latin typeface="+mn-lt"/>
          <a:cs typeface="+mn-cs"/>
        </a:defRPr>
      </a:lvl3pPr>
      <a:lvl4pPr marL="1600200" indent="-228600" algn="r" rtl="1" fontAlgn="base">
        <a:spcBef>
          <a:spcPct val="20000"/>
        </a:spcBef>
        <a:spcAft>
          <a:spcPct val="0"/>
        </a:spcAft>
        <a:buChar char="–"/>
        <a:defRPr sz="2000">
          <a:solidFill>
            <a:schemeClr val="tx1"/>
          </a:solidFill>
          <a:latin typeface="+mn-lt"/>
          <a:cs typeface="+mn-cs"/>
        </a:defRPr>
      </a:lvl4pPr>
      <a:lvl5pPr marL="2057400" indent="-228600" algn="r" rtl="1" fontAlgn="base">
        <a:spcBef>
          <a:spcPct val="20000"/>
        </a:spcBef>
        <a:spcAft>
          <a:spcPct val="0"/>
        </a:spcAft>
        <a:buChar char="»"/>
        <a:defRPr sz="2000">
          <a:solidFill>
            <a:schemeClr val="tx1"/>
          </a:solidFill>
          <a:latin typeface="+mn-lt"/>
          <a:cs typeface="+mn-cs"/>
        </a:defRPr>
      </a:lvl5pPr>
      <a:lvl6pPr marL="2514600" indent="-228600" algn="r" rtl="1" fontAlgn="base">
        <a:spcBef>
          <a:spcPct val="20000"/>
        </a:spcBef>
        <a:spcAft>
          <a:spcPct val="0"/>
        </a:spcAft>
        <a:buChar char="»"/>
        <a:defRPr sz="2000">
          <a:solidFill>
            <a:schemeClr val="tx1"/>
          </a:solidFill>
          <a:latin typeface="+mn-lt"/>
          <a:cs typeface="+mn-cs"/>
        </a:defRPr>
      </a:lvl6pPr>
      <a:lvl7pPr marL="2971800" indent="-228600" algn="r" rtl="1" fontAlgn="base">
        <a:spcBef>
          <a:spcPct val="20000"/>
        </a:spcBef>
        <a:spcAft>
          <a:spcPct val="0"/>
        </a:spcAft>
        <a:buChar char="»"/>
        <a:defRPr sz="2000">
          <a:solidFill>
            <a:schemeClr val="tx1"/>
          </a:solidFill>
          <a:latin typeface="+mn-lt"/>
          <a:cs typeface="+mn-cs"/>
        </a:defRPr>
      </a:lvl7pPr>
      <a:lvl8pPr marL="3429000" indent="-228600" algn="r" rtl="1" fontAlgn="base">
        <a:spcBef>
          <a:spcPct val="20000"/>
        </a:spcBef>
        <a:spcAft>
          <a:spcPct val="0"/>
        </a:spcAft>
        <a:buChar char="»"/>
        <a:defRPr sz="2000">
          <a:solidFill>
            <a:schemeClr val="tx1"/>
          </a:solidFill>
          <a:latin typeface="+mn-lt"/>
          <a:cs typeface="+mn-cs"/>
        </a:defRPr>
      </a:lvl8pPr>
      <a:lvl9pPr marL="3886200" indent="-228600" algn="r" rtl="1"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rtl="0">
              <a:defRPr sz="1400"/>
            </a:lvl1pPr>
          </a:lstStyle>
          <a:p>
            <a:endParaRPr lang="en-US"/>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rtl="0">
              <a:defRPr sz="1400"/>
            </a:lvl1pPr>
          </a:lstStyle>
          <a:p>
            <a:endParaRPr lang="en-US"/>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rtl="0">
              <a:defRPr sz="1400"/>
            </a:lvl1pPr>
          </a:lstStyle>
          <a:p>
            <a:fld id="{7A55C084-B99A-4773-AC08-F5F78E3494D9}" type="slidenum">
              <a:rPr lang="ar-SA"/>
              <a:pPr/>
              <a:t>‹#›</a:t>
            </a:fld>
            <a:endParaRPr lang="en-US"/>
          </a:p>
        </p:txBody>
      </p:sp>
    </p:spTree>
  </p:cSld>
  <p:clrMap bg1="lt1" tx1="dk1" bg2="lt2" tx2="dk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 id="2147484209" r:id="rId12"/>
  </p:sldLayoutIdLst>
  <p:txStyles>
    <p:titleStyle>
      <a:lvl1pPr algn="ctr" rtl="1" fontAlgn="base">
        <a:spcBef>
          <a:spcPct val="0"/>
        </a:spcBef>
        <a:spcAft>
          <a:spcPct val="0"/>
        </a:spcAft>
        <a:defRPr sz="4400">
          <a:solidFill>
            <a:schemeClr val="tx2"/>
          </a:solidFill>
          <a:latin typeface="+mj-lt"/>
          <a:ea typeface="+mj-ea"/>
          <a:cs typeface="+mj-cs"/>
        </a:defRPr>
      </a:lvl1pPr>
      <a:lvl2pPr algn="ctr" rtl="1" fontAlgn="base">
        <a:spcBef>
          <a:spcPct val="0"/>
        </a:spcBef>
        <a:spcAft>
          <a:spcPct val="0"/>
        </a:spcAft>
        <a:defRPr sz="4400">
          <a:solidFill>
            <a:schemeClr val="tx2"/>
          </a:solidFill>
          <a:latin typeface="Arial" charset="0"/>
          <a:cs typeface="Arial" charset="0"/>
        </a:defRPr>
      </a:lvl2pPr>
      <a:lvl3pPr algn="ctr" rtl="1" fontAlgn="base">
        <a:spcBef>
          <a:spcPct val="0"/>
        </a:spcBef>
        <a:spcAft>
          <a:spcPct val="0"/>
        </a:spcAft>
        <a:defRPr sz="4400">
          <a:solidFill>
            <a:schemeClr val="tx2"/>
          </a:solidFill>
          <a:latin typeface="Arial" charset="0"/>
          <a:cs typeface="Arial" charset="0"/>
        </a:defRPr>
      </a:lvl3pPr>
      <a:lvl4pPr algn="ctr" rtl="1" fontAlgn="base">
        <a:spcBef>
          <a:spcPct val="0"/>
        </a:spcBef>
        <a:spcAft>
          <a:spcPct val="0"/>
        </a:spcAft>
        <a:defRPr sz="4400">
          <a:solidFill>
            <a:schemeClr val="tx2"/>
          </a:solidFill>
          <a:latin typeface="Arial" charset="0"/>
          <a:cs typeface="Arial" charset="0"/>
        </a:defRPr>
      </a:lvl4pPr>
      <a:lvl5pPr algn="ctr" rtl="1" fontAlgn="base">
        <a:spcBef>
          <a:spcPct val="0"/>
        </a:spcBef>
        <a:spcAft>
          <a:spcPct val="0"/>
        </a:spcAft>
        <a:defRPr sz="4400">
          <a:solidFill>
            <a:schemeClr val="tx2"/>
          </a:solidFill>
          <a:latin typeface="Arial" charset="0"/>
          <a:cs typeface="Arial" charset="0"/>
        </a:defRPr>
      </a:lvl5pPr>
      <a:lvl6pPr marL="457200" algn="ctr" rtl="1" fontAlgn="base">
        <a:spcBef>
          <a:spcPct val="0"/>
        </a:spcBef>
        <a:spcAft>
          <a:spcPct val="0"/>
        </a:spcAft>
        <a:defRPr sz="4400">
          <a:solidFill>
            <a:schemeClr val="tx2"/>
          </a:solidFill>
          <a:latin typeface="Arial" charset="0"/>
          <a:cs typeface="Arial" charset="0"/>
        </a:defRPr>
      </a:lvl6pPr>
      <a:lvl7pPr marL="914400" algn="ctr" rtl="1" fontAlgn="base">
        <a:spcBef>
          <a:spcPct val="0"/>
        </a:spcBef>
        <a:spcAft>
          <a:spcPct val="0"/>
        </a:spcAft>
        <a:defRPr sz="4400">
          <a:solidFill>
            <a:schemeClr val="tx2"/>
          </a:solidFill>
          <a:latin typeface="Arial" charset="0"/>
          <a:cs typeface="Arial" charset="0"/>
        </a:defRPr>
      </a:lvl7pPr>
      <a:lvl8pPr marL="1371600" algn="ctr" rtl="1" fontAlgn="base">
        <a:spcBef>
          <a:spcPct val="0"/>
        </a:spcBef>
        <a:spcAft>
          <a:spcPct val="0"/>
        </a:spcAft>
        <a:defRPr sz="4400">
          <a:solidFill>
            <a:schemeClr val="tx2"/>
          </a:solidFill>
          <a:latin typeface="Arial" charset="0"/>
          <a:cs typeface="Arial" charset="0"/>
        </a:defRPr>
      </a:lvl8pPr>
      <a:lvl9pPr marL="1828800" algn="ctr" rtl="1" fontAlgn="base">
        <a:spcBef>
          <a:spcPct val="0"/>
        </a:spcBef>
        <a:spcAft>
          <a:spcPct val="0"/>
        </a:spcAft>
        <a:defRPr sz="4400">
          <a:solidFill>
            <a:schemeClr val="tx2"/>
          </a:solidFill>
          <a:latin typeface="Arial" charset="0"/>
          <a:cs typeface="Arial" charset="0"/>
        </a:defRPr>
      </a:lvl9pPr>
    </p:titleStyle>
    <p:bodyStyle>
      <a:lvl1pPr marL="342900" indent="-342900" algn="r" rtl="1" fontAlgn="base">
        <a:spcBef>
          <a:spcPct val="20000"/>
        </a:spcBef>
        <a:spcAft>
          <a:spcPct val="0"/>
        </a:spcAft>
        <a:buChar char="•"/>
        <a:defRPr sz="3200">
          <a:solidFill>
            <a:schemeClr val="tx1"/>
          </a:solidFill>
          <a:latin typeface="+mn-lt"/>
          <a:ea typeface="+mn-ea"/>
          <a:cs typeface="+mn-cs"/>
        </a:defRPr>
      </a:lvl1pPr>
      <a:lvl2pPr marL="742950" indent="-285750" algn="r" rtl="1" fontAlgn="base">
        <a:spcBef>
          <a:spcPct val="20000"/>
        </a:spcBef>
        <a:spcAft>
          <a:spcPct val="0"/>
        </a:spcAft>
        <a:buChar char="–"/>
        <a:defRPr sz="2800">
          <a:solidFill>
            <a:schemeClr val="tx1"/>
          </a:solidFill>
          <a:latin typeface="+mn-lt"/>
          <a:cs typeface="+mn-cs"/>
        </a:defRPr>
      </a:lvl2pPr>
      <a:lvl3pPr marL="1143000" indent="-228600" algn="r" rtl="1" fontAlgn="base">
        <a:spcBef>
          <a:spcPct val="20000"/>
        </a:spcBef>
        <a:spcAft>
          <a:spcPct val="0"/>
        </a:spcAft>
        <a:buChar char="•"/>
        <a:defRPr sz="2400">
          <a:solidFill>
            <a:schemeClr val="tx1"/>
          </a:solidFill>
          <a:latin typeface="+mn-lt"/>
          <a:cs typeface="+mn-cs"/>
        </a:defRPr>
      </a:lvl3pPr>
      <a:lvl4pPr marL="1600200" indent="-228600" algn="r" rtl="1" fontAlgn="base">
        <a:spcBef>
          <a:spcPct val="20000"/>
        </a:spcBef>
        <a:spcAft>
          <a:spcPct val="0"/>
        </a:spcAft>
        <a:buChar char="–"/>
        <a:defRPr sz="2000">
          <a:solidFill>
            <a:schemeClr val="tx1"/>
          </a:solidFill>
          <a:latin typeface="+mn-lt"/>
          <a:cs typeface="+mn-cs"/>
        </a:defRPr>
      </a:lvl4pPr>
      <a:lvl5pPr marL="2057400" indent="-228600" algn="r" rtl="1" fontAlgn="base">
        <a:spcBef>
          <a:spcPct val="20000"/>
        </a:spcBef>
        <a:spcAft>
          <a:spcPct val="0"/>
        </a:spcAft>
        <a:buChar char="»"/>
        <a:defRPr sz="2000">
          <a:solidFill>
            <a:schemeClr val="tx1"/>
          </a:solidFill>
          <a:latin typeface="+mn-lt"/>
          <a:cs typeface="+mn-cs"/>
        </a:defRPr>
      </a:lvl5pPr>
      <a:lvl6pPr marL="2514600" indent="-228600" algn="r" rtl="1" fontAlgn="base">
        <a:spcBef>
          <a:spcPct val="20000"/>
        </a:spcBef>
        <a:spcAft>
          <a:spcPct val="0"/>
        </a:spcAft>
        <a:buChar char="»"/>
        <a:defRPr sz="2000">
          <a:solidFill>
            <a:schemeClr val="tx1"/>
          </a:solidFill>
          <a:latin typeface="+mn-lt"/>
          <a:cs typeface="+mn-cs"/>
        </a:defRPr>
      </a:lvl6pPr>
      <a:lvl7pPr marL="2971800" indent="-228600" algn="r" rtl="1" fontAlgn="base">
        <a:spcBef>
          <a:spcPct val="20000"/>
        </a:spcBef>
        <a:spcAft>
          <a:spcPct val="0"/>
        </a:spcAft>
        <a:buChar char="»"/>
        <a:defRPr sz="2000">
          <a:solidFill>
            <a:schemeClr val="tx1"/>
          </a:solidFill>
          <a:latin typeface="+mn-lt"/>
          <a:cs typeface="+mn-cs"/>
        </a:defRPr>
      </a:lvl7pPr>
      <a:lvl8pPr marL="3429000" indent="-228600" algn="r" rtl="1" fontAlgn="base">
        <a:spcBef>
          <a:spcPct val="20000"/>
        </a:spcBef>
        <a:spcAft>
          <a:spcPct val="0"/>
        </a:spcAft>
        <a:buChar char="»"/>
        <a:defRPr sz="2000">
          <a:solidFill>
            <a:schemeClr val="tx1"/>
          </a:solidFill>
          <a:latin typeface="+mn-lt"/>
          <a:cs typeface="+mn-cs"/>
        </a:defRPr>
      </a:lvl8pPr>
      <a:lvl9pPr marL="3886200" indent="-228600" algn="r" rtl="1"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Freeform 12"/>
          <p:cNvSpPr>
            <a:spLocks/>
          </p:cNvSpPr>
          <p:nvPr/>
        </p:nvSpPr>
        <p:spPr bwMode="auto">
          <a:xfrm>
            <a:off x="499273" y="5944936"/>
            <a:ext cx="4940624"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12" name="Freeform 11"/>
          <p:cNvSpPr>
            <a:spLocks/>
          </p:cNvSpPr>
          <p:nvPr/>
        </p:nvSpPr>
        <p:spPr bwMode="auto">
          <a:xfrm>
            <a:off x="485717" y="5939011"/>
            <a:ext cx="369045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14" name="Right Triangle 13"/>
          <p:cNvSpPr>
            <a:spLocks/>
          </p:cNvSpPr>
          <p:nvPr/>
        </p:nvSpPr>
        <p:spPr bwMode="auto">
          <a:xfrm>
            <a:off x="-6042" y="5791253"/>
            <a:ext cx="3402314" cy="1080868"/>
          </a:xfrm>
          <a:prstGeom prst="rtTriangle">
            <a:avLst/>
          </a:prstGeom>
          <a:blipFill>
            <a:blip r:embed="rId13">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Unicode"/>
              <a:ea typeface="+mn-ea"/>
              <a:cs typeface="+mn-cs"/>
            </a:endParaRPr>
          </a:p>
        </p:txBody>
      </p:sp>
      <p:cxnSp>
        <p:nvCxnSpPr>
          <p:cNvPr id="15" name="Straight Connector 14"/>
          <p:cNvCxnSpPr/>
          <p:nvPr/>
        </p:nvCxnSpPr>
        <p:spPr>
          <a:xfrm>
            <a:off x="-9237" y="5787738"/>
            <a:ext cx="340550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9" name="Title Placeholder 8"/>
          <p:cNvSpPr>
            <a:spLocks noGrp="1"/>
          </p:cNvSpPr>
          <p:nvPr>
            <p:ph type="title"/>
          </p:nvPr>
        </p:nvSpPr>
        <p:spPr>
          <a:xfrm>
            <a:off x="457200" y="274638"/>
            <a:ext cx="8229600" cy="1143000"/>
          </a:xfrm>
          <a:prstGeom prst="rect">
            <a:avLst/>
          </a:prstGeom>
        </p:spPr>
        <p:txBody>
          <a:bodyPr vert="horz" anchor="ctr">
            <a:normAutofit/>
            <a:scene3d>
              <a:camera prst="orthographicFront"/>
              <a:lightRig rig="soft" dir="t"/>
            </a:scene3d>
            <a:sp3d prstMaterial="softEdge">
              <a:bevelT w="25400" h="25400"/>
            </a:sp3d>
          </a:bodyPr>
          <a:lstStyle/>
          <a:p>
            <a:r>
              <a:rPr kumimoji="0" lang="en-US" smtClean="0"/>
              <a:t>Click to edit Master title style</a:t>
            </a:r>
            <a:endParaRPr kumimoji="0" lang="en-US"/>
          </a:p>
        </p:txBody>
      </p:sp>
      <p:sp>
        <p:nvSpPr>
          <p:cNvPr id="30" name="Text Placeholder 29"/>
          <p:cNvSpPr>
            <a:spLocks noGrp="1"/>
          </p:cNvSpPr>
          <p:nvPr>
            <p:ph type="body" idx="1"/>
          </p:nvPr>
        </p:nvSpPr>
        <p:spPr>
          <a:xfrm>
            <a:off x="457200" y="1481328"/>
            <a:ext cx="8229600" cy="4525963"/>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0" name="Date Placeholder 9"/>
          <p:cNvSpPr>
            <a:spLocks noGrp="1"/>
          </p:cNvSpPr>
          <p:nvPr>
            <p:ph type="dt" sz="half" idx="2"/>
          </p:nvPr>
        </p:nvSpPr>
        <p:spPr>
          <a:xfrm>
            <a:off x="6727032" y="6407944"/>
            <a:ext cx="1920240" cy="365760"/>
          </a:xfrm>
          <a:prstGeom prst="rect">
            <a:avLst/>
          </a:prstGeom>
        </p:spPr>
        <p:txBody>
          <a:bodyPr vert="horz" anchor="b"/>
          <a:lstStyle>
            <a:lvl1pPr algn="l" eaLnBrk="1" latinLnBrk="0" hangingPunct="1">
              <a:defRPr kumimoji="0" sz="1000">
                <a:solidFill>
                  <a:schemeClr val="tx1"/>
                </a:solidFill>
              </a:defRPr>
            </a:lvl1pPr>
            <a:extLst/>
          </a:lstStyle>
          <a:p>
            <a:pPr marL="0" marR="0" lvl="0" indent="0" algn="l" defTabSz="914400" rtl="0" eaLnBrk="1" fontAlgn="auto" latinLnBrk="0" hangingPunct="1">
              <a:lnSpc>
                <a:spcPct val="100000"/>
              </a:lnSpc>
              <a:spcBef>
                <a:spcPts val="0"/>
              </a:spcBef>
              <a:spcAft>
                <a:spcPts val="0"/>
              </a:spcAft>
              <a:buClrTx/>
              <a:buSzTx/>
              <a:buFontTx/>
              <a:buNone/>
              <a:tabLst/>
              <a:defRPr/>
            </a:pPr>
            <a:fld id="{7040FD69-1FD6-4F58-A56A-4A19CE056754}" type="datetimeFigureOut">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4</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22" name="Footer Placeholder 21"/>
          <p:cNvSpPr>
            <a:spLocks noGrp="1"/>
          </p:cNvSpPr>
          <p:nvPr>
            <p:ph type="ftr" sz="quarter" idx="3"/>
          </p:nvPr>
        </p:nvSpPr>
        <p:spPr>
          <a:xfrm>
            <a:off x="4380072" y="6407944"/>
            <a:ext cx="2350681" cy="365125"/>
          </a:xfrm>
          <a:prstGeom prst="rect">
            <a:avLst/>
          </a:prstGeom>
        </p:spPr>
        <p:txBody>
          <a:bodyPr vert="horz" anchor="b"/>
          <a:lstStyle>
            <a:lvl1pPr algn="r" eaLnBrk="1" latinLnBrk="0" hangingPunct="1">
              <a:defRPr kumimoji="0" sz="1000">
                <a:solidFill>
                  <a:schemeClr val="tx1"/>
                </a:solidFill>
              </a:defRPr>
            </a:lvl1pPr>
            <a:extLst/>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18" name="Slide Number Placeholder 17"/>
          <p:cNvSpPr>
            <a:spLocks noGrp="1"/>
          </p:cNvSpPr>
          <p:nvPr>
            <p:ph type="sldNum" sz="quarter" idx="4"/>
          </p:nvPr>
        </p:nvSpPr>
        <p:spPr>
          <a:xfrm>
            <a:off x="8647272" y="6407944"/>
            <a:ext cx="365760" cy="365125"/>
          </a:xfrm>
          <a:prstGeom prst="rect">
            <a:avLst/>
          </a:prstGeom>
        </p:spPr>
        <p:txBody>
          <a:bodyPr vert="horz" anchor="b"/>
          <a:lstStyle>
            <a:lvl1pPr algn="r" eaLnBrk="1" latinLnBrk="0" hangingPunct="1">
              <a:defRPr kumimoji="0" sz="1000" b="0">
                <a:solidFill>
                  <a:schemeClr val="tx1"/>
                </a:solidFill>
              </a:defRPr>
            </a:lvl1pPr>
            <a:extLst/>
          </a:lstStyle>
          <a:p>
            <a:pPr marL="0" marR="0" lvl="0" indent="0" algn="r" defTabSz="914400" rtl="0" eaLnBrk="1" fontAlgn="auto" latinLnBrk="0" hangingPunct="1">
              <a:lnSpc>
                <a:spcPct val="100000"/>
              </a:lnSpc>
              <a:spcBef>
                <a:spcPts val="0"/>
              </a:spcBef>
              <a:spcAft>
                <a:spcPts val="0"/>
              </a:spcAft>
              <a:buClrTx/>
              <a:buSzTx/>
              <a:buFontTx/>
              <a:buNone/>
              <a:tabLst/>
              <a:defRPr/>
            </a:pPr>
            <a:fld id="{F5CB9D19-7457-4276-82EC-1FA2153ACF1D}" type="slidenum">
              <a:rPr kumimoji="0" lang="en-US" sz="1000" b="0" i="0" u="none" strike="noStrike" kern="1200" cap="none" spc="0" normalizeH="0" baseline="0" noProof="0" smtClean="0">
                <a:ln>
                  <a:noFill/>
                </a:ln>
                <a:solidFill>
                  <a:prstClr val="black"/>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Lucida Sans Unicode"/>
              <a:ea typeface="+mn-ea"/>
              <a:cs typeface="+mn-cs"/>
            </a:endParaRPr>
          </a:p>
        </p:txBody>
      </p:sp>
    </p:spTree>
    <p:extLst>
      <p:ext uri="{BB962C8B-B14F-4D97-AF65-F5344CB8AC3E}">
        <p14:creationId xmlns:p14="http://schemas.microsoft.com/office/powerpoint/2010/main" val="4283774612"/>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Lst>
  <p:txStyles>
    <p:title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p:titleStyle>
    <p:bodyStyle>
      <a:lvl1pPr marL="365760" indent="-256032" algn="l" rtl="0"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3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10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90.xml"/></Relationships>
</file>

<file path=ppt/slides/_rels/slide102.xml.rels><?xml version="1.0" encoding="UTF-8" standalone="yes"?>
<Relationships xmlns="http://schemas.openxmlformats.org/package/2006/relationships"><Relationship Id="rId2" Type="http://schemas.openxmlformats.org/officeDocument/2006/relationships/image" Target="../media/image71.gif"/><Relationship Id="rId1" Type="http://schemas.openxmlformats.org/officeDocument/2006/relationships/slideLayout" Target="../slideLayouts/slideLayout390.xml"/></Relationships>
</file>

<file path=ppt/slides/_rels/slide103.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395.xml"/></Relationships>
</file>

<file path=ppt/slides/_rels/slide10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90.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106.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90.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108.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90.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61.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73.wmf"/><Relationship Id="rId2" Type="http://schemas.openxmlformats.org/officeDocument/2006/relationships/slideLayout" Target="../slideLayouts/slideLayout405.xml"/><Relationship Id="rId1" Type="http://schemas.openxmlformats.org/officeDocument/2006/relationships/vmlDrawing" Target="../drawings/vmlDrawing5.vml"/><Relationship Id="rId6" Type="http://schemas.openxmlformats.org/officeDocument/2006/relationships/oleObject" Target="../embeddings/oleObject7.bin"/><Relationship Id="rId5" Type="http://schemas.openxmlformats.org/officeDocument/2006/relationships/image" Target="../media/image75.jpeg"/><Relationship Id="rId4" Type="http://schemas.openxmlformats.org/officeDocument/2006/relationships/image" Target="../media/image74.jpeg"/></Relationships>
</file>

<file path=ppt/slides/_rels/slide11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414.xml"/></Relationships>
</file>

<file path=ppt/slides/_rels/slide11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6.xml"/><Relationship Id="rId1" Type="http://schemas.openxmlformats.org/officeDocument/2006/relationships/slideLayout" Target="../slideLayouts/slideLayout41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401.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401.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401.xml"/></Relationships>
</file>

<file path=ppt/slides/_rels/slide117.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17.xml"/><Relationship Id="rId1" Type="http://schemas.openxmlformats.org/officeDocument/2006/relationships/slideLayout" Target="../slideLayouts/slideLayout401.xml"/></Relationships>
</file>

<file path=ppt/slides/_rels/slide118.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411.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9.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123.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395.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12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90.xml"/></Relationships>
</file>

<file path=ppt/slides/_rels/slide12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90.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129.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390.xml"/></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08.xml"/></Relationships>
</file>

<file path=ppt/slides/_rels/slide130.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116.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132.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124.xml"/></Relationships>
</file>

<file path=ppt/slides/_rels/slide13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24.xml"/></Relationships>
</file>

<file path=ppt/slides/_rels/slide134.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124.xml"/></Relationships>
</file>

<file path=ppt/slides/_rels/slide135.xml.rels><?xml version="1.0" encoding="UTF-8" standalone="yes"?>
<Relationships xmlns="http://schemas.openxmlformats.org/package/2006/relationships"><Relationship Id="rId2" Type="http://schemas.openxmlformats.org/officeDocument/2006/relationships/image" Target="../media/image88.gif"/><Relationship Id="rId1" Type="http://schemas.openxmlformats.org/officeDocument/2006/relationships/slideLayout" Target="../slideLayouts/slideLayout149.xml"/></Relationships>
</file>

<file path=ppt/slides/_rels/slide13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8.xml"/><Relationship Id="rId1" Type="http://schemas.openxmlformats.org/officeDocument/2006/relationships/slideLayout" Target="../slideLayouts/slideLayout166.xml"/><Relationship Id="rId4" Type="http://schemas.openxmlformats.org/officeDocument/2006/relationships/image" Target="file:///C:\WINDOWS\Desktop\pft\Test%20for%20Spirometry_files\Va.gif" TargetMode="External"/></Relationships>
</file>

<file path=ppt/slides/_rels/slide137.xml.rels><?xml version="1.0" encoding="UTF-8" standalone="yes"?>
<Relationships xmlns="http://schemas.openxmlformats.org/package/2006/relationships"><Relationship Id="rId2" Type="http://schemas.openxmlformats.org/officeDocument/2006/relationships/image" Target="../media/image88.gif"/><Relationship Id="rId1" Type="http://schemas.openxmlformats.org/officeDocument/2006/relationships/slideLayout" Target="../slideLayouts/slideLayout124.xml"/></Relationships>
</file>

<file path=ppt/slides/_rels/slide13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9.xml"/><Relationship Id="rId1" Type="http://schemas.openxmlformats.org/officeDocument/2006/relationships/slideLayout" Target="../slideLayouts/slideLayout141.xml"/><Relationship Id="rId4" Type="http://schemas.openxmlformats.org/officeDocument/2006/relationships/image" Target="file:///C:\WINDOWS\Desktop\pft\Test%20for%20Spirometry_files\Va.gif" TargetMode="External"/></Relationships>
</file>

<file path=ppt/slides/_rels/slide13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11.xml"/></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14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28.xml"/></Relationships>
</file>

<file path=ppt/slides/_rels/slide1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2.png"/><Relationship Id="rId1" Type="http://schemas.openxmlformats.org/officeDocument/2006/relationships/slideLayout" Target="../slideLayouts/slideLayout239.xml"/></Relationships>
</file>

<file path=ppt/slides/_rels/slide14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22.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250.xml"/></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50.xml"/><Relationship Id="rId1" Type="http://schemas.openxmlformats.org/officeDocument/2006/relationships/vmlDrawing" Target="../drawings/vmlDrawing6.vml"/><Relationship Id="rId4" Type="http://schemas.openxmlformats.org/officeDocument/2006/relationships/image" Target="../media/image94.wmf"/></Relationships>
</file>

<file path=ppt/slides/_rels/slide1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4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43.xml"/></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9.xml"/><Relationship Id="rId1" Type="http://schemas.openxmlformats.org/officeDocument/2006/relationships/vmlDrawing" Target="../drawings/vmlDrawing7.vml"/><Relationship Id="rId4" Type="http://schemas.openxmlformats.org/officeDocument/2006/relationships/image" Target="../media/image97.png"/></Relationships>
</file>

<file path=ppt/slides/_rels/slide149.xml.rels><?xml version="1.0" encoding="UTF-8" standalone="yes"?>
<Relationships xmlns="http://schemas.openxmlformats.org/package/2006/relationships"><Relationship Id="rId2" Type="http://schemas.openxmlformats.org/officeDocument/2006/relationships/image" Target="../media/image98.jp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audio" Target="../media/audio1.wav"/><Relationship Id="rId7" Type="http://schemas.openxmlformats.org/officeDocument/2006/relationships/image" Target="../media/image34.png"/><Relationship Id="rId2" Type="http://schemas.openxmlformats.org/officeDocument/2006/relationships/slideLayout" Target="../slideLayouts/slideLayout7.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33.png"/><Relationship Id="rId4" Type="http://schemas.openxmlformats.org/officeDocument/2006/relationships/oleObject" Target="../embeddings/oleObject3.bin"/><Relationship Id="rId9" Type="http://schemas.openxmlformats.org/officeDocument/2006/relationships/image" Target="../media/image35.png"/></Relationships>
</file>

<file path=ppt/slides/_rels/slide150.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99.jpeg"/></Relationships>
</file>

<file path=ppt/slides/_rels/slide15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31.xml"/></Relationships>
</file>

<file path=ppt/slides/_rels/slide152.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31.xml"/></Relationships>
</file>

<file path=ppt/slides/_rels/slide153.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154.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24.xml"/></Relationships>
</file>

<file path=ppt/slides/_rels/slide15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9.xml"/></Relationships>
</file>

<file path=ppt/slides/_rels/slide15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4.xml"/></Relationships>
</file>

<file path=ppt/slides/_rels/slide15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158.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42.xml"/></Relationships>
</file>

<file path=ppt/slides/_rels/slide159.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55.xml"/></Relationships>
</file>

<file path=ppt/slides/_rels/slide1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30.xml"/></Relationships>
</file>

<file path=ppt/slides/_rels/slide16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2.xml"/><Relationship Id="rId1" Type="http://schemas.openxmlformats.org/officeDocument/2006/relationships/slideLayout" Target="../slideLayouts/slideLayout56.xml"/></Relationships>
</file>

<file path=ppt/slides/_rels/slide16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16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1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164.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16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16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16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168.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audio" Target="../media/audio1.wav"/><Relationship Id="rId7" Type="http://schemas.openxmlformats.org/officeDocument/2006/relationships/image" Target="../media/image34.png"/><Relationship Id="rId2" Type="http://schemas.openxmlformats.org/officeDocument/2006/relationships/slideLayout" Target="../slideLayouts/slideLayout7.xml"/><Relationship Id="rId1" Type="http://schemas.openxmlformats.org/officeDocument/2006/relationships/vmlDrawing" Target="../drawings/vmlDrawing8.vml"/><Relationship Id="rId6" Type="http://schemas.openxmlformats.org/officeDocument/2006/relationships/oleObject" Target="../embeddings/oleObject11.bin"/><Relationship Id="rId5" Type="http://schemas.openxmlformats.org/officeDocument/2006/relationships/image" Target="../media/image33.png"/><Relationship Id="rId4" Type="http://schemas.openxmlformats.org/officeDocument/2006/relationships/oleObject" Target="../embeddings/oleObject10.bin"/><Relationship Id="rId9" Type="http://schemas.openxmlformats.org/officeDocument/2006/relationships/image" Target="../media/image35.png"/></Relationships>
</file>

<file path=ppt/slides/_rels/slide16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19.xml"/></Relationships>
</file>

<file path=ppt/slides/_rels/slide17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17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172.xml.rels><?xml version="1.0" encoding="UTF-8" standalone="yes"?>
<Relationships xmlns="http://schemas.openxmlformats.org/package/2006/relationships"><Relationship Id="rId3" Type="http://schemas.openxmlformats.org/officeDocument/2006/relationships/image" Target="../media/image116.jpg"/><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17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17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17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176.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80.xml"/></Relationships>
</file>

<file path=ppt/slides/_rels/slide177.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90.xml"/></Relationships>
</file>

<file path=ppt/slides/_rels/slide178.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23.xml"/><Relationship Id="rId1" Type="http://schemas.openxmlformats.org/officeDocument/2006/relationships/slideLayout" Target="../slideLayouts/slideLayout89.xml"/></Relationships>
</file>

<file path=ppt/slides/_rels/slide179.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24.xml"/><Relationship Id="rId1" Type="http://schemas.openxmlformats.org/officeDocument/2006/relationships/slideLayout" Target="../slideLayouts/slideLayout89.xml"/></Relationships>
</file>

<file path=ppt/slides/_rels/slide1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4.xml"/></Relationships>
</file>

<file path=ppt/slides/_rels/slide18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95.xml"/></Relationships>
</file>

<file path=ppt/slides/_rels/slide181.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Layout" Target="../slideLayouts/slideLayout95.xml"/></Relationships>
</file>

<file path=ppt/slides/_rels/slide182.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25.xml"/><Relationship Id="rId1" Type="http://schemas.openxmlformats.org/officeDocument/2006/relationships/slideLayout" Target="../slideLayouts/slideLayout95.xml"/></Relationships>
</file>

<file path=ppt/slides/_rels/slide183.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95.xml"/></Relationships>
</file>

<file path=ppt/slides/_rels/slide184.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95.xml"/></Relationships>
</file>

<file path=ppt/slides/_rels/slide185.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26.xml"/><Relationship Id="rId1" Type="http://schemas.openxmlformats.org/officeDocument/2006/relationships/slideLayout" Target="../slideLayouts/slideLayout95.xml"/></Relationships>
</file>

<file path=ppt/slides/_rels/slide18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7.xml"/><Relationship Id="rId1" Type="http://schemas.openxmlformats.org/officeDocument/2006/relationships/slideLayout" Target="../slideLayouts/slideLayout95.xml"/></Relationships>
</file>

<file path=ppt/slides/_rels/slide187.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28.xml"/><Relationship Id="rId1" Type="http://schemas.openxmlformats.org/officeDocument/2006/relationships/slideLayout" Target="../slideLayouts/slideLayout95.xml"/></Relationships>
</file>

<file path=ppt/slides/_rels/slide188.xml.rels><?xml version="1.0" encoding="UTF-8" standalone="yes"?>
<Relationships xmlns="http://schemas.openxmlformats.org/package/2006/relationships"><Relationship Id="rId3" Type="http://schemas.openxmlformats.org/officeDocument/2006/relationships/image" Target="../media/image131.jpg"/><Relationship Id="rId2" Type="http://schemas.openxmlformats.org/officeDocument/2006/relationships/notesSlide" Target="../notesSlides/notesSlide29.xml"/><Relationship Id="rId1" Type="http://schemas.openxmlformats.org/officeDocument/2006/relationships/slideLayout" Target="../slideLayouts/slideLayout95.xml"/></Relationships>
</file>

<file path=ppt/slides/_rels/slide189.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30.xml"/><Relationship Id="rId1" Type="http://schemas.openxmlformats.org/officeDocument/2006/relationships/slideLayout" Target="../slideLayouts/slideLayout95.xml"/></Relationships>
</file>

<file path=ppt/slides/_rels/slide1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19.xml"/></Relationships>
</file>

<file path=ppt/slides/_rels/slide190.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31.xml"/><Relationship Id="rId1" Type="http://schemas.openxmlformats.org/officeDocument/2006/relationships/slideLayout" Target="../slideLayouts/slideLayout95.xml"/></Relationships>
</file>

<file path=ppt/slides/_rels/slide191.xml.rels><?xml version="1.0" encoding="UTF-8" standalone="yes"?>
<Relationships xmlns="http://schemas.openxmlformats.org/package/2006/relationships"><Relationship Id="rId3" Type="http://schemas.openxmlformats.org/officeDocument/2006/relationships/image" Target="../media/image134.jpg"/><Relationship Id="rId2" Type="http://schemas.openxmlformats.org/officeDocument/2006/relationships/notesSlide" Target="../notesSlides/notesSlide32.xml"/><Relationship Id="rId1" Type="http://schemas.openxmlformats.org/officeDocument/2006/relationships/slideLayout" Target="../slideLayouts/slideLayout95.xml"/></Relationships>
</file>

<file path=ppt/slides/_rels/slide192.xml.rels><?xml version="1.0" encoding="UTF-8" standalone="yes"?>
<Relationships xmlns="http://schemas.openxmlformats.org/package/2006/relationships"><Relationship Id="rId3" Type="http://schemas.openxmlformats.org/officeDocument/2006/relationships/image" Target="../media/image135.jpg"/><Relationship Id="rId2" Type="http://schemas.openxmlformats.org/officeDocument/2006/relationships/notesSlide" Target="../notesSlides/notesSlide33.xml"/><Relationship Id="rId1" Type="http://schemas.openxmlformats.org/officeDocument/2006/relationships/slideLayout" Target="../slideLayouts/slideLayout95.xml"/></Relationships>
</file>

<file path=ppt/slides/_rels/slide193.xml.rels><?xml version="1.0" encoding="UTF-8" standalone="yes"?>
<Relationships xmlns="http://schemas.openxmlformats.org/package/2006/relationships"><Relationship Id="rId3" Type="http://schemas.openxmlformats.org/officeDocument/2006/relationships/image" Target="../media/image137.gif"/><Relationship Id="rId2" Type="http://schemas.openxmlformats.org/officeDocument/2006/relationships/image" Target="../media/image136.gif"/><Relationship Id="rId1" Type="http://schemas.openxmlformats.org/officeDocument/2006/relationships/slideLayout" Target="../slideLayouts/slideLayout88.xml"/><Relationship Id="rId5" Type="http://schemas.openxmlformats.org/officeDocument/2006/relationships/image" Target="../media/image139.gif"/><Relationship Id="rId4" Type="http://schemas.openxmlformats.org/officeDocument/2006/relationships/image" Target="../media/image138.gif"/></Relationships>
</file>

<file path=ppt/slides/_rels/slide194.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102.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2.png"/></Relationships>
</file>

<file path=ppt/slides/_rels/slide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audio" Target="../media/audio1.wav"/><Relationship Id="rId1" Type="http://schemas.openxmlformats.org/officeDocument/2006/relationships/slideLayout" Target="../slideLayouts/slideLayout69.xml"/><Relationship Id="rId4" Type="http://schemas.openxmlformats.org/officeDocument/2006/relationships/image" Target="../media/image24.wmf"/></Relationships>
</file>

<file path=ppt/slides/_rels/slide2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0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2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6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2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92.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79.xml"/><Relationship Id="rId1" Type="http://schemas.openxmlformats.org/officeDocument/2006/relationships/themeOverride" Target="../theme/themeOverride6.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79.xml"/><Relationship Id="rId1" Type="http://schemas.openxmlformats.org/officeDocument/2006/relationships/themeOverride" Target="../theme/themeOverride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29.xml.rels><?xml version="1.0" encoding="UTF-8" standalone="yes"?>
<Relationships xmlns="http://schemas.openxmlformats.org/package/2006/relationships"><Relationship Id="rId2" Type="http://schemas.openxmlformats.org/officeDocument/2006/relationships/image" Target="../media/image43.gif"/><Relationship Id="rId1" Type="http://schemas.openxmlformats.org/officeDocument/2006/relationships/slideLayout" Target="../slideLayouts/slideLayout27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3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34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4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4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48.xml"/></Relationships>
</file>

<file path=ppt/slides/_rels/slide3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4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47.xml"/></Relationships>
</file>

<file path=ppt/slides/_rels/slide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364.xml"/></Relationships>
</file>

<file path=ppt/slides/_rels/slide3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36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47.xml"/></Relationships>
</file>

<file path=ppt/slides/_rels/slide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xml"/><Relationship Id="rId1" Type="http://schemas.openxmlformats.org/officeDocument/2006/relationships/slideLayout" Target="../slideLayouts/slideLayout438.xml"/><Relationship Id="rId4" Type="http://schemas.openxmlformats.org/officeDocument/2006/relationships/image" Target="../media/image26.png"/></Relationships>
</file>

<file path=ppt/slides/_rels/slide40.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34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4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4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4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4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47.xml"/></Relationships>
</file>

<file path=ppt/slides/_rels/slide4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4.xml"/><Relationship Id="rId1" Type="http://schemas.openxmlformats.org/officeDocument/2006/relationships/slideLayout" Target="../slideLayouts/slideLayout36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47.xm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59.xml"/><Relationship Id="rId1" Type="http://schemas.openxmlformats.org/officeDocument/2006/relationships/vmlDrawing" Target="../drawings/vmlDrawing4.vml"/><Relationship Id="rId4" Type="http://schemas.openxmlformats.org/officeDocument/2006/relationships/image" Target="../media/image4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5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5.xml"/><Relationship Id="rId1" Type="http://schemas.openxmlformats.org/officeDocument/2006/relationships/slideLayout" Target="../slideLayouts/slideLayout36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4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4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4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6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6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6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4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6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7.xml"/><Relationship Id="rId1" Type="http://schemas.openxmlformats.org/officeDocument/2006/relationships/slideLayout" Target="../slideLayouts/slideLayout358.xml"/></Relationships>
</file>

<file path=ppt/slides/_rels/slide6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8.xml"/><Relationship Id="rId1" Type="http://schemas.openxmlformats.org/officeDocument/2006/relationships/slideLayout" Target="../slideLayouts/slideLayout35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4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6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9.xml"/><Relationship Id="rId1" Type="http://schemas.openxmlformats.org/officeDocument/2006/relationships/slideLayout" Target="../slideLayouts/slideLayout335.xml"/></Relationships>
</file>

<file path=ppt/slides/_rels/slide67.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336.xml"/></Relationships>
</file>

<file path=ppt/slides/_rels/slide6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0.xml"/><Relationship Id="rId1" Type="http://schemas.openxmlformats.org/officeDocument/2006/relationships/slideLayout" Target="../slideLayouts/slideLayout341.xml"/></Relationships>
</file>

<file path=ppt/slides/_rels/slide69.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33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7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375.xml"/></Relationships>
</file>

<file path=ppt/slides/_rels/slide7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1.xml"/><Relationship Id="rId1" Type="http://schemas.openxmlformats.org/officeDocument/2006/relationships/slideLayout" Target="../slideLayouts/slideLayout377.xml"/><Relationship Id="rId4" Type="http://schemas.openxmlformats.org/officeDocument/2006/relationships/image" Target="../media/image56.jpeg"/></Relationships>
</file>

<file path=ppt/slides/_rels/slide7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2.xml"/><Relationship Id="rId1" Type="http://schemas.openxmlformats.org/officeDocument/2006/relationships/slideLayout" Target="../slideLayouts/slideLayout380.xml"/></Relationships>
</file>

<file path=ppt/slides/_rels/slide7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3.xml"/><Relationship Id="rId1" Type="http://schemas.openxmlformats.org/officeDocument/2006/relationships/slideLayout" Target="../slideLayouts/slideLayout380.xml"/></Relationships>
</file>

<file path=ppt/slides/_rels/slide74.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375.xml"/></Relationships>
</file>

<file path=ppt/slides/_rels/slide7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75.xml"/><Relationship Id="rId4" Type="http://schemas.openxmlformats.org/officeDocument/2006/relationships/hyperlink" Target="http://www.ginasthma.org/"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62.jpeg"/><Relationship Id="rId1" Type="http://schemas.openxmlformats.org/officeDocument/2006/relationships/slideLayout" Target="../slideLayouts/slideLayout388.xml"/><Relationship Id="rId4" Type="http://schemas.openxmlformats.org/officeDocument/2006/relationships/image" Target="../media/image19.pn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79.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02.xml"/></Relationships>
</file>

<file path=ppt/slides/_rels/slide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416.xml"/></Relationships>
</file>

<file path=ppt/slides/_rels/slide80.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95.xml"/></Relationships>
</file>

<file path=ppt/slides/_rels/slide8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0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8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0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88.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102.xml"/></Relationships>
</file>

<file path=ppt/slides/_rels/slide8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02.xml"/></Relationships>
</file>

<file path=ppt/slides/_rels/slide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427.xml"/></Relationships>
</file>

<file path=ppt/slides/_rels/slide9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02.xml"/></Relationships>
</file>

<file path=ppt/slides/_rels/slide9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02.xml"/></Relationships>
</file>

<file path=ppt/slides/_rels/slide9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90.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97.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90.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99.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9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990600"/>
            <a:ext cx="4572000" cy="5867400"/>
          </a:xfrm>
        </p:spPr>
        <p:txBody>
          <a:bodyPr>
            <a:normAutofit fontScale="77500" lnSpcReduction="20000"/>
          </a:bodyPr>
          <a:lstStyle/>
          <a:p>
            <a:pPr marL="280988" lvl="0" indent="-280988" algn="ctr">
              <a:buNone/>
            </a:pPr>
            <a:endParaRPr lang="en-US" sz="6000" b="1" dirty="0" smtClean="0">
              <a:solidFill>
                <a:srgbClr val="FF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endParaRPr>
          </a:p>
          <a:p>
            <a:pPr marL="280988" lvl="0" indent="-280988" algn="ctr">
              <a:buNone/>
            </a:pPr>
            <a:r>
              <a:rPr lang="en-US" sz="8500" b="1" dirty="0" smtClean="0">
                <a:solidFill>
                  <a:srgbClr val="FF0000"/>
                </a:solidFill>
                <a:effectLst>
                  <a:outerShdw blurRad="38100" dist="38100" dir="2700000" algn="tl">
                    <a:srgbClr val="000000">
                      <a:alpha val="43137"/>
                    </a:srgbClr>
                  </a:outerShdw>
                </a:effectLst>
                <a:latin typeface="Corbel" pitchFamily="34" charset="0"/>
                <a:ea typeface="Times New Roman" pitchFamily="18" charset="0"/>
                <a:cs typeface="Calibri" pitchFamily="34" charset="0"/>
              </a:rPr>
              <a:t>Cases- discussion</a:t>
            </a:r>
          </a:p>
          <a:p>
            <a:pPr marL="280988" lvl="0" indent="-280988" algn="ctr">
              <a:buNone/>
            </a:pPr>
            <a:r>
              <a:rPr lang="en-US" sz="6400" b="1" dirty="0" smtClean="0">
                <a:solidFill>
                  <a:srgbClr val="FFC000"/>
                </a:solidFill>
                <a:effectLst>
                  <a:outerShdw blurRad="38100" dist="38100" dir="2700000" algn="tl">
                    <a:srgbClr val="000000">
                      <a:alpha val="43137"/>
                    </a:srgbClr>
                  </a:outerShdw>
                </a:effectLst>
                <a:latin typeface="Corbel" pitchFamily="34" charset="0"/>
                <a:ea typeface="Times New Roman" pitchFamily="18" charset="0"/>
                <a:cs typeface="Calibri" pitchFamily="34" charset="0"/>
              </a:rPr>
              <a:t>By</a:t>
            </a:r>
          </a:p>
          <a:p>
            <a:pPr marL="280988" lvl="0" indent="-280988" algn="ctr">
              <a:buNone/>
            </a:pPr>
            <a:endParaRPr lang="en-US" sz="6400" b="1" dirty="0" smtClean="0">
              <a:solidFill>
                <a:srgbClr val="FFC000"/>
              </a:solidFill>
              <a:effectLst>
                <a:outerShdw blurRad="38100" dist="38100" dir="2700000" algn="tl">
                  <a:srgbClr val="000000">
                    <a:alpha val="43137"/>
                  </a:srgbClr>
                </a:outerShdw>
              </a:effectLst>
              <a:latin typeface="Corbel" pitchFamily="34" charset="0"/>
              <a:ea typeface="Times New Roman" pitchFamily="18" charset="0"/>
              <a:cs typeface="Calibri" pitchFamily="34" charset="0"/>
            </a:endParaRPr>
          </a:p>
          <a:p>
            <a:pPr marL="280988" lvl="0" indent="-280988" algn="ctr">
              <a:buNone/>
            </a:pPr>
            <a:r>
              <a:rPr lang="en-US" sz="5800" b="1" dirty="0" smtClean="0">
                <a:solidFill>
                  <a:srgbClr val="002060"/>
                </a:solidFill>
                <a:effectLst>
                  <a:outerShdw blurRad="38100" dist="38100" dir="2700000" algn="tl">
                    <a:srgbClr val="000000">
                      <a:alpha val="43137"/>
                    </a:srgbClr>
                  </a:outerShdw>
                </a:effectLst>
                <a:latin typeface="Corbel" pitchFamily="34" charset="0"/>
                <a:ea typeface="Times New Roman" pitchFamily="18" charset="0"/>
                <a:cs typeface="Calibri" pitchFamily="34" charset="0"/>
              </a:rPr>
              <a:t>Dr. </a:t>
            </a:r>
          </a:p>
          <a:p>
            <a:pPr marL="280988" lvl="0" indent="-280988" algn="ctr">
              <a:buNone/>
            </a:pPr>
            <a:r>
              <a:rPr lang="en-US" sz="5800" b="1" dirty="0" smtClean="0">
                <a:solidFill>
                  <a:srgbClr val="002060"/>
                </a:solidFill>
                <a:effectLst>
                  <a:outerShdw blurRad="38100" dist="38100" dir="2700000" algn="tl">
                    <a:srgbClr val="000000">
                      <a:alpha val="43137"/>
                    </a:srgbClr>
                  </a:outerShdw>
                </a:effectLst>
                <a:latin typeface="Corbel" pitchFamily="34" charset="0"/>
                <a:ea typeface="Times New Roman" pitchFamily="18" charset="0"/>
                <a:cs typeface="Calibri" pitchFamily="34" charset="0"/>
              </a:rPr>
              <a:t>Walid I. Elgendy</a:t>
            </a:r>
          </a:p>
          <a:p>
            <a:pPr marL="280988" lvl="0" indent="-280988" algn="ctr">
              <a:buNone/>
            </a:pPr>
            <a:r>
              <a:rPr lang="en-US" sz="4800" b="1" dirty="0" smtClean="0">
                <a:solidFill>
                  <a:srgbClr val="002060"/>
                </a:solidFill>
                <a:effectLst>
                  <a:outerShdw blurRad="38100" dist="38100" dir="2700000" algn="tl">
                    <a:srgbClr val="000000">
                      <a:alpha val="43137"/>
                    </a:srgbClr>
                  </a:outerShdw>
                </a:effectLst>
                <a:latin typeface="Corbel" pitchFamily="34" charset="0"/>
                <a:cs typeface="Mongolian Baiti" pitchFamily="66" charset="0"/>
              </a:rPr>
              <a:t>A. Prof. of Pulmonology</a:t>
            </a:r>
            <a:endParaRPr lang="en-US" sz="5200" b="1" dirty="0" smtClean="0">
              <a:solidFill>
                <a:srgbClr val="002060"/>
              </a:solidFill>
              <a:effectLst>
                <a:outerShdw blurRad="38100" dist="38100" dir="2700000" algn="tl">
                  <a:srgbClr val="000000">
                    <a:alpha val="43137"/>
                  </a:srgbClr>
                </a:outerShdw>
              </a:effectLst>
              <a:latin typeface="Corbel" pitchFamily="34" charset="0"/>
              <a:cs typeface="Arial" pitchFamily="34" charset="0"/>
            </a:endParaRPr>
          </a:p>
          <a:p>
            <a:pPr marL="280988" indent="-280988" algn="just">
              <a:buNone/>
            </a:pPr>
            <a:endParaRPr lang="en-US" sz="2200" b="1" dirty="0">
              <a:solidFill>
                <a:srgbClr val="000099"/>
              </a:solidFill>
              <a:effectLst>
                <a:outerShdw blurRad="38100" dist="38100" dir="2700000" algn="tl">
                  <a:srgbClr val="000000">
                    <a:alpha val="43137"/>
                  </a:srgbClr>
                </a:outerShdw>
              </a:effectLst>
              <a:latin typeface="Times New Roman" pitchFamily="18" charset="0"/>
              <a:cs typeface="Times New Roman" pitchFamily="18" charset="0"/>
            </a:endParaRPr>
          </a:p>
        </p:txBody>
      </p:sp>
      <p:pic>
        <p:nvPicPr>
          <p:cNvPr id="3" name="Graphic 13" descr="Stethoscope"/>
          <p:cNvPicPr>
            <a:picLocks noChangeAspect="1"/>
          </p:cNvPicPr>
          <p:nvPr/>
        </p:nvPicPr>
        <p:blipFill>
          <a:blip r:embed="rId2"/>
          <a:srcRect/>
          <a:stretch>
            <a:fillRect/>
          </a:stretch>
        </p:blipFill>
        <p:spPr bwMode="auto">
          <a:xfrm>
            <a:off x="5486400" y="1828804"/>
            <a:ext cx="3657600" cy="4333875"/>
          </a:xfrm>
          <a:prstGeom prst="rect">
            <a:avLst/>
          </a:prstGeom>
          <a:noFill/>
          <a:ln w="9525">
            <a:noFill/>
            <a:miter lim="800000"/>
            <a:headEnd/>
            <a:tailEnd/>
          </a:ln>
        </p:spPr>
      </p:pic>
    </p:spTree>
    <p:extLst>
      <p:ext uri="{BB962C8B-B14F-4D97-AF65-F5344CB8AC3E}">
        <p14:creationId xmlns:p14="http://schemas.microsoft.com/office/powerpoint/2010/main" val="18232534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3600" b="1" u="sng" dirty="0">
                <a:solidFill>
                  <a:srgbClr val="FFC000"/>
                </a:solidFill>
              </a:rPr>
              <a:t>Questions</a:t>
            </a:r>
          </a:p>
        </p:txBody>
      </p:sp>
      <p:sp>
        <p:nvSpPr>
          <p:cNvPr id="3" name="Content Placeholder 2"/>
          <p:cNvSpPr>
            <a:spLocks noGrp="1"/>
          </p:cNvSpPr>
          <p:nvPr>
            <p:ph idx="1"/>
          </p:nvPr>
        </p:nvSpPr>
        <p:spPr/>
        <p:txBody>
          <a:bodyPr/>
          <a:lstStyle/>
          <a:p>
            <a:pPr>
              <a:defRPr/>
            </a:pPr>
            <a:r>
              <a:rPr lang="en-US" sz="3200" b="1" dirty="0">
                <a:solidFill>
                  <a:srgbClr val="FFC000"/>
                </a:solidFill>
                <a:effectLst>
                  <a:outerShdw blurRad="38100" dist="38100" dir="2700000" algn="tl">
                    <a:srgbClr val="000000">
                      <a:alpha val="43137"/>
                    </a:srgbClr>
                  </a:outerShdw>
                </a:effectLst>
              </a:rPr>
              <a:t>What is the likely diagnosis </a:t>
            </a:r>
            <a:r>
              <a:rPr lang="en-US" sz="3200" b="1" dirty="0" smtClean="0">
                <a:solidFill>
                  <a:srgbClr val="FFC000"/>
                </a:solidFill>
                <a:effectLst>
                  <a:outerShdw blurRad="38100" dist="38100" dir="2700000" algn="tl">
                    <a:srgbClr val="000000">
                      <a:alpha val="43137"/>
                    </a:srgbClr>
                  </a:outerShdw>
                </a:effectLst>
              </a:rPr>
              <a:t>?</a:t>
            </a:r>
          </a:p>
          <a:p>
            <a:pPr>
              <a:buFont typeface="Wingdings" panose="05000000000000000000" pitchFamily="2" charset="2"/>
              <a:buNone/>
              <a:defRPr/>
            </a:pPr>
            <a:endParaRPr lang="en-US" sz="3200" b="1" dirty="0" smtClean="0">
              <a:solidFill>
                <a:srgbClr val="FFC000"/>
              </a:solidFill>
              <a:effectLst>
                <a:outerShdw blurRad="38100" dist="38100" dir="2700000" algn="tl">
                  <a:srgbClr val="000000">
                    <a:alpha val="43137"/>
                  </a:srgbClr>
                </a:outerShdw>
              </a:effectLst>
            </a:endParaRPr>
          </a:p>
          <a:p>
            <a:pPr>
              <a:defRPr/>
            </a:pPr>
            <a:r>
              <a:rPr lang="en-US" sz="3200" b="1" dirty="0" smtClean="0">
                <a:solidFill>
                  <a:srgbClr val="FFC000"/>
                </a:solidFill>
                <a:effectLst>
                  <a:outerShdw blurRad="38100" dist="38100" dir="2700000" algn="tl">
                    <a:srgbClr val="000000">
                      <a:alpha val="43137"/>
                    </a:srgbClr>
                  </a:outerShdw>
                </a:effectLst>
              </a:rPr>
              <a:t>What is the most likely investigation ?</a:t>
            </a:r>
          </a:p>
          <a:p>
            <a:pPr>
              <a:buFont typeface="Wingdings" panose="05000000000000000000" pitchFamily="2" charset="2"/>
              <a:buNone/>
              <a:defRPr/>
            </a:pPr>
            <a:r>
              <a:rPr lang="en-US" b="1" dirty="0" smtClean="0"/>
              <a:t>                           </a:t>
            </a:r>
            <a:endParaRPr lang="en-US" b="1" dirty="0"/>
          </a:p>
          <a:p>
            <a:pPr>
              <a:buFont typeface="Wingdings" panose="05000000000000000000" pitchFamily="2" charset="2"/>
              <a:buNone/>
              <a:defRPr/>
            </a:pPr>
            <a:endParaRPr lang="en-US" dirty="0"/>
          </a:p>
        </p:txBody>
      </p:sp>
    </p:spTree>
    <p:extLst>
      <p:ext uri="{BB962C8B-B14F-4D97-AF65-F5344CB8AC3E}">
        <p14:creationId xmlns:p14="http://schemas.microsoft.com/office/powerpoint/2010/main" val="37816716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E6CC93C-E814-4A13-B6A4-B3AF4D9E8EF3}"/>
              </a:ext>
            </a:extLst>
          </p:cNvPr>
          <p:cNvSpPr>
            <a:spLocks noGrp="1"/>
          </p:cNvSpPr>
          <p:nvPr>
            <p:ph sz="quarter" idx="1"/>
          </p:nvPr>
        </p:nvSpPr>
        <p:spPr/>
        <p:txBody>
          <a:bodyPr>
            <a:normAutofit fontScale="92500" lnSpcReduction="20000"/>
          </a:bodyPr>
          <a:lstStyle/>
          <a:p>
            <a:pPr algn="l">
              <a:buNone/>
            </a:pPr>
            <a:r>
              <a:rPr lang="en-US" sz="2800" b="1" u="sng" dirty="0" smtClean="0">
                <a:solidFill>
                  <a:srgbClr val="00B050"/>
                </a:solidFill>
                <a:latin typeface="Arial" pitchFamily="34" charset="0"/>
                <a:cs typeface="Arial" pitchFamily="34" charset="0"/>
              </a:rPr>
              <a:t>DD</a:t>
            </a:r>
            <a:endParaRPr lang="en-US" sz="2400" b="1" u="sng" dirty="0">
              <a:solidFill>
                <a:srgbClr val="00B050"/>
              </a:solidFill>
              <a:latin typeface="Arial" pitchFamily="34" charset="0"/>
              <a:cs typeface="Arial" pitchFamily="34" charset="0"/>
            </a:endParaRPr>
          </a:p>
          <a:p>
            <a:pPr>
              <a:lnSpc>
                <a:spcPct val="150000"/>
              </a:lnSpc>
              <a:buFont typeface="Wingdings" panose="05000000000000000000" pitchFamily="2" charset="2"/>
              <a:buChar char="Ø"/>
            </a:pPr>
            <a:r>
              <a:rPr lang="en-US" sz="2400" b="1" dirty="0" smtClean="0">
                <a:solidFill>
                  <a:srgbClr val="002060"/>
                </a:solidFill>
                <a:latin typeface="Arial" pitchFamily="34" charset="0"/>
                <a:cs typeface="Arial" pitchFamily="34" charset="0"/>
              </a:rPr>
              <a:t>Bronchiectasis</a:t>
            </a:r>
          </a:p>
          <a:p>
            <a:pPr>
              <a:lnSpc>
                <a:spcPct val="150000"/>
              </a:lnSpc>
              <a:buFont typeface="Wingdings" panose="05000000000000000000" pitchFamily="2" charset="2"/>
              <a:buChar char="Ø"/>
            </a:pPr>
            <a:r>
              <a:rPr lang="en-US" sz="2400" b="1" dirty="0" smtClean="0">
                <a:solidFill>
                  <a:srgbClr val="002060"/>
                </a:solidFill>
                <a:latin typeface="Arial" pitchFamily="34" charset="0"/>
                <a:cs typeface="Arial" pitchFamily="34" charset="0"/>
              </a:rPr>
              <a:t>COPD</a:t>
            </a:r>
          </a:p>
          <a:p>
            <a:pPr>
              <a:lnSpc>
                <a:spcPct val="150000"/>
              </a:lnSpc>
              <a:buFont typeface="Wingdings" panose="05000000000000000000" pitchFamily="2" charset="2"/>
              <a:buChar char="Ø"/>
            </a:pPr>
            <a:r>
              <a:rPr lang="en-US" sz="2400" b="1" dirty="0" smtClean="0">
                <a:solidFill>
                  <a:srgbClr val="002060"/>
                </a:solidFill>
                <a:latin typeface="Arial" pitchFamily="34" charset="0"/>
                <a:cs typeface="Arial" pitchFamily="34" charset="0"/>
              </a:rPr>
              <a:t>Pneumonia </a:t>
            </a:r>
          </a:p>
          <a:p>
            <a:pPr>
              <a:lnSpc>
                <a:spcPct val="150000"/>
              </a:lnSpc>
              <a:buFont typeface="Wingdings" panose="05000000000000000000" pitchFamily="2" charset="2"/>
              <a:buChar char="Ø"/>
            </a:pPr>
            <a:r>
              <a:rPr lang="en-US" sz="2400" b="1" dirty="0" smtClean="0">
                <a:solidFill>
                  <a:srgbClr val="002060"/>
                </a:solidFill>
                <a:latin typeface="Arial" pitchFamily="34" charset="0"/>
                <a:cs typeface="Arial" pitchFamily="34" charset="0"/>
              </a:rPr>
              <a:t>Fungal infection</a:t>
            </a:r>
          </a:p>
          <a:p>
            <a:pPr algn="l" rtl="0">
              <a:lnSpc>
                <a:spcPct val="150000"/>
              </a:lnSpc>
              <a:buFont typeface="Wingdings" panose="05000000000000000000" pitchFamily="2" charset="2"/>
              <a:buChar char="Ø"/>
            </a:pPr>
            <a:r>
              <a:rPr lang="en-US" sz="2400" b="1" dirty="0" smtClean="0">
                <a:solidFill>
                  <a:srgbClr val="002060"/>
                </a:solidFill>
                <a:latin typeface="Arial" pitchFamily="34" charset="0"/>
                <a:cs typeface="Arial" pitchFamily="34" charset="0"/>
              </a:rPr>
              <a:t>Lung cancer</a:t>
            </a:r>
          </a:p>
          <a:p>
            <a:pPr>
              <a:lnSpc>
                <a:spcPct val="150000"/>
              </a:lnSpc>
              <a:buFont typeface="Wingdings" panose="05000000000000000000" pitchFamily="2" charset="2"/>
              <a:buChar char="Ø"/>
            </a:pPr>
            <a:r>
              <a:rPr lang="en-US" sz="2400" b="1" dirty="0" smtClean="0">
                <a:solidFill>
                  <a:srgbClr val="002060"/>
                </a:solidFill>
                <a:latin typeface="Arial" pitchFamily="34" charset="0"/>
                <a:cs typeface="Arial" pitchFamily="34" charset="0"/>
              </a:rPr>
              <a:t>Pulmonary embolism</a:t>
            </a:r>
          </a:p>
          <a:p>
            <a:pPr algn="l" rtl="0">
              <a:lnSpc>
                <a:spcPct val="150000"/>
              </a:lnSpc>
              <a:buFont typeface="Wingdings" panose="05000000000000000000" pitchFamily="2" charset="2"/>
              <a:buChar char="Ø"/>
            </a:pPr>
            <a:r>
              <a:rPr lang="en-US" sz="2400" b="1" dirty="0" smtClean="0">
                <a:solidFill>
                  <a:srgbClr val="002060"/>
                </a:solidFill>
                <a:latin typeface="Arial" pitchFamily="34" charset="0"/>
                <a:cs typeface="Arial" pitchFamily="34" charset="0"/>
              </a:rPr>
              <a:t>ILD</a:t>
            </a:r>
          </a:p>
          <a:p>
            <a:pPr algn="l" rtl="0">
              <a:lnSpc>
                <a:spcPct val="150000"/>
              </a:lnSpc>
              <a:buFont typeface="Wingdings" panose="05000000000000000000" pitchFamily="2" charset="2"/>
              <a:buChar char="Ø"/>
            </a:pPr>
            <a:r>
              <a:rPr lang="en-US" sz="2400" b="1" dirty="0" smtClean="0">
                <a:solidFill>
                  <a:srgbClr val="002060"/>
                </a:solidFill>
                <a:latin typeface="Arial" pitchFamily="34" charset="0"/>
                <a:cs typeface="Arial" pitchFamily="34" charset="0"/>
              </a:rPr>
              <a:t>Pleural effusion</a:t>
            </a:r>
          </a:p>
          <a:p>
            <a:pPr algn="l" rtl="0">
              <a:lnSpc>
                <a:spcPct val="150000"/>
              </a:lnSpc>
              <a:buFont typeface="Wingdings" panose="05000000000000000000" pitchFamily="2" charset="2"/>
              <a:buChar char="Ø"/>
            </a:pPr>
            <a:endParaRPr lang="en-US" sz="2400" b="1" dirty="0">
              <a:solidFill>
                <a:srgbClr val="002060"/>
              </a:solidFill>
              <a:latin typeface="Arial" pitchFamily="34" charset="0"/>
              <a:cs typeface="Arial" pitchFamily="34" charset="0"/>
            </a:endParaRPr>
          </a:p>
        </p:txBody>
      </p:sp>
      <p:sp>
        <p:nvSpPr>
          <p:cNvPr id="4" name="Title 2"/>
          <p:cNvSpPr>
            <a:spLocks noGrp="1"/>
          </p:cNvSpPr>
          <p:nvPr>
            <p:ph type="title"/>
          </p:nvPr>
        </p:nvSpPr>
        <p:spPr>
          <a:xfrm>
            <a:off x="762000" y="384048"/>
            <a:ext cx="7470648" cy="682752"/>
          </a:xfrm>
        </p:spPr>
        <p:style>
          <a:lnRef idx="3">
            <a:schemeClr val="lt1"/>
          </a:lnRef>
          <a:fillRef idx="1">
            <a:schemeClr val="accent5"/>
          </a:fillRef>
          <a:effectRef idx="1">
            <a:schemeClr val="accent5"/>
          </a:effectRef>
          <a:fontRef idx="minor">
            <a:schemeClr val="lt1"/>
          </a:fontRef>
        </p:style>
        <p:txBody>
          <a:bodyPr>
            <a:noAutofit/>
          </a:bodyPr>
          <a:lstStyle/>
          <a:p>
            <a:r>
              <a:rPr lang="en-US" sz="4000" b="1" dirty="0" smtClean="0">
                <a:solidFill>
                  <a:srgbClr val="C00000"/>
                </a:solidFill>
                <a:effectLst>
                  <a:outerShdw blurRad="38100" dist="38100" dir="2700000" algn="tl">
                    <a:srgbClr val="000000">
                      <a:alpha val="43137"/>
                    </a:srgbClr>
                  </a:outerShdw>
                </a:effectLst>
              </a:rPr>
              <a:t>Differential Diagnosis   </a:t>
            </a:r>
            <a:endParaRPr lang="ar-EG" sz="40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688710533"/>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62001" y="1447800"/>
            <a:ext cx="7772399" cy="4185137"/>
          </a:xfrm>
        </p:spPr>
      </p:pic>
      <p:sp>
        <p:nvSpPr>
          <p:cNvPr id="2" name="Title 1"/>
          <p:cNvSpPr>
            <a:spLocks noGrp="1"/>
          </p:cNvSpPr>
          <p:nvPr>
            <p:ph type="title"/>
          </p:nvPr>
        </p:nvSpPr>
        <p:spPr/>
        <p:txBody>
          <a:bodyPr/>
          <a:lstStyle/>
          <a:p>
            <a:r>
              <a:rPr lang="en-US" b="1" dirty="0" smtClean="0">
                <a:solidFill>
                  <a:srgbClr val="C00000"/>
                </a:solidFill>
                <a:effectLst>
                  <a:outerShdw blurRad="38100" dist="38100" dir="2700000" algn="tl">
                    <a:srgbClr val="000000">
                      <a:alpha val="43137"/>
                    </a:srgbClr>
                  </a:outerShdw>
                </a:effectLst>
              </a:rPr>
              <a:t>What is the first investigation?</a:t>
            </a:r>
            <a:endParaRPr lang="en-US"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15329550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F6C4F4-F31E-4176-B2D2-00FBA70EEA0B}"/>
              </a:ext>
            </a:extLst>
          </p:cNvPr>
          <p:cNvSpPr>
            <a:spLocks noGrp="1"/>
          </p:cNvSpPr>
          <p:nvPr>
            <p:ph sz="quarter" idx="1"/>
          </p:nvPr>
        </p:nvSpPr>
        <p:spPr>
          <a:xfrm>
            <a:off x="685800" y="914400"/>
            <a:ext cx="8229600" cy="4525963"/>
          </a:xfrm>
        </p:spPr>
        <p:txBody>
          <a:bodyPr/>
          <a:lstStyle/>
          <a:p>
            <a:pPr algn="l" rtl="0"/>
            <a:r>
              <a:rPr lang="en-US" sz="2400" b="1" dirty="0">
                <a:solidFill>
                  <a:srgbClr val="002060"/>
                </a:solidFill>
                <a:latin typeface="Candara" pitchFamily="34" charset="0"/>
                <a:cs typeface="Times New Roman" pitchFamily="18" charset="0"/>
              </a:rPr>
              <a:t>Chest x-ray revealed </a:t>
            </a:r>
            <a:r>
              <a:rPr lang="en-US" sz="2400" b="1" dirty="0" smtClean="0">
                <a:solidFill>
                  <a:srgbClr val="002060"/>
                </a:solidFill>
                <a:latin typeface="Candara" pitchFamily="34" charset="0"/>
                <a:cs typeface="Times New Roman" pitchFamily="18" charset="0"/>
              </a:rPr>
              <a:t>left sided  apical  cavitary  lesion surrounded by Heterogenous opacities  .</a:t>
            </a:r>
            <a:endParaRPr lang="en-US" sz="2400" b="1" dirty="0">
              <a:solidFill>
                <a:srgbClr val="002060"/>
              </a:solidFill>
              <a:latin typeface="Candara" pitchFamily="34" charset="0"/>
              <a:cs typeface="Times New Roman" pitchFamily="18" charset="0"/>
            </a:endParaRPr>
          </a:p>
          <a:p>
            <a:pPr algn="l"/>
            <a:endParaRPr lang="en-US" dirty="0"/>
          </a:p>
          <a:p>
            <a:pPr algn="l"/>
            <a:endParaRPr lang="en-US" dirty="0"/>
          </a:p>
        </p:txBody>
      </p:sp>
      <p:pic>
        <p:nvPicPr>
          <p:cNvPr id="5" name="Picture 4" descr="jfmdp-4-073-010.gif"/>
          <p:cNvPicPr>
            <a:picLocks noChangeAspect="1"/>
          </p:cNvPicPr>
          <p:nvPr/>
        </p:nvPicPr>
        <p:blipFill>
          <a:blip r:embed="rId2"/>
          <a:stretch>
            <a:fillRect/>
          </a:stretch>
        </p:blipFill>
        <p:spPr>
          <a:xfrm>
            <a:off x="1676400" y="1752600"/>
            <a:ext cx="5715000" cy="4953000"/>
          </a:xfrm>
          <a:prstGeom prst="rect">
            <a:avLst/>
          </a:prstGeom>
        </p:spPr>
      </p:pic>
      <p:sp>
        <p:nvSpPr>
          <p:cNvPr id="6" name="Title 2"/>
          <p:cNvSpPr>
            <a:spLocks noGrp="1"/>
          </p:cNvSpPr>
          <p:nvPr>
            <p:ph type="title"/>
          </p:nvPr>
        </p:nvSpPr>
        <p:spPr>
          <a:xfrm>
            <a:off x="762000" y="152400"/>
            <a:ext cx="7470648" cy="682752"/>
          </a:xfrm>
        </p:spPr>
        <p:style>
          <a:lnRef idx="3">
            <a:schemeClr val="lt1"/>
          </a:lnRef>
          <a:fillRef idx="1">
            <a:schemeClr val="accent5"/>
          </a:fillRef>
          <a:effectRef idx="1">
            <a:schemeClr val="accent5"/>
          </a:effectRef>
          <a:fontRef idx="minor">
            <a:schemeClr val="lt1"/>
          </a:fontRef>
        </p:style>
        <p:txBody>
          <a:bodyPr>
            <a:noAutofit/>
          </a:bodyPr>
          <a:lstStyle/>
          <a:p>
            <a:r>
              <a:rPr lang="en-US" sz="4000" b="1" dirty="0" smtClean="0">
                <a:solidFill>
                  <a:srgbClr val="C00000"/>
                </a:solidFill>
                <a:effectLst>
                  <a:outerShdw blurRad="38100" dist="38100" dir="2700000" algn="tl">
                    <a:srgbClr val="000000">
                      <a:alpha val="43137"/>
                    </a:srgbClr>
                  </a:outerShdw>
                </a:effectLst>
              </a:rPr>
              <a:t>Investigations   </a:t>
            </a:r>
            <a:endParaRPr lang="ar-EG" sz="40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1269190"/>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5" name="Picture 8" descr="Dsc01204a"/>
          <p:cNvPicPr>
            <a:picLocks noChangeAspect="1" noChangeArrowheads="1"/>
          </p:cNvPicPr>
          <p:nvPr/>
        </p:nvPicPr>
        <p:blipFill>
          <a:blip r:embed="rId2">
            <a:lum bright="30000" contrast="18000"/>
          </a:blip>
          <a:srcRect l="17160" t="8333" r="23462" b="8333"/>
          <a:stretch>
            <a:fillRect/>
          </a:stretch>
        </p:blipFill>
        <p:spPr bwMode="auto">
          <a:xfrm>
            <a:off x="1600200" y="457200"/>
            <a:ext cx="5943600" cy="5943600"/>
          </a:xfrm>
          <a:prstGeom prst="rect">
            <a:avLst/>
          </a:prstGeom>
          <a:noFill/>
          <a:ln w="9525">
            <a:noFill/>
            <a:miter lim="800000"/>
            <a:headEnd/>
            <a:tailEnd/>
          </a:ln>
        </p:spPr>
      </p:pic>
      <p:sp>
        <p:nvSpPr>
          <p:cNvPr id="40966" name="Line 9"/>
          <p:cNvSpPr>
            <a:spLocks noChangeShapeType="1"/>
          </p:cNvSpPr>
          <p:nvPr/>
        </p:nvSpPr>
        <p:spPr bwMode="auto">
          <a:xfrm flipV="1">
            <a:off x="5334000" y="4114800"/>
            <a:ext cx="395288" cy="1600200"/>
          </a:xfrm>
          <a:prstGeom prst="line">
            <a:avLst/>
          </a:prstGeom>
          <a:noFill/>
          <a:ln w="60325">
            <a:solidFill>
              <a:srgbClr val="FFFF00"/>
            </a:solidFill>
            <a:round/>
            <a:headEnd/>
            <a:tailEnd type="triangle" w="med" len="med"/>
          </a:ln>
        </p:spPr>
        <p:txBody>
          <a:bodyPr wrap="none"/>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40967" name="Oval 10"/>
          <p:cNvSpPr>
            <a:spLocks noChangeArrowheads="1"/>
          </p:cNvSpPr>
          <p:nvPr/>
        </p:nvSpPr>
        <p:spPr bwMode="auto">
          <a:xfrm>
            <a:off x="4267200" y="5791200"/>
            <a:ext cx="1524000" cy="914400"/>
          </a:xfrm>
          <a:prstGeom prst="ellipse">
            <a:avLst/>
          </a:prstGeom>
          <a:ln>
            <a:headEnd/>
            <a:tailEnd/>
          </a:ln>
        </p:spPr>
        <p:style>
          <a:lnRef idx="0">
            <a:schemeClr val="dk1"/>
          </a:lnRef>
          <a:fillRef idx="3">
            <a:schemeClr val="dk1"/>
          </a:fillRef>
          <a:effectRef idx="3">
            <a:schemeClr val="dk1"/>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smtClean="0">
                <a:ln>
                  <a:noFill/>
                </a:ln>
                <a:solidFill>
                  <a:srgbClr val="00A3D6"/>
                </a:solidFill>
                <a:effectLst/>
                <a:uLnTx/>
                <a:uFillTx/>
                <a:latin typeface="Georgia"/>
                <a:cs typeface="+mn-cs"/>
              </a:rPr>
              <a:t>Cavity</a:t>
            </a:r>
            <a:endParaRPr kumimoji="0" lang="en-US" altLang="zh-CN" sz="1800" b="0" i="0" u="none" strike="noStrike" kern="1200" cap="none" spc="0" normalizeH="0" baseline="0" noProof="0" dirty="0">
              <a:ln>
                <a:noFill/>
              </a:ln>
              <a:solidFill>
                <a:srgbClr val="00A3D6"/>
              </a:solidFill>
              <a:effectLst/>
              <a:uLnTx/>
              <a:uFillTx/>
              <a:latin typeface="Georgia"/>
              <a:cs typeface="+mn-cs"/>
            </a:endParaRPr>
          </a:p>
        </p:txBody>
      </p:sp>
    </p:spTree>
    <p:extLst>
      <p:ext uri="{BB962C8B-B14F-4D97-AF65-F5344CB8AC3E}">
        <p14:creationId xmlns:p14="http://schemas.microsoft.com/office/powerpoint/2010/main" val="765667799"/>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62001" y="1447800"/>
            <a:ext cx="7772399" cy="4185137"/>
          </a:xfrm>
        </p:spPr>
      </p:pic>
      <p:sp>
        <p:nvSpPr>
          <p:cNvPr id="2" name="Title 1"/>
          <p:cNvSpPr>
            <a:spLocks noGrp="1"/>
          </p:cNvSpPr>
          <p:nvPr>
            <p:ph type="title"/>
          </p:nvPr>
        </p:nvSpPr>
        <p:spPr/>
        <p:txBody>
          <a:bodyPr/>
          <a:lstStyle/>
          <a:p>
            <a:r>
              <a:rPr lang="en-US" b="1" dirty="0" smtClean="0">
                <a:solidFill>
                  <a:srgbClr val="C00000"/>
                </a:solidFill>
                <a:effectLst>
                  <a:outerShdw blurRad="38100" dist="38100" dir="2700000" algn="tl">
                    <a:srgbClr val="000000">
                      <a:alpha val="43137"/>
                    </a:srgbClr>
                  </a:outerShdw>
                </a:effectLst>
              </a:rPr>
              <a:t>What are further investigation?</a:t>
            </a:r>
            <a:endParaRPr lang="en-US"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90768170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E6CC93C-E814-4A13-B6A4-B3AF4D9E8EF3}"/>
              </a:ext>
            </a:extLst>
          </p:cNvPr>
          <p:cNvSpPr>
            <a:spLocks noGrp="1"/>
          </p:cNvSpPr>
          <p:nvPr>
            <p:ph sz="quarter" idx="1"/>
          </p:nvPr>
        </p:nvSpPr>
        <p:spPr/>
        <p:txBody>
          <a:bodyPr>
            <a:normAutofit/>
          </a:bodyPr>
          <a:lstStyle/>
          <a:p>
            <a:pPr algn="l">
              <a:buNone/>
            </a:pPr>
            <a:r>
              <a:rPr lang="en-US" sz="2800" b="1" u="sng" dirty="0">
                <a:solidFill>
                  <a:srgbClr val="00B050"/>
                </a:solidFill>
                <a:latin typeface="Arial" pitchFamily="34" charset="0"/>
                <a:cs typeface="Arial" pitchFamily="34" charset="0"/>
              </a:rPr>
              <a:t>Labs</a:t>
            </a:r>
            <a:endParaRPr lang="en-US" sz="2400" b="1" u="sng" dirty="0">
              <a:solidFill>
                <a:srgbClr val="00B050"/>
              </a:solidFill>
              <a:latin typeface="Arial" pitchFamily="34" charset="0"/>
              <a:cs typeface="Arial" pitchFamily="34" charset="0"/>
            </a:endParaRPr>
          </a:p>
          <a:p>
            <a:pPr algn="l" rtl="0">
              <a:lnSpc>
                <a:spcPct val="150000"/>
              </a:lnSpc>
              <a:buFont typeface="Wingdings" panose="05000000000000000000" pitchFamily="2" charset="2"/>
              <a:buChar char="Ø"/>
            </a:pPr>
            <a:r>
              <a:rPr lang="en-US" sz="2400" b="1" dirty="0">
                <a:solidFill>
                  <a:srgbClr val="002060"/>
                </a:solidFill>
                <a:latin typeface="Arial" pitchFamily="34" charset="0"/>
                <a:cs typeface="Arial" pitchFamily="34" charset="0"/>
              </a:rPr>
              <a:t>WBC: </a:t>
            </a:r>
            <a:r>
              <a:rPr lang="en-US" sz="2400" b="1" dirty="0" smtClean="0">
                <a:solidFill>
                  <a:srgbClr val="002060"/>
                </a:solidFill>
                <a:latin typeface="Arial" pitchFamily="34" charset="0"/>
                <a:cs typeface="Arial" pitchFamily="34" charset="0"/>
              </a:rPr>
              <a:t>9.4 </a:t>
            </a:r>
            <a:r>
              <a:rPr lang="en-US" sz="2400" b="1" dirty="0">
                <a:solidFill>
                  <a:srgbClr val="002060"/>
                </a:solidFill>
                <a:latin typeface="Arial" pitchFamily="34" charset="0"/>
                <a:cs typeface="Arial" pitchFamily="34" charset="0"/>
              </a:rPr>
              <a:t>x 10</a:t>
            </a:r>
            <a:r>
              <a:rPr lang="en-US" sz="2400" b="1" baseline="30000" dirty="0">
                <a:solidFill>
                  <a:srgbClr val="002060"/>
                </a:solidFill>
                <a:latin typeface="Arial" pitchFamily="34" charset="0"/>
                <a:cs typeface="Arial" pitchFamily="34" charset="0"/>
              </a:rPr>
              <a:t>9</a:t>
            </a:r>
            <a:r>
              <a:rPr lang="en-US" sz="2400" b="1" dirty="0">
                <a:solidFill>
                  <a:srgbClr val="002060"/>
                </a:solidFill>
                <a:latin typeface="Arial" pitchFamily="34" charset="0"/>
                <a:cs typeface="Arial" pitchFamily="34" charset="0"/>
              </a:rPr>
              <a:t>/L</a:t>
            </a:r>
          </a:p>
          <a:p>
            <a:pPr algn="l" rtl="0">
              <a:lnSpc>
                <a:spcPct val="150000"/>
              </a:lnSpc>
              <a:buFont typeface="Wingdings" panose="05000000000000000000" pitchFamily="2" charset="2"/>
              <a:buChar char="Ø"/>
            </a:pPr>
            <a:r>
              <a:rPr lang="en-US" sz="2400" b="1" dirty="0" smtClean="0">
                <a:solidFill>
                  <a:srgbClr val="002060"/>
                </a:solidFill>
                <a:latin typeface="Arial" pitchFamily="34" charset="0"/>
                <a:cs typeface="Arial" pitchFamily="34" charset="0"/>
              </a:rPr>
              <a:t>Hb</a:t>
            </a:r>
            <a:r>
              <a:rPr lang="en-US" sz="2400" b="1" dirty="0">
                <a:solidFill>
                  <a:srgbClr val="002060"/>
                </a:solidFill>
                <a:latin typeface="Arial" pitchFamily="34" charset="0"/>
                <a:cs typeface="Arial" pitchFamily="34" charset="0"/>
              </a:rPr>
              <a:t>: 11.4 g/dL</a:t>
            </a:r>
          </a:p>
          <a:p>
            <a:pPr algn="l" rtl="0">
              <a:lnSpc>
                <a:spcPct val="150000"/>
              </a:lnSpc>
              <a:buFont typeface="Wingdings" panose="05000000000000000000" pitchFamily="2" charset="2"/>
              <a:buChar char="Ø"/>
            </a:pPr>
            <a:r>
              <a:rPr lang="en-US" sz="2400" b="1" dirty="0">
                <a:solidFill>
                  <a:srgbClr val="002060"/>
                </a:solidFill>
                <a:latin typeface="Arial" pitchFamily="34" charset="0"/>
                <a:cs typeface="Arial" pitchFamily="34" charset="0"/>
              </a:rPr>
              <a:t>Platelets: 149 10</a:t>
            </a:r>
            <a:r>
              <a:rPr lang="en-US" sz="2400" b="1" baseline="30000" dirty="0">
                <a:solidFill>
                  <a:srgbClr val="002060"/>
                </a:solidFill>
                <a:latin typeface="Arial" pitchFamily="34" charset="0"/>
                <a:cs typeface="Arial" pitchFamily="34" charset="0"/>
              </a:rPr>
              <a:t>9</a:t>
            </a:r>
            <a:r>
              <a:rPr lang="en-US" sz="2400" b="1" dirty="0">
                <a:solidFill>
                  <a:srgbClr val="002060"/>
                </a:solidFill>
                <a:latin typeface="Arial" pitchFamily="34" charset="0"/>
                <a:cs typeface="Arial" pitchFamily="34" charset="0"/>
              </a:rPr>
              <a:t>/L</a:t>
            </a:r>
          </a:p>
          <a:p>
            <a:pPr algn="l" rtl="0">
              <a:lnSpc>
                <a:spcPct val="150000"/>
              </a:lnSpc>
              <a:buFont typeface="Wingdings" panose="05000000000000000000" pitchFamily="2" charset="2"/>
              <a:buChar char="Ø"/>
            </a:pPr>
            <a:r>
              <a:rPr lang="en-US" sz="2400" b="1" dirty="0">
                <a:solidFill>
                  <a:srgbClr val="002060"/>
                </a:solidFill>
                <a:latin typeface="Arial" pitchFamily="34" charset="0"/>
                <a:cs typeface="Arial" pitchFamily="34" charset="0"/>
              </a:rPr>
              <a:t>Creatinine: 1.8</a:t>
            </a:r>
          </a:p>
        </p:txBody>
      </p:sp>
      <p:sp>
        <p:nvSpPr>
          <p:cNvPr id="4" name="Title 2"/>
          <p:cNvSpPr>
            <a:spLocks noGrp="1"/>
          </p:cNvSpPr>
          <p:nvPr>
            <p:ph type="title"/>
          </p:nvPr>
        </p:nvSpPr>
        <p:spPr>
          <a:xfrm>
            <a:off x="762000" y="384048"/>
            <a:ext cx="7470648" cy="682752"/>
          </a:xfrm>
        </p:spPr>
        <p:style>
          <a:lnRef idx="3">
            <a:schemeClr val="lt1"/>
          </a:lnRef>
          <a:fillRef idx="1">
            <a:schemeClr val="accent5"/>
          </a:fillRef>
          <a:effectRef idx="1">
            <a:schemeClr val="accent5"/>
          </a:effectRef>
          <a:fontRef idx="minor">
            <a:schemeClr val="lt1"/>
          </a:fontRef>
        </p:style>
        <p:txBody>
          <a:bodyPr>
            <a:noAutofit/>
          </a:bodyPr>
          <a:lstStyle/>
          <a:p>
            <a:r>
              <a:rPr lang="en-US" sz="4000" b="1" dirty="0" smtClean="0">
                <a:solidFill>
                  <a:srgbClr val="C00000"/>
                </a:solidFill>
                <a:effectLst>
                  <a:outerShdw blurRad="38100" dist="38100" dir="2700000" algn="tl">
                    <a:srgbClr val="000000">
                      <a:alpha val="43137"/>
                    </a:srgbClr>
                  </a:outerShdw>
                </a:effectLst>
              </a:rPr>
              <a:t>Investigations   </a:t>
            </a:r>
            <a:endParaRPr lang="ar-EG" sz="40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19397623"/>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85801" y="1910863"/>
            <a:ext cx="7772399" cy="4185137"/>
          </a:xfrm>
        </p:spPr>
      </p:pic>
      <p:sp>
        <p:nvSpPr>
          <p:cNvPr id="2" name="Title 1"/>
          <p:cNvSpPr>
            <a:spLocks noGrp="1"/>
          </p:cNvSpPr>
          <p:nvPr>
            <p:ph type="title"/>
          </p:nvPr>
        </p:nvSpPr>
        <p:spPr>
          <a:xfrm>
            <a:off x="301752" y="612648"/>
            <a:ext cx="8534400" cy="758952"/>
          </a:xfrm>
        </p:spPr>
        <p:txBody>
          <a:bodyPr>
            <a:normAutofit fontScale="90000"/>
          </a:bodyPr>
          <a:lstStyle/>
          <a:p>
            <a:r>
              <a:rPr lang="en-US" b="1" dirty="0" smtClean="0">
                <a:solidFill>
                  <a:srgbClr val="C00000"/>
                </a:solidFill>
                <a:effectLst>
                  <a:outerShdw blurRad="38100" dist="38100" dir="2700000" algn="tl">
                    <a:srgbClr val="000000">
                      <a:alpha val="43137"/>
                    </a:srgbClr>
                  </a:outerShdw>
                </a:effectLst>
              </a:rPr>
              <a:t>After lab result and CXR, What is your diagnosis</a:t>
            </a:r>
            <a:endParaRPr lang="en-US"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38469227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E6CC93C-E814-4A13-B6A4-B3AF4D9E8EF3}"/>
              </a:ext>
            </a:extLst>
          </p:cNvPr>
          <p:cNvSpPr>
            <a:spLocks noGrp="1"/>
          </p:cNvSpPr>
          <p:nvPr>
            <p:ph sz="quarter" idx="1"/>
          </p:nvPr>
        </p:nvSpPr>
        <p:spPr>
          <a:xfrm>
            <a:off x="792480" y="1676400"/>
            <a:ext cx="8503920" cy="4572000"/>
          </a:xfrm>
        </p:spPr>
        <p:txBody>
          <a:bodyPr>
            <a:normAutofit/>
          </a:bodyPr>
          <a:lstStyle/>
          <a:p>
            <a:pPr algn="l">
              <a:buNone/>
            </a:pPr>
            <a:r>
              <a:rPr lang="en-US" sz="2800" b="1" u="sng" dirty="0" smtClean="0">
                <a:solidFill>
                  <a:srgbClr val="00B050"/>
                </a:solidFill>
                <a:latin typeface="Candara" pitchFamily="34" charset="0"/>
                <a:cs typeface="Arial" pitchFamily="34" charset="0"/>
              </a:rPr>
              <a:t>The Most probable diagnosis is ?</a:t>
            </a:r>
          </a:p>
          <a:p>
            <a:pPr marL="457200" indent="-457200">
              <a:lnSpc>
                <a:spcPct val="150000"/>
              </a:lnSpc>
              <a:buFont typeface="+mj-lt"/>
              <a:buAutoNum type="alphaUcPeriod"/>
            </a:pPr>
            <a:r>
              <a:rPr lang="en-US" sz="2400" b="1" dirty="0" smtClean="0">
                <a:solidFill>
                  <a:srgbClr val="002060"/>
                </a:solidFill>
                <a:latin typeface="Arial" pitchFamily="34" charset="0"/>
                <a:cs typeface="Arial" pitchFamily="34" charset="0"/>
              </a:rPr>
              <a:t>Bronchiectasis</a:t>
            </a:r>
          </a:p>
          <a:p>
            <a:pPr marL="457200" indent="-457200">
              <a:lnSpc>
                <a:spcPct val="150000"/>
              </a:lnSpc>
              <a:buFont typeface="+mj-lt"/>
              <a:buAutoNum type="alphaUcPeriod"/>
            </a:pPr>
            <a:r>
              <a:rPr lang="en-US" sz="2400" b="1" dirty="0" smtClean="0">
                <a:solidFill>
                  <a:srgbClr val="002060"/>
                </a:solidFill>
                <a:latin typeface="Arial" pitchFamily="34" charset="0"/>
                <a:cs typeface="Arial" pitchFamily="34" charset="0"/>
              </a:rPr>
              <a:t>Lung abscess</a:t>
            </a:r>
          </a:p>
          <a:p>
            <a:pPr marL="457200" indent="-457200">
              <a:lnSpc>
                <a:spcPct val="150000"/>
              </a:lnSpc>
              <a:buFont typeface="+mj-lt"/>
              <a:buAutoNum type="alphaUcPeriod"/>
            </a:pPr>
            <a:r>
              <a:rPr lang="en-US" sz="2400" b="1" dirty="0" smtClean="0">
                <a:solidFill>
                  <a:srgbClr val="002060"/>
                </a:solidFill>
                <a:latin typeface="Arial" pitchFamily="34" charset="0"/>
                <a:cs typeface="Arial" pitchFamily="34" charset="0"/>
              </a:rPr>
              <a:t>Pneumonia </a:t>
            </a:r>
          </a:p>
          <a:p>
            <a:pPr marL="457200" indent="-457200">
              <a:lnSpc>
                <a:spcPct val="150000"/>
              </a:lnSpc>
              <a:buFont typeface="+mj-lt"/>
              <a:buAutoNum type="alphaUcPeriod"/>
            </a:pPr>
            <a:r>
              <a:rPr lang="en-US" sz="2400" b="1" dirty="0" smtClean="0">
                <a:solidFill>
                  <a:srgbClr val="002060"/>
                </a:solidFill>
                <a:latin typeface="Arial" pitchFamily="34" charset="0"/>
                <a:cs typeface="Arial" pitchFamily="34" charset="0"/>
              </a:rPr>
              <a:t>Tuberculosis</a:t>
            </a:r>
          </a:p>
          <a:p>
            <a:pPr marL="457200" indent="-457200">
              <a:lnSpc>
                <a:spcPct val="150000"/>
              </a:lnSpc>
              <a:buFont typeface="+mj-lt"/>
              <a:buAutoNum type="alphaUcPeriod"/>
            </a:pPr>
            <a:r>
              <a:rPr lang="en-US" sz="2400" b="1" dirty="0" smtClean="0">
                <a:solidFill>
                  <a:srgbClr val="002060"/>
                </a:solidFill>
                <a:latin typeface="Arial" pitchFamily="34" charset="0"/>
                <a:cs typeface="Arial" pitchFamily="34" charset="0"/>
              </a:rPr>
              <a:t>Lung cancer</a:t>
            </a:r>
          </a:p>
          <a:p>
            <a:pPr marL="457200" indent="-457200">
              <a:lnSpc>
                <a:spcPct val="150000"/>
              </a:lnSpc>
              <a:buFont typeface="+mj-lt"/>
              <a:buAutoNum type="alphaUcPeriod"/>
            </a:pPr>
            <a:r>
              <a:rPr lang="en-US" sz="2400" b="1" dirty="0" smtClean="0">
                <a:solidFill>
                  <a:srgbClr val="002060"/>
                </a:solidFill>
                <a:latin typeface="Arial" pitchFamily="34" charset="0"/>
                <a:cs typeface="Arial" pitchFamily="34" charset="0"/>
              </a:rPr>
              <a:t>Fungal infection</a:t>
            </a:r>
          </a:p>
        </p:txBody>
      </p:sp>
      <p:sp>
        <p:nvSpPr>
          <p:cNvPr id="4" name="Title 2"/>
          <p:cNvSpPr>
            <a:spLocks noGrp="1"/>
          </p:cNvSpPr>
          <p:nvPr>
            <p:ph type="title"/>
          </p:nvPr>
        </p:nvSpPr>
        <p:spPr>
          <a:xfrm>
            <a:off x="762000" y="384048"/>
            <a:ext cx="7470648" cy="682752"/>
          </a:xfrm>
        </p:spPr>
        <p:style>
          <a:lnRef idx="3">
            <a:schemeClr val="lt1"/>
          </a:lnRef>
          <a:fillRef idx="1">
            <a:schemeClr val="accent5"/>
          </a:fillRef>
          <a:effectRef idx="1">
            <a:schemeClr val="accent5"/>
          </a:effectRef>
          <a:fontRef idx="minor">
            <a:schemeClr val="lt1"/>
          </a:fontRef>
        </p:style>
        <p:txBody>
          <a:bodyPr>
            <a:noAutofit/>
          </a:bodyPr>
          <a:lstStyle/>
          <a:p>
            <a:r>
              <a:rPr lang="en-US" sz="4000" b="1" dirty="0" smtClean="0">
                <a:solidFill>
                  <a:srgbClr val="C00000"/>
                </a:solidFill>
                <a:effectLst>
                  <a:outerShdw blurRad="38100" dist="38100" dir="2700000" algn="tl">
                    <a:srgbClr val="000000">
                      <a:alpha val="43137"/>
                    </a:srgbClr>
                  </a:outerShdw>
                </a:effectLst>
              </a:rPr>
              <a:t>Diagnosis   </a:t>
            </a:r>
            <a:endParaRPr lang="ar-EG" sz="40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19128429"/>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85801" y="1910863"/>
            <a:ext cx="7772399" cy="4185137"/>
          </a:xfrm>
        </p:spPr>
      </p:pic>
      <p:sp>
        <p:nvSpPr>
          <p:cNvPr id="2" name="Title 1"/>
          <p:cNvSpPr>
            <a:spLocks noGrp="1"/>
          </p:cNvSpPr>
          <p:nvPr>
            <p:ph type="title"/>
          </p:nvPr>
        </p:nvSpPr>
        <p:spPr>
          <a:xfrm>
            <a:off x="301752" y="612648"/>
            <a:ext cx="8534400" cy="758952"/>
          </a:xfrm>
        </p:spPr>
        <p:txBody>
          <a:bodyPr>
            <a:normAutofit/>
          </a:bodyPr>
          <a:lstStyle/>
          <a:p>
            <a:r>
              <a:rPr lang="en-US" b="1" dirty="0" smtClean="0">
                <a:solidFill>
                  <a:srgbClr val="C00000"/>
                </a:solidFill>
                <a:effectLst>
                  <a:outerShdw blurRad="38100" dist="38100" dir="2700000" algn="tl">
                    <a:srgbClr val="000000">
                      <a:alpha val="43137"/>
                    </a:srgbClr>
                  </a:outerShdw>
                </a:effectLst>
              </a:rPr>
              <a:t>What are further investigation ?</a:t>
            </a:r>
            <a:endParaRPr lang="en-US"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11058826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E6CC93C-E814-4A13-B6A4-B3AF4D9E8EF3}"/>
              </a:ext>
            </a:extLst>
          </p:cNvPr>
          <p:cNvSpPr>
            <a:spLocks noGrp="1"/>
          </p:cNvSpPr>
          <p:nvPr>
            <p:ph sz="quarter" idx="1"/>
          </p:nvPr>
        </p:nvSpPr>
        <p:spPr>
          <a:xfrm>
            <a:off x="792480" y="1676400"/>
            <a:ext cx="8503920" cy="4572000"/>
          </a:xfrm>
        </p:spPr>
        <p:txBody>
          <a:bodyPr>
            <a:normAutofit/>
          </a:bodyPr>
          <a:lstStyle/>
          <a:p>
            <a:pPr algn="l">
              <a:buNone/>
            </a:pPr>
            <a:r>
              <a:rPr lang="en-US" sz="2800" b="1" u="sng" dirty="0" smtClean="0">
                <a:solidFill>
                  <a:srgbClr val="00B050"/>
                </a:solidFill>
                <a:latin typeface="Candara" pitchFamily="34" charset="0"/>
                <a:cs typeface="Arial" pitchFamily="34" charset="0"/>
              </a:rPr>
              <a:t>What are further investigation ?</a:t>
            </a:r>
          </a:p>
          <a:p>
            <a:pPr marL="457200" indent="-457200">
              <a:lnSpc>
                <a:spcPct val="150000"/>
              </a:lnSpc>
              <a:buFont typeface="+mj-lt"/>
              <a:buAutoNum type="alphaUcPeriod"/>
            </a:pPr>
            <a:r>
              <a:rPr lang="en-US" sz="2400" b="1" dirty="0" smtClean="0">
                <a:solidFill>
                  <a:srgbClr val="002060"/>
                </a:solidFill>
                <a:latin typeface="Arial" pitchFamily="34" charset="0"/>
                <a:cs typeface="Arial" pitchFamily="34" charset="0"/>
              </a:rPr>
              <a:t>Tuberculin test</a:t>
            </a:r>
          </a:p>
          <a:p>
            <a:pPr marL="457200" indent="-457200">
              <a:lnSpc>
                <a:spcPct val="150000"/>
              </a:lnSpc>
              <a:buFont typeface="+mj-lt"/>
              <a:buAutoNum type="alphaUcPeriod"/>
            </a:pPr>
            <a:r>
              <a:rPr lang="en-US" sz="2400" b="1" dirty="0" smtClean="0">
                <a:solidFill>
                  <a:srgbClr val="002060"/>
                </a:solidFill>
                <a:latin typeface="Arial" pitchFamily="34" charset="0"/>
                <a:cs typeface="Arial" pitchFamily="34" charset="0"/>
              </a:rPr>
              <a:t>Sputum acid-fast bacilli</a:t>
            </a:r>
          </a:p>
          <a:p>
            <a:pPr marL="457200" indent="-457200">
              <a:lnSpc>
                <a:spcPct val="150000"/>
              </a:lnSpc>
              <a:buFont typeface="+mj-lt"/>
              <a:buAutoNum type="alphaUcPeriod"/>
            </a:pPr>
            <a:r>
              <a:rPr lang="en-US" sz="2400" b="1" dirty="0" smtClean="0">
                <a:solidFill>
                  <a:srgbClr val="002060"/>
                </a:solidFill>
                <a:latin typeface="Arial" pitchFamily="34" charset="0"/>
                <a:cs typeface="Arial" pitchFamily="34" charset="0"/>
              </a:rPr>
              <a:t>Sputum C/S</a:t>
            </a:r>
          </a:p>
          <a:p>
            <a:pPr marL="457200" indent="-457200">
              <a:lnSpc>
                <a:spcPct val="150000"/>
              </a:lnSpc>
              <a:buFont typeface="+mj-lt"/>
              <a:buAutoNum type="alphaUcPeriod"/>
            </a:pPr>
            <a:r>
              <a:rPr lang="en-US" sz="2400" b="1" dirty="0" smtClean="0">
                <a:solidFill>
                  <a:srgbClr val="002060"/>
                </a:solidFill>
                <a:latin typeface="Arial" pitchFamily="34" charset="0"/>
                <a:cs typeface="Arial" pitchFamily="34" charset="0"/>
              </a:rPr>
              <a:t>ESR</a:t>
            </a:r>
          </a:p>
        </p:txBody>
      </p:sp>
      <p:sp>
        <p:nvSpPr>
          <p:cNvPr id="4" name="Title 2"/>
          <p:cNvSpPr>
            <a:spLocks noGrp="1"/>
          </p:cNvSpPr>
          <p:nvPr>
            <p:ph type="title"/>
          </p:nvPr>
        </p:nvSpPr>
        <p:spPr>
          <a:xfrm>
            <a:off x="762000" y="384048"/>
            <a:ext cx="7470648" cy="682752"/>
          </a:xfrm>
        </p:spPr>
        <p:style>
          <a:lnRef idx="3">
            <a:schemeClr val="lt1"/>
          </a:lnRef>
          <a:fillRef idx="1">
            <a:schemeClr val="accent5"/>
          </a:fillRef>
          <a:effectRef idx="1">
            <a:schemeClr val="accent5"/>
          </a:effectRef>
          <a:fontRef idx="minor">
            <a:schemeClr val="lt1"/>
          </a:fontRef>
        </p:style>
        <p:txBody>
          <a:bodyPr>
            <a:noAutofit/>
          </a:bodyPr>
          <a:lstStyle/>
          <a:p>
            <a:r>
              <a:rPr lang="en-US" sz="4000" b="1" dirty="0" smtClean="0">
                <a:solidFill>
                  <a:srgbClr val="C00000"/>
                </a:solidFill>
                <a:effectLst>
                  <a:outerShdw blurRad="38100" dist="38100" dir="2700000" algn="tl">
                    <a:srgbClr val="000000">
                      <a:alpha val="43137"/>
                    </a:srgbClr>
                  </a:outerShdw>
                </a:effectLst>
              </a:rPr>
              <a:t>Further Investigation    </a:t>
            </a:r>
            <a:endParaRPr lang="ar-EG" sz="40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1563520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625" y="0"/>
            <a:ext cx="8135938" cy="1143000"/>
          </a:xfrm>
        </p:spPr>
        <p:txBody>
          <a:bodyPr/>
          <a:lstStyle/>
          <a:p>
            <a:pPr>
              <a:defRPr/>
            </a:pPr>
            <a:r>
              <a:rPr lang="en-US" sz="3600" u="sng" dirty="0" smtClean="0"/>
              <a:t>CXR</a:t>
            </a:r>
            <a:endParaRPr lang="en-US" sz="3600" u="sng" dirty="0"/>
          </a:p>
        </p:txBody>
      </p:sp>
      <p:pic>
        <p:nvPicPr>
          <p:cNvPr id="7171" name="Picture 2" descr="C:\Users\DR-Waled\Desktop\Right-middle-lobe-pneumonia.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600200" y="304800"/>
            <a:ext cx="6400800" cy="6553199"/>
          </a:xfr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83849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03CF969-0D63-4C19-87AA-4777060DD37E}"/>
              </a:ext>
            </a:extLst>
          </p:cNvPr>
          <p:cNvSpPr>
            <a:spLocks noGrp="1"/>
          </p:cNvSpPr>
          <p:nvPr>
            <p:ph sz="quarter" idx="1"/>
          </p:nvPr>
        </p:nvSpPr>
        <p:spPr>
          <a:xfrm>
            <a:off x="762000" y="1527048"/>
            <a:ext cx="8043672" cy="4572000"/>
          </a:xfrm>
        </p:spPr>
        <p:txBody>
          <a:bodyPr>
            <a:normAutofit/>
          </a:bodyPr>
          <a:lstStyle/>
          <a:p>
            <a:pPr marL="0" marR="0" algn="l" rtl="0">
              <a:lnSpc>
                <a:spcPct val="150000"/>
              </a:lnSpc>
              <a:spcBef>
                <a:spcPts val="0"/>
              </a:spcBef>
              <a:spcAft>
                <a:spcPts val="800"/>
              </a:spcAft>
            </a:pPr>
            <a:r>
              <a:rPr lang="en-US" sz="2400" b="1" dirty="0">
                <a:solidFill>
                  <a:srgbClr val="002060"/>
                </a:solidFill>
                <a:latin typeface="Candara" pitchFamily="34" charset="0"/>
                <a:cs typeface="Times New Roman" pitchFamily="18" charset="0"/>
              </a:rPr>
              <a:t>A Tuberculin skin test was done and was found to be positive with an induration of 25mm.</a:t>
            </a:r>
          </a:p>
          <a:p>
            <a:pPr marL="0" marR="0" algn="l" rtl="0">
              <a:lnSpc>
                <a:spcPct val="150000"/>
              </a:lnSpc>
              <a:spcBef>
                <a:spcPts val="0"/>
              </a:spcBef>
              <a:spcAft>
                <a:spcPts val="800"/>
              </a:spcAft>
            </a:pPr>
            <a:r>
              <a:rPr lang="en-US" sz="2400" b="1" dirty="0">
                <a:solidFill>
                  <a:srgbClr val="002060"/>
                </a:solidFill>
                <a:latin typeface="Candara" pitchFamily="34" charset="0"/>
                <a:cs typeface="Times New Roman" pitchFamily="18" charset="0"/>
              </a:rPr>
              <a:t>Sputum analysis for AFB smear was positive.</a:t>
            </a:r>
          </a:p>
          <a:p>
            <a:endParaRPr lang="en-US" sz="2800" b="1" dirty="0">
              <a:solidFill>
                <a:srgbClr val="002060"/>
              </a:solidFill>
              <a:latin typeface="Candara" pitchFamily="34" charset="0"/>
            </a:endParaRPr>
          </a:p>
        </p:txBody>
      </p:sp>
      <p:sp>
        <p:nvSpPr>
          <p:cNvPr id="4" name="Title 2"/>
          <p:cNvSpPr>
            <a:spLocks noGrp="1"/>
          </p:cNvSpPr>
          <p:nvPr>
            <p:ph type="title"/>
          </p:nvPr>
        </p:nvSpPr>
        <p:spPr>
          <a:xfrm>
            <a:off x="762000" y="384048"/>
            <a:ext cx="7470648" cy="682752"/>
          </a:xfrm>
        </p:spPr>
        <p:style>
          <a:lnRef idx="3">
            <a:schemeClr val="lt1"/>
          </a:lnRef>
          <a:fillRef idx="1">
            <a:schemeClr val="accent5"/>
          </a:fillRef>
          <a:effectRef idx="1">
            <a:schemeClr val="accent5"/>
          </a:effectRef>
          <a:fontRef idx="minor">
            <a:schemeClr val="lt1"/>
          </a:fontRef>
        </p:style>
        <p:txBody>
          <a:bodyPr>
            <a:noAutofit/>
          </a:bodyPr>
          <a:lstStyle/>
          <a:p>
            <a:r>
              <a:rPr lang="en-US" sz="4000" b="1" dirty="0" smtClean="0">
                <a:solidFill>
                  <a:srgbClr val="C00000"/>
                </a:solidFill>
                <a:effectLst>
                  <a:outerShdw blurRad="38100" dist="38100" dir="2700000" algn="tl">
                    <a:srgbClr val="000000">
                      <a:alpha val="43137"/>
                    </a:srgbClr>
                  </a:outerShdw>
                </a:effectLst>
              </a:rPr>
              <a:t>Further Investigation    </a:t>
            </a:r>
            <a:endParaRPr lang="ar-EG" sz="40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038324197"/>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ChangeArrowheads="1"/>
          </p:cNvSpPr>
          <p:nvPr>
            <p:ph type="title"/>
          </p:nvPr>
        </p:nvSpPr>
        <p:spPr>
          <a:xfrm>
            <a:off x="609600" y="366690"/>
            <a:ext cx="8001000" cy="700110"/>
          </a:xfrm>
        </p:spPr>
        <p:style>
          <a:lnRef idx="0">
            <a:schemeClr val="accent1"/>
          </a:lnRef>
          <a:fillRef idx="3">
            <a:schemeClr val="accent1"/>
          </a:fillRef>
          <a:effectRef idx="3">
            <a:schemeClr val="accent1"/>
          </a:effectRef>
          <a:fontRef idx="minor">
            <a:schemeClr val="lt1"/>
          </a:fontRef>
        </p:style>
        <p:txBody>
          <a:bodyPr/>
          <a:lstStyle/>
          <a:p>
            <a:pPr eaLnBrk="1" hangingPunct="1">
              <a:defRPr/>
            </a:pPr>
            <a:r>
              <a:rPr lang="en-US" sz="4000" b="1" dirty="0" smtClean="0">
                <a:solidFill>
                  <a:srgbClr val="FF0000"/>
                </a:solidFill>
                <a:latin typeface="Sitka Display" pitchFamily="2" charset="0"/>
              </a:rPr>
              <a:t>Tuberculin Testing “Mantoux Test”</a:t>
            </a:r>
          </a:p>
        </p:txBody>
      </p:sp>
      <p:grpSp>
        <p:nvGrpSpPr>
          <p:cNvPr id="2" name="Group 3"/>
          <p:cNvGrpSpPr>
            <a:grpSpLocks noChangeAspect="1"/>
          </p:cNvGrpSpPr>
          <p:nvPr/>
        </p:nvGrpSpPr>
        <p:grpSpPr bwMode="auto">
          <a:xfrm>
            <a:off x="685800" y="1371600"/>
            <a:ext cx="2886068" cy="3057532"/>
            <a:chOff x="3996" y="1128"/>
            <a:chExt cx="2304" cy="1536"/>
          </a:xfrm>
        </p:grpSpPr>
        <p:pic>
          <p:nvPicPr>
            <p:cNvPr id="1037" name="Picture 4" descr="DSC00007"/>
            <p:cNvPicPr>
              <a:picLocks noChangeAspect="1" noChangeArrowheads="1"/>
            </p:cNvPicPr>
            <p:nvPr/>
          </p:nvPicPr>
          <p:blipFill>
            <a:blip r:embed="rId4"/>
            <a:srcRect/>
            <a:stretch>
              <a:fillRect/>
            </a:stretch>
          </p:blipFill>
          <p:spPr bwMode="auto">
            <a:xfrm>
              <a:off x="3996" y="1128"/>
              <a:ext cx="2304" cy="1536"/>
            </a:xfrm>
            <a:prstGeom prst="rect">
              <a:avLst/>
            </a:prstGeom>
            <a:noFill/>
            <a:ln w="9525">
              <a:noFill/>
              <a:miter lim="800000"/>
              <a:headEnd/>
              <a:tailEnd/>
            </a:ln>
          </p:spPr>
        </p:pic>
        <p:sp>
          <p:nvSpPr>
            <p:cNvPr id="1038" name="Rectangle 5"/>
            <p:cNvSpPr>
              <a:spLocks noChangeAspect="1" noChangeArrowheads="1"/>
            </p:cNvSpPr>
            <p:nvPr/>
          </p:nvSpPr>
          <p:spPr bwMode="auto">
            <a:xfrm>
              <a:off x="3996" y="1128"/>
              <a:ext cx="2304" cy="1536"/>
            </a:xfrm>
            <a:prstGeom prst="rect">
              <a:avLst/>
            </a:prstGeom>
            <a:noFill/>
            <a:ln w="9525">
              <a:no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r-EG" sz="1800" b="0" i="0" u="none" strike="noStrike" kern="1200" cap="none" spc="0" normalizeH="0" baseline="0" noProof="0">
                <a:ln>
                  <a:noFill/>
                </a:ln>
                <a:solidFill>
                  <a:srgbClr val="FFFFFF"/>
                </a:solidFill>
                <a:effectLst/>
                <a:uLnTx/>
                <a:uFillTx/>
                <a:latin typeface="Times New Roman"/>
                <a:ea typeface="SimSun"/>
                <a:cs typeface="+mn-cs"/>
              </a:endParaRPr>
            </a:p>
          </p:txBody>
        </p:sp>
      </p:grpSp>
      <p:pic>
        <p:nvPicPr>
          <p:cNvPr id="1029" name="Picture 6" descr="ppd3"/>
          <p:cNvPicPr>
            <a:picLocks noChangeAspect="1" noChangeArrowheads="1"/>
          </p:cNvPicPr>
          <p:nvPr/>
        </p:nvPicPr>
        <p:blipFill>
          <a:blip r:embed="rId5"/>
          <a:srcRect l="23517" t="10001" r="6329" b="18250"/>
          <a:stretch>
            <a:fillRect/>
          </a:stretch>
        </p:blipFill>
        <p:spPr bwMode="auto">
          <a:xfrm>
            <a:off x="5067305" y="1371600"/>
            <a:ext cx="3467095" cy="2986094"/>
          </a:xfrm>
          <a:prstGeom prst="rect">
            <a:avLst/>
          </a:prstGeom>
          <a:noFill/>
          <a:ln w="76200" cmpd="tri">
            <a:noFill/>
            <a:miter lim="800000"/>
            <a:headEnd/>
            <a:tailEnd/>
          </a:ln>
        </p:spPr>
      </p:pic>
      <p:sp>
        <p:nvSpPr>
          <p:cNvPr id="1030" name="Line 7"/>
          <p:cNvSpPr>
            <a:spLocks noChangeShapeType="1"/>
          </p:cNvSpPr>
          <p:nvPr/>
        </p:nvSpPr>
        <p:spPr bwMode="auto">
          <a:xfrm>
            <a:off x="3657600" y="2819400"/>
            <a:ext cx="1219200" cy="0"/>
          </a:xfrm>
          <a:prstGeom prst="line">
            <a:avLst/>
          </a:prstGeom>
          <a:noFill/>
          <a:ln w="50800">
            <a:solidFill>
              <a:schemeClr val="accent1"/>
            </a:solidFill>
            <a:round/>
            <a:headEnd/>
            <a:tailEnd type="triangle" w="med" len="me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imes New Roman"/>
              <a:ea typeface="SimSun"/>
              <a:cs typeface="+mn-cs"/>
            </a:endParaRPr>
          </a:p>
        </p:txBody>
      </p:sp>
      <p:sp>
        <p:nvSpPr>
          <p:cNvPr id="1031" name="Text Box 8"/>
          <p:cNvSpPr txBox="1">
            <a:spLocks noChangeArrowheads="1"/>
          </p:cNvSpPr>
          <p:nvPr/>
        </p:nvSpPr>
        <p:spPr bwMode="auto">
          <a:xfrm>
            <a:off x="3643306" y="2286000"/>
            <a:ext cx="1285884" cy="954107"/>
          </a:xfrm>
          <a:prstGeom prst="rect">
            <a:avLst/>
          </a:prstGeom>
          <a:noFill/>
          <a:ln w="12700">
            <a:noFill/>
            <a:miter lim="800000"/>
            <a:headEnd/>
            <a:tailEnd/>
          </a:ln>
        </p:spPr>
        <p:txBody>
          <a:bodyPr wrap="square">
            <a:spAutoFit/>
          </a:body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itka Display" pitchFamily="2" charset="0"/>
                <a:ea typeface="SimSun"/>
                <a:cs typeface="+mn-cs"/>
              </a:rPr>
              <a:t>48 </a:t>
            </a:r>
            <a:r>
              <a:rPr kumimoji="0" lang="en-US" sz="2800" b="1" i="0" u="none" strike="noStrike" kern="1200" cap="none" spc="0" normalizeH="0" baseline="0" noProof="0" dirty="0" smtClean="0">
                <a:ln>
                  <a:noFill/>
                </a:ln>
                <a:solidFill>
                  <a:srgbClr val="FFFFFF"/>
                </a:solidFill>
                <a:effectLst/>
                <a:uLnTx/>
                <a:uFillTx/>
                <a:latin typeface="Sitka Display" pitchFamily="2" charset="0"/>
                <a:ea typeface="SimSun"/>
                <a:cs typeface="+mn-cs"/>
              </a:rPr>
              <a:t>- </a:t>
            </a:r>
            <a:r>
              <a:rPr kumimoji="0" lang="en-US" sz="2800" b="1" i="0" u="none" strike="noStrike" kern="1200" cap="none" spc="0" normalizeH="0" baseline="0" noProof="0" dirty="0">
                <a:ln>
                  <a:noFill/>
                </a:ln>
                <a:solidFill>
                  <a:srgbClr val="FFFFFF"/>
                </a:solidFill>
                <a:effectLst/>
                <a:uLnTx/>
                <a:uFillTx/>
                <a:latin typeface="Sitka Display" pitchFamily="2" charset="0"/>
                <a:ea typeface="SimSun"/>
                <a:cs typeface="+mn-cs"/>
              </a:rPr>
              <a:t>72 </a:t>
            </a:r>
            <a:r>
              <a:rPr kumimoji="0" lang="en-US" sz="2800" b="1" i="0" u="none" strike="noStrike" kern="1200" cap="none" spc="0" normalizeH="0" baseline="0" noProof="0" dirty="0" smtClean="0">
                <a:ln>
                  <a:noFill/>
                </a:ln>
                <a:solidFill>
                  <a:srgbClr val="FFFFFF"/>
                </a:solidFill>
                <a:effectLst/>
                <a:uLnTx/>
                <a:uFillTx/>
                <a:latin typeface="Sitka Display" pitchFamily="2" charset="0"/>
                <a:ea typeface="SimSun"/>
                <a:cs typeface="+mn-cs"/>
              </a:rPr>
              <a:t>  hours</a:t>
            </a:r>
            <a:endParaRPr kumimoji="0" lang="en-US" sz="3600" b="1" i="0" u="none" strike="noStrike" kern="1200" cap="none" spc="0" normalizeH="0" baseline="0" noProof="0" dirty="0">
              <a:ln>
                <a:noFill/>
              </a:ln>
              <a:solidFill>
                <a:srgbClr val="FFFFFF"/>
              </a:solidFill>
              <a:effectLst/>
              <a:uLnTx/>
              <a:uFillTx/>
              <a:latin typeface="Sitka Display" pitchFamily="2" charset="0"/>
              <a:ea typeface="SimSun"/>
              <a:cs typeface="+mn-cs"/>
            </a:endParaRPr>
          </a:p>
        </p:txBody>
      </p:sp>
      <p:graphicFrame>
        <p:nvGraphicFramePr>
          <p:cNvPr id="1026" name="Object 9"/>
          <p:cNvGraphicFramePr>
            <a:graphicFrameLocks noChangeAspect="1"/>
          </p:cNvGraphicFramePr>
          <p:nvPr/>
        </p:nvGraphicFramePr>
        <p:xfrm>
          <a:off x="1785918" y="4071918"/>
          <a:ext cx="5219700" cy="2786082"/>
        </p:xfrm>
        <a:graphic>
          <a:graphicData uri="http://schemas.openxmlformats.org/presentationml/2006/ole">
            <mc:AlternateContent xmlns:mc="http://schemas.openxmlformats.org/markup-compatibility/2006">
              <mc:Choice xmlns:v="urn:schemas-microsoft-com:vml" Requires="v">
                <p:oleObj spid="_x0000_s294918" name="Document" r:id="rId6" imgW="5486400" imgH="2282952" progId="Word.Document.8">
                  <p:embed/>
                </p:oleObj>
              </mc:Choice>
              <mc:Fallback>
                <p:oleObj name="Document" r:id="rId6" imgW="5486400" imgH="2282952" progId="Word.Document.8">
                  <p:embed/>
                  <p:pic>
                    <p:nvPicPr>
                      <p:cNvPr id="1026" name="Object 9"/>
                      <p:cNvPicPr>
                        <a:picLocks noChangeAspect="1" noChangeArrowheads="1"/>
                      </p:cNvPicPr>
                      <p:nvPr/>
                    </p:nvPicPr>
                    <p:blipFill>
                      <a:blip r:embed="rId7">
                        <a:extLst>
                          <a:ext uri="{28A0092B-C50C-407E-A947-70E740481C1C}">
                            <a14:useLocalDpi xmlns:a14="http://schemas.microsoft.com/office/drawing/2010/main" val="0"/>
                          </a:ext>
                        </a:extLst>
                      </a:blip>
                      <a:srcRect l="4553" t="-5290" r="1317"/>
                      <a:stretch>
                        <a:fillRect/>
                      </a:stretch>
                    </p:blipFill>
                    <p:spPr bwMode="auto">
                      <a:xfrm>
                        <a:off x="1785918" y="4071918"/>
                        <a:ext cx="5219700" cy="27860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34" name="Text Box 12"/>
          <p:cNvSpPr txBox="1">
            <a:spLocks noChangeArrowheads="1"/>
          </p:cNvSpPr>
          <p:nvPr/>
        </p:nvSpPr>
        <p:spPr bwMode="auto">
          <a:xfrm>
            <a:off x="990600" y="2133600"/>
            <a:ext cx="1939185" cy="461665"/>
          </a:xfrm>
          <a:prstGeom prst="rect">
            <a:avLst/>
          </a:prstGeom>
          <a:noFill/>
          <a:ln w="12700">
            <a:noFill/>
            <a:miter lim="800000"/>
            <a:headEnd/>
            <a:tailEnd/>
          </a:ln>
        </p:spPr>
        <p:txBody>
          <a:bodyPr wrap="none">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Helvetica" pitchFamily="34" charset="0"/>
                <a:ea typeface="SimSun"/>
                <a:cs typeface="+mn-cs"/>
              </a:rPr>
              <a:t>5 TU </a:t>
            </a:r>
            <a:r>
              <a:rPr kumimoji="0" lang="en-US" sz="1800" b="1" i="0" u="none" strike="noStrike" kern="1200" cap="none" spc="0" normalizeH="0" baseline="0" noProof="0" dirty="0">
                <a:ln>
                  <a:noFill/>
                </a:ln>
                <a:solidFill>
                  <a:srgbClr val="FFFFFF"/>
                </a:solidFill>
                <a:effectLst/>
                <a:uLnTx/>
                <a:uFillTx/>
                <a:latin typeface="Sitka Display" pitchFamily="2" charset="0"/>
                <a:ea typeface="SimSun"/>
                <a:cs typeface="+mn-cs"/>
              </a:rPr>
              <a:t>of</a:t>
            </a:r>
            <a:r>
              <a:rPr kumimoji="0" lang="en-US" sz="1800" b="0" i="0" u="none" strike="noStrike" kern="1200" cap="none" spc="0" normalizeH="0" baseline="0" noProof="0" dirty="0">
                <a:ln>
                  <a:noFill/>
                </a:ln>
                <a:solidFill>
                  <a:srgbClr val="FFFFFF"/>
                </a:solidFill>
                <a:effectLst/>
                <a:uLnTx/>
                <a:uFillTx/>
                <a:latin typeface="Helvetica" pitchFamily="34" charset="0"/>
                <a:ea typeface="SimSun"/>
                <a:cs typeface="+mn-cs"/>
              </a:rPr>
              <a:t> PPD</a:t>
            </a:r>
          </a:p>
        </p:txBody>
      </p:sp>
    </p:spTree>
    <p:extLst>
      <p:ext uri="{BB962C8B-B14F-4D97-AF65-F5344CB8AC3E}">
        <p14:creationId xmlns:p14="http://schemas.microsoft.com/office/powerpoint/2010/main" val="2388922199"/>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Rectangle 6"/>
          <p:cNvSpPr>
            <a:spLocks noGrp="1" noChangeArrowheads="1"/>
          </p:cNvSpPr>
          <p:nvPr>
            <p:ph type="body" sz="half" idx="2"/>
          </p:nvPr>
        </p:nvSpPr>
        <p:spPr>
          <a:xfrm>
            <a:off x="428596" y="5357826"/>
            <a:ext cx="8229600" cy="982651"/>
          </a:xfrm>
        </p:spPr>
        <p:txBody>
          <a:bodyPr/>
          <a:lstStyle/>
          <a:p>
            <a:pPr algn="ctr" rtl="0">
              <a:buFontTx/>
              <a:buNone/>
            </a:pPr>
            <a:endParaRPr lang="ar-SA" altLang="en-US" sz="2800" dirty="0"/>
          </a:p>
          <a:p>
            <a:pPr algn="ctr" rtl="0">
              <a:buFontTx/>
              <a:buNone/>
            </a:pPr>
            <a:r>
              <a:rPr lang="en-US" altLang="en-US" b="1" dirty="0">
                <a:solidFill>
                  <a:srgbClr val="FFFF00"/>
                </a:solidFill>
                <a:latin typeface="Sitka Display" pitchFamily="2" charset="0"/>
              </a:rPr>
              <a:t>Mantoux tuberculin skin test</a:t>
            </a:r>
          </a:p>
        </p:txBody>
      </p:sp>
      <p:pic>
        <p:nvPicPr>
          <p:cNvPr id="16391" name="Picture 7" descr="350px-Mantoux_tuberculin_skin_test"/>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a:xfrm>
            <a:off x="1428728" y="285728"/>
            <a:ext cx="6215106" cy="5357850"/>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4973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6" name="Rectangle 2"/>
          <p:cNvSpPr>
            <a:spLocks noGrp="1" noChangeArrowheads="1"/>
          </p:cNvSpPr>
          <p:nvPr>
            <p:ph type="title"/>
          </p:nvPr>
        </p:nvSpPr>
        <p:spPr>
          <a:xfrm>
            <a:off x="642910" y="214290"/>
            <a:ext cx="7772400" cy="1143000"/>
          </a:xfrm>
        </p:spPr>
        <p:txBody>
          <a:bodyPr/>
          <a:lstStyle/>
          <a:p>
            <a:r>
              <a:rPr lang="en-US" altLang="en-US" sz="4000" b="1" dirty="0">
                <a:latin typeface="Sitka Display" pitchFamily="2" charset="0"/>
              </a:rPr>
              <a:t>Reading the TST </a:t>
            </a:r>
          </a:p>
        </p:txBody>
      </p:sp>
      <p:sp>
        <p:nvSpPr>
          <p:cNvPr id="436227" name="Rectangle 3"/>
          <p:cNvSpPr>
            <a:spLocks noGrp="1" noChangeArrowheads="1"/>
          </p:cNvSpPr>
          <p:nvPr>
            <p:ph type="body" sz="half" idx="1"/>
          </p:nvPr>
        </p:nvSpPr>
        <p:spPr>
          <a:xfrm>
            <a:off x="1" y="1428736"/>
            <a:ext cx="4857751" cy="4840288"/>
          </a:xfrm>
        </p:spPr>
        <p:txBody>
          <a:bodyPr/>
          <a:lstStyle/>
          <a:p>
            <a:pPr>
              <a:spcBef>
                <a:spcPct val="85000"/>
              </a:spcBef>
            </a:pPr>
            <a:r>
              <a:rPr lang="en-US" altLang="en-US" sz="2800" b="1" dirty="0">
                <a:latin typeface="Sitka Display" pitchFamily="2" charset="0"/>
              </a:rPr>
              <a:t>Measure reaction in </a:t>
            </a:r>
            <a:r>
              <a:rPr lang="en-US" altLang="en-US" sz="2800" b="1" dirty="0">
                <a:solidFill>
                  <a:srgbClr val="FFFF00"/>
                </a:solidFill>
                <a:latin typeface="Sitka Display" pitchFamily="2" charset="0"/>
              </a:rPr>
              <a:t>48 to 72 </a:t>
            </a:r>
            <a:r>
              <a:rPr lang="en-US" altLang="en-US" sz="2800" b="1" dirty="0">
                <a:latin typeface="Sitka Display" pitchFamily="2" charset="0"/>
              </a:rPr>
              <a:t>hours</a:t>
            </a:r>
          </a:p>
          <a:p>
            <a:pPr>
              <a:spcBef>
                <a:spcPct val="85000"/>
              </a:spcBef>
            </a:pPr>
            <a:r>
              <a:rPr lang="en-US" altLang="en-US" sz="2800" b="1" dirty="0">
                <a:latin typeface="Sitka Display" pitchFamily="2" charset="0"/>
              </a:rPr>
              <a:t>Measure </a:t>
            </a:r>
            <a:r>
              <a:rPr lang="en-US" altLang="en-US" sz="2800" b="1" dirty="0">
                <a:solidFill>
                  <a:srgbClr val="FFFF00"/>
                </a:solidFill>
                <a:latin typeface="Sitka Display" pitchFamily="2" charset="0"/>
              </a:rPr>
              <a:t>induration</a:t>
            </a:r>
            <a:r>
              <a:rPr lang="en-US" altLang="en-US" sz="2800" b="1" dirty="0">
                <a:latin typeface="Sitka Display" pitchFamily="2" charset="0"/>
              </a:rPr>
              <a:t>, not erythema</a:t>
            </a:r>
          </a:p>
          <a:p>
            <a:pPr>
              <a:spcBef>
                <a:spcPct val="85000"/>
              </a:spcBef>
            </a:pPr>
            <a:r>
              <a:rPr lang="en-US" altLang="en-US" sz="2800" b="1" dirty="0">
                <a:solidFill>
                  <a:srgbClr val="FFFF00"/>
                </a:solidFill>
                <a:latin typeface="Sitka Display" pitchFamily="2" charset="0"/>
              </a:rPr>
              <a:t>Record reaction in millimeters</a:t>
            </a:r>
            <a:r>
              <a:rPr lang="en-US" altLang="en-US" sz="2800" b="1" dirty="0">
                <a:latin typeface="Sitka Display" pitchFamily="2" charset="0"/>
              </a:rPr>
              <a:t>, not “negative” or “positive”</a:t>
            </a:r>
          </a:p>
          <a:p>
            <a:pPr>
              <a:spcBef>
                <a:spcPct val="85000"/>
              </a:spcBef>
            </a:pPr>
            <a:r>
              <a:rPr lang="en-US" altLang="en-US" sz="2800" b="1" dirty="0">
                <a:solidFill>
                  <a:srgbClr val="FFFF00"/>
                </a:solidFill>
                <a:latin typeface="Sitka Display" pitchFamily="2" charset="0"/>
              </a:rPr>
              <a:t>Ensure trained health care professional </a:t>
            </a:r>
            <a:r>
              <a:rPr lang="en-US" altLang="en-US" sz="2800" b="1" dirty="0">
                <a:latin typeface="Sitka Display" pitchFamily="2" charset="0"/>
              </a:rPr>
              <a:t>measures and interprets the TST</a:t>
            </a:r>
          </a:p>
        </p:txBody>
      </p:sp>
      <p:pic>
        <p:nvPicPr>
          <p:cNvPr id="436228" name="Picture 4" descr="skin-test-read"/>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a:xfrm>
            <a:off x="4857752" y="1714488"/>
            <a:ext cx="4286248" cy="4714908"/>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481450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3"/>
          <p:cNvSpPr>
            <a:spLocks noGrp="1" noChangeArrowheads="1"/>
          </p:cNvSpPr>
          <p:nvPr>
            <p:ph type="body" idx="1"/>
          </p:nvPr>
        </p:nvSpPr>
        <p:spPr>
          <a:xfrm>
            <a:off x="428596" y="1"/>
            <a:ext cx="8715404" cy="4214817"/>
          </a:xfrm>
        </p:spPr>
        <p:txBody>
          <a:bodyPr/>
          <a:lstStyle/>
          <a:p>
            <a:pPr eaLnBrk="1" hangingPunct="1"/>
            <a:endParaRPr lang="en-US" b="1" dirty="0" smtClean="0">
              <a:latin typeface="Sitka Display" pitchFamily="2" charset="0"/>
            </a:endParaRPr>
          </a:p>
          <a:p>
            <a:pPr eaLnBrk="1" hangingPunct="1">
              <a:buClr>
                <a:srgbClr val="FFFF00"/>
              </a:buClr>
              <a:buSzPct val="72000"/>
              <a:buFont typeface="Wingdings" pitchFamily="2" charset="2"/>
              <a:buChar char="q"/>
            </a:pPr>
            <a:r>
              <a:rPr lang="en-US" b="1" dirty="0" smtClean="0">
                <a:solidFill>
                  <a:srgbClr val="FFFF00"/>
                </a:solidFill>
                <a:latin typeface="Sitka Display" pitchFamily="2" charset="0"/>
              </a:rPr>
              <a:t>Tuberculin skin testing </a:t>
            </a:r>
            <a:r>
              <a:rPr lang="en-US" b="1" dirty="0" smtClean="0">
                <a:latin typeface="Sitka Display" pitchFamily="2" charset="0"/>
              </a:rPr>
              <a:t>is the most common method used to screen for </a:t>
            </a:r>
            <a:r>
              <a:rPr lang="en-US" b="1" dirty="0" smtClean="0">
                <a:solidFill>
                  <a:srgbClr val="FFFF00"/>
                </a:solidFill>
                <a:latin typeface="Sitka Display" pitchFamily="2" charset="0"/>
              </a:rPr>
              <a:t>latent M tuberculosis</a:t>
            </a:r>
            <a:r>
              <a:rPr lang="en-US" b="1" dirty="0" smtClean="0">
                <a:latin typeface="Sitka Display" pitchFamily="2" charset="0"/>
              </a:rPr>
              <a:t>.</a:t>
            </a:r>
          </a:p>
          <a:p>
            <a:pPr eaLnBrk="1" hangingPunct="1">
              <a:buClr>
                <a:srgbClr val="FFFF00"/>
              </a:buClr>
              <a:buSzPct val="72000"/>
              <a:buFont typeface="Wingdings" pitchFamily="2" charset="2"/>
              <a:buChar char="q"/>
            </a:pPr>
            <a:endParaRPr lang="en-US" b="1" dirty="0" smtClean="0">
              <a:latin typeface="Sitka Display" pitchFamily="2" charset="0"/>
            </a:endParaRPr>
          </a:p>
          <a:p>
            <a:pPr eaLnBrk="1" hangingPunct="1">
              <a:buClr>
                <a:srgbClr val="FFFF00"/>
              </a:buClr>
              <a:buSzPct val="72000"/>
              <a:buFont typeface="Wingdings" pitchFamily="2" charset="2"/>
              <a:buChar char="q"/>
            </a:pPr>
            <a:r>
              <a:rPr lang="en-US" altLang="zh-CN" b="1" dirty="0" smtClean="0">
                <a:solidFill>
                  <a:srgbClr val="FFFF00"/>
                </a:solidFill>
                <a:latin typeface="Sitka Display" pitchFamily="2" charset="0"/>
              </a:rPr>
              <a:t>Positive  tuberculin  skin  </a:t>
            </a:r>
            <a:r>
              <a:rPr lang="en-US" altLang="zh-CN" b="1" dirty="0" smtClean="0">
                <a:latin typeface="Sitka Display" pitchFamily="2" charset="0"/>
              </a:rPr>
              <a:t>test  indicates tuberculous infection , with or without disease</a:t>
            </a:r>
          </a:p>
          <a:p>
            <a:pPr eaLnBrk="1" hangingPunct="1">
              <a:buClr>
                <a:srgbClr val="FFFF00"/>
              </a:buClr>
              <a:buSzPct val="72000"/>
              <a:buNone/>
            </a:pPr>
            <a:endParaRPr lang="en-US" altLang="zh-CN" b="1" dirty="0" smtClean="0">
              <a:latin typeface="Sitka Display" pitchFamily="2" charset="0"/>
            </a:endParaRPr>
          </a:p>
        </p:txBody>
      </p:sp>
      <p:sp>
        <p:nvSpPr>
          <p:cNvPr id="3" name="Rectangle 2"/>
          <p:cNvSpPr/>
          <p:nvPr/>
        </p:nvSpPr>
        <p:spPr>
          <a:xfrm>
            <a:off x="1357290" y="4429132"/>
            <a:ext cx="6000792" cy="523220"/>
          </a:xfrm>
          <a:prstGeom prst="rect">
            <a:avLst/>
          </a:prstGeom>
        </p:spPr>
        <p:style>
          <a:lnRef idx="0">
            <a:scrgbClr r="0" g="0" b="0"/>
          </a:lnRef>
          <a:fillRef idx="1001">
            <a:schemeClr val="lt2"/>
          </a:fillRef>
          <a:effectRef idx="0">
            <a:scrgbClr r="0" g="0" b="0"/>
          </a:effectRef>
          <a:fontRef idx="major"/>
        </p:style>
        <p:txBody>
          <a:bodyPr wrap="square">
            <a:spAutoFit/>
          </a:bodyPr>
          <a:lstStyle/>
          <a:p>
            <a:pPr marL="0" marR="0" lvl="0" indent="0" algn="ctr" defTabSz="914400" rtl="0" eaLnBrk="1" fontAlgn="auto" latinLnBrk="0" hangingPunct="1">
              <a:lnSpc>
                <a:spcPct val="100000"/>
              </a:lnSpc>
              <a:spcBef>
                <a:spcPts val="0"/>
              </a:spcBef>
              <a:spcAft>
                <a:spcPts val="0"/>
              </a:spcAft>
              <a:buClr>
                <a:srgbClr val="FFFF00"/>
              </a:buClr>
              <a:buSzPct val="72000"/>
              <a:buFontTx/>
              <a:buNone/>
              <a:tabLst/>
              <a:defRPr/>
            </a:pPr>
            <a:r>
              <a:rPr kumimoji="0" lang="en-US" altLang="zh-CN" sz="2800" b="1"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Sitka Display" pitchFamily="2" charset="0"/>
                <a:ea typeface="SimSun"/>
                <a:cs typeface="+mj-cs"/>
              </a:rPr>
              <a:t>Positive </a:t>
            </a:r>
            <a:r>
              <a:rPr kumimoji="0" lang="en-US" altLang="zh-CN" sz="2800" b="1"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Lucida Sans Unicode"/>
                <a:ea typeface="SimSun"/>
                <a:cs typeface="Lucida Sans Unicode"/>
              </a:rPr>
              <a:t>⇛ </a:t>
            </a:r>
            <a:r>
              <a:rPr kumimoji="0" lang="en-US" altLang="zh-CN" sz="2800" b="1"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Sitka Display" pitchFamily="2" charset="0"/>
                <a:ea typeface="SimSun"/>
                <a:cs typeface="+mj-cs"/>
              </a:rPr>
              <a:t>Infection and Immunity</a:t>
            </a:r>
          </a:p>
        </p:txBody>
      </p:sp>
    </p:spTree>
    <p:extLst>
      <p:ext uri="{BB962C8B-B14F-4D97-AF65-F5344CB8AC3E}">
        <p14:creationId xmlns:p14="http://schemas.microsoft.com/office/powerpoint/2010/main" val="2745217895"/>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nvGraphicFramePr>
        <p:xfrm>
          <a:off x="857224" y="1643050"/>
          <a:ext cx="7358114" cy="4527977"/>
        </p:xfrm>
        <a:graphic>
          <a:graphicData uri="http://schemas.openxmlformats.org/drawingml/2006/table">
            <a:tbl>
              <a:tblPr/>
              <a:tblGrid>
                <a:gridCol w="2607546">
                  <a:extLst>
                    <a:ext uri="{9D8B030D-6E8A-4147-A177-3AD203B41FA5}">
                      <a16:colId xmlns:a16="http://schemas.microsoft.com/office/drawing/2014/main" val="20000"/>
                    </a:ext>
                  </a:extLst>
                </a:gridCol>
                <a:gridCol w="4750568">
                  <a:extLst>
                    <a:ext uri="{9D8B030D-6E8A-4147-A177-3AD203B41FA5}">
                      <a16:colId xmlns:a16="http://schemas.microsoft.com/office/drawing/2014/main" val="20001"/>
                    </a:ext>
                  </a:extLst>
                </a:gridCol>
              </a:tblGrid>
              <a:tr h="565997">
                <a:tc>
                  <a:txBody>
                    <a:bodyPr/>
                    <a:lstStyle/>
                    <a:p>
                      <a:pPr marL="0" marR="0" algn="l" rtl="0">
                        <a:spcBef>
                          <a:spcPts val="0"/>
                        </a:spcBef>
                        <a:spcAft>
                          <a:spcPts val="0"/>
                        </a:spcAft>
                      </a:pPr>
                      <a:r>
                        <a:rPr lang="en-US" sz="2400" b="1" u="none" dirty="0">
                          <a:solidFill>
                            <a:schemeClr val="bg2"/>
                          </a:solidFill>
                          <a:latin typeface="Sitka Display" pitchFamily="2" charset="0"/>
                          <a:ea typeface="Times New Roman"/>
                        </a:rPr>
                        <a:t>Size of induration</a:t>
                      </a:r>
                      <a:endParaRPr lang="en-US" sz="3200" b="1" u="none" dirty="0">
                        <a:solidFill>
                          <a:schemeClr val="bg2"/>
                        </a:solidFill>
                        <a:latin typeface="Sitka Display" pitchFamily="2" charset="0"/>
                        <a:ea typeface="Times New Roman"/>
                      </a:endParaRPr>
                    </a:p>
                  </a:txBody>
                  <a:tcPr marL="63944" marR="63944" marT="0" marB="0">
                    <a:lnL w="28575" cap="flat" cmpd="sng" algn="ctr">
                      <a:no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0" marR="0" algn="l" rtl="0">
                        <a:spcBef>
                          <a:spcPts val="0"/>
                        </a:spcBef>
                        <a:spcAft>
                          <a:spcPts val="0"/>
                        </a:spcAft>
                      </a:pPr>
                      <a:r>
                        <a:rPr lang="en-US" sz="2400" b="1" u="none" dirty="0">
                          <a:solidFill>
                            <a:schemeClr val="bg2"/>
                          </a:solidFill>
                          <a:latin typeface="Sitka Display" pitchFamily="2" charset="0"/>
                          <a:ea typeface="Times New Roman"/>
                        </a:rPr>
                        <a:t>Considered positive in :</a:t>
                      </a:r>
                      <a:endParaRPr lang="en-US" sz="3200" b="1" u="none" dirty="0">
                        <a:solidFill>
                          <a:schemeClr val="bg2"/>
                        </a:solidFill>
                        <a:latin typeface="Sitka Display" pitchFamily="2" charset="0"/>
                        <a:ea typeface="Times New Roman"/>
                      </a:endParaRPr>
                    </a:p>
                  </a:txBody>
                  <a:tcPr marL="63944" marR="63944" marT="0" marB="0">
                    <a:lnL w="28575" cap="flat" cmpd="sng" algn="ctr">
                      <a:solidFill>
                        <a:srgbClr val="FF0000"/>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extLst>
                  <a:ext uri="{0D108BD9-81ED-4DB2-BD59-A6C34878D82A}">
                    <a16:rowId xmlns:a16="http://schemas.microsoft.com/office/drawing/2014/main" val="10000"/>
                  </a:ext>
                </a:extLst>
              </a:tr>
              <a:tr h="3961980">
                <a:tc>
                  <a:txBody>
                    <a:bodyPr/>
                    <a:lstStyle/>
                    <a:p>
                      <a:pPr marL="0" marR="0" algn="ctr" rtl="0">
                        <a:spcBef>
                          <a:spcPts val="0"/>
                        </a:spcBef>
                        <a:spcAft>
                          <a:spcPts val="0"/>
                        </a:spcAft>
                      </a:pPr>
                      <a:r>
                        <a:rPr lang="en-US" sz="2000" b="1" u="none" dirty="0">
                          <a:solidFill>
                            <a:schemeClr val="bg2"/>
                          </a:solidFill>
                          <a:latin typeface="Sitka Display" pitchFamily="2" charset="0"/>
                          <a:ea typeface="Times New Roman"/>
                        </a:rPr>
                        <a:t>≥ 5 mm for</a:t>
                      </a:r>
                      <a:endParaRPr lang="en-US" sz="2800" b="1" u="none" dirty="0">
                        <a:solidFill>
                          <a:schemeClr val="bg2"/>
                        </a:solidFill>
                        <a:latin typeface="Sitka Display" pitchFamily="2" charset="0"/>
                        <a:ea typeface="Times New Roman"/>
                      </a:endParaRPr>
                    </a:p>
                  </a:txBody>
                  <a:tcPr marL="63944" marR="63944" marT="0" marB="0">
                    <a:lnL w="28575" cap="flat" cmpd="sng" algn="ctr">
                      <a:no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342900" marR="0" lvl="0" indent="-342900" algn="l" rtl="0">
                        <a:spcBef>
                          <a:spcPts val="0"/>
                        </a:spcBef>
                        <a:spcAft>
                          <a:spcPts val="0"/>
                        </a:spcAft>
                        <a:buFont typeface="+mj-lt"/>
                        <a:buAutoNum type="arabicPeriod"/>
                        <a:tabLst>
                          <a:tab pos="228600" algn="l"/>
                        </a:tabLst>
                      </a:pPr>
                      <a:r>
                        <a:rPr lang="en-US" sz="2000" b="0" u="none" dirty="0">
                          <a:solidFill>
                            <a:schemeClr val="bg2"/>
                          </a:solidFill>
                          <a:latin typeface="Sitka Display" pitchFamily="2" charset="0"/>
                          <a:ea typeface="Times New Roman"/>
                        </a:rPr>
                        <a:t>Close contacts of active pulmonary.</a:t>
                      </a:r>
                      <a:endParaRPr lang="en-US" sz="2800" b="0" u="none" dirty="0">
                        <a:solidFill>
                          <a:schemeClr val="bg2"/>
                        </a:solidFill>
                        <a:latin typeface="Sitka Display" pitchFamily="2" charset="0"/>
                        <a:ea typeface="Times New Roman"/>
                      </a:endParaRPr>
                    </a:p>
                    <a:p>
                      <a:pPr marL="342900" marR="0" lvl="0" indent="-342900" algn="l" rtl="0">
                        <a:spcBef>
                          <a:spcPts val="0"/>
                        </a:spcBef>
                        <a:spcAft>
                          <a:spcPts val="0"/>
                        </a:spcAft>
                        <a:buFont typeface="+mj-lt"/>
                        <a:buAutoNum type="arabicPeriod"/>
                        <a:tabLst>
                          <a:tab pos="228600" algn="l"/>
                        </a:tabLst>
                      </a:pPr>
                      <a:r>
                        <a:rPr lang="en-US" sz="2000" b="0" u="none" dirty="0">
                          <a:solidFill>
                            <a:schemeClr val="bg2"/>
                          </a:solidFill>
                          <a:latin typeface="Sitka Display" pitchFamily="2" charset="0"/>
                          <a:ea typeface="Times New Roman"/>
                        </a:rPr>
                        <a:t>HIV-immunocompromised persons</a:t>
                      </a:r>
                      <a:endParaRPr lang="en-US" sz="2800" b="0" u="none" dirty="0">
                        <a:solidFill>
                          <a:schemeClr val="bg2"/>
                        </a:solidFill>
                        <a:latin typeface="Sitka Display" pitchFamily="2" charset="0"/>
                        <a:ea typeface="Times New Roman"/>
                      </a:endParaRPr>
                    </a:p>
                    <a:p>
                      <a:pPr marL="342900" marR="0" lvl="0" indent="-342900" algn="l" rtl="0">
                        <a:spcBef>
                          <a:spcPts val="0"/>
                        </a:spcBef>
                        <a:spcAft>
                          <a:spcPts val="0"/>
                        </a:spcAft>
                        <a:buFont typeface="+mj-lt"/>
                        <a:buAutoNum type="arabicPeriod"/>
                        <a:tabLst>
                          <a:tab pos="228600" algn="l"/>
                        </a:tabLst>
                      </a:pPr>
                      <a:r>
                        <a:rPr lang="en-US" sz="2000" b="0" u="none" dirty="0">
                          <a:solidFill>
                            <a:schemeClr val="bg2"/>
                          </a:solidFill>
                          <a:latin typeface="Sitka Display" pitchFamily="2" charset="0"/>
                          <a:ea typeface="Times New Roman"/>
                        </a:rPr>
                        <a:t>Persons with fibrotic chest x-ray findings consistent with old TB. </a:t>
                      </a:r>
                      <a:endParaRPr lang="en-US" sz="2800" b="0" u="none" dirty="0">
                        <a:solidFill>
                          <a:schemeClr val="bg2"/>
                        </a:solidFill>
                        <a:latin typeface="Sitka Display" pitchFamily="2" charset="0"/>
                        <a:ea typeface="Times New Roman"/>
                      </a:endParaRPr>
                    </a:p>
                    <a:p>
                      <a:pPr marL="342900" marR="0" lvl="0" indent="-342900" algn="l" rtl="0">
                        <a:spcBef>
                          <a:spcPts val="0"/>
                        </a:spcBef>
                        <a:spcAft>
                          <a:spcPts val="0"/>
                        </a:spcAft>
                        <a:buFont typeface="+mj-lt"/>
                        <a:buAutoNum type="arabicPeriod"/>
                        <a:tabLst>
                          <a:tab pos="228600" algn="l"/>
                        </a:tabLst>
                      </a:pPr>
                      <a:r>
                        <a:rPr lang="en-US" sz="2000" b="0" u="none" dirty="0">
                          <a:solidFill>
                            <a:schemeClr val="bg2"/>
                          </a:solidFill>
                          <a:latin typeface="Sitka Display" pitchFamily="2" charset="0"/>
                          <a:ea typeface="Times New Roman"/>
                        </a:rPr>
                        <a:t>Organ transplant recipients or other immunosuppressed persons (including persons receiving long-term, high dose oral or parenteral corticosteroid therapy (&gt;15 mg prednisone, or equivalent, daily for 1 month or longer).</a:t>
                      </a:r>
                      <a:endParaRPr lang="en-US" sz="2800" b="0" u="none" dirty="0">
                        <a:solidFill>
                          <a:schemeClr val="bg2"/>
                        </a:solidFill>
                        <a:latin typeface="Sitka Display" pitchFamily="2" charset="0"/>
                        <a:ea typeface="Times New Roman"/>
                      </a:endParaRPr>
                    </a:p>
                  </a:txBody>
                  <a:tcPr marL="63944" marR="63944" marT="0" marB="0">
                    <a:lnL w="28575" cap="flat" cmpd="sng" algn="ctr">
                      <a:solidFill>
                        <a:srgbClr val="FF0000"/>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1"/>
                  </a:ext>
                </a:extLst>
              </a:tr>
            </a:tbl>
          </a:graphicData>
        </a:graphic>
      </p:graphicFrame>
      <p:sp>
        <p:nvSpPr>
          <p:cNvPr id="3" name="Rectangle 2"/>
          <p:cNvSpPr/>
          <p:nvPr/>
        </p:nvSpPr>
        <p:spPr>
          <a:xfrm>
            <a:off x="857224" y="285728"/>
            <a:ext cx="7429552" cy="584775"/>
          </a:xfrm>
          <a:prstGeom prst="rect">
            <a:avLst/>
          </a:prstGeom>
        </p:spPr>
        <p:style>
          <a:lnRef idx="0">
            <a:scrgbClr r="0" g="0" b="0"/>
          </a:lnRef>
          <a:fillRef idx="1001">
            <a:schemeClr val="lt2"/>
          </a:fillRef>
          <a:effectRef idx="0">
            <a:scrgbClr r="0" g="0" b="0"/>
          </a:effectRef>
          <a:fontRef idx="major"/>
        </p:style>
        <p:txBody>
          <a:bodyPr wrap="square">
            <a:spAutoFit/>
          </a:bodyPr>
          <a:lstStyle/>
          <a:p>
            <a:pPr marL="0" marR="0" lvl="0" indent="0" algn="ctr" defTabSz="914400" rtl="0" eaLnBrk="1" fontAlgn="auto" latinLnBrk="0" hangingPunct="1">
              <a:lnSpc>
                <a:spcPct val="100000"/>
              </a:lnSpc>
              <a:spcBef>
                <a:spcPts val="0"/>
              </a:spcBef>
              <a:spcAft>
                <a:spcPts val="0"/>
              </a:spcAft>
              <a:buClr>
                <a:srgbClr val="FFFF00"/>
              </a:buClr>
              <a:buSzPct val="72000"/>
              <a:buFontTx/>
              <a:buNone/>
              <a:tabLst/>
              <a:defRPr/>
            </a:pPr>
            <a:r>
              <a:rPr kumimoji="0" lang="en-US" altLang="zh-CN" sz="2800" b="1"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Sitka Display" pitchFamily="2" charset="0"/>
                <a:ea typeface="SimSun"/>
                <a:cs typeface="+mj-cs"/>
              </a:rPr>
              <a:t>Positive </a:t>
            </a:r>
            <a:r>
              <a:rPr kumimoji="0" lang="en-US" altLang="zh-CN" sz="3200" b="1"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Sitka Display" pitchFamily="2" charset="0"/>
                <a:ea typeface="SimSun"/>
                <a:cs typeface="Lucida Sans Unicode"/>
              </a:rPr>
              <a:t>Tuberculin Test</a:t>
            </a:r>
            <a:endParaRPr kumimoji="0" lang="en-US" altLang="zh-CN" sz="3200" b="1"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Sitka Display" pitchFamily="2" charset="0"/>
              <a:ea typeface="SimSun"/>
              <a:cs typeface="+mj-cs"/>
            </a:endParaRPr>
          </a:p>
        </p:txBody>
      </p:sp>
    </p:spTree>
    <p:extLst>
      <p:ext uri="{BB962C8B-B14F-4D97-AF65-F5344CB8AC3E}">
        <p14:creationId xmlns:p14="http://schemas.microsoft.com/office/powerpoint/2010/main" val="261645254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nvGraphicFramePr>
        <p:xfrm>
          <a:off x="785786" y="142852"/>
          <a:ext cx="7572428" cy="6551916"/>
        </p:xfrm>
        <a:graphic>
          <a:graphicData uri="http://schemas.openxmlformats.org/drawingml/2006/table">
            <a:tbl>
              <a:tblPr/>
              <a:tblGrid>
                <a:gridCol w="2683493">
                  <a:extLst>
                    <a:ext uri="{9D8B030D-6E8A-4147-A177-3AD203B41FA5}">
                      <a16:colId xmlns:a16="http://schemas.microsoft.com/office/drawing/2014/main" val="20000"/>
                    </a:ext>
                  </a:extLst>
                </a:gridCol>
                <a:gridCol w="4888935">
                  <a:extLst>
                    <a:ext uri="{9D8B030D-6E8A-4147-A177-3AD203B41FA5}">
                      <a16:colId xmlns:a16="http://schemas.microsoft.com/office/drawing/2014/main" val="20001"/>
                    </a:ext>
                  </a:extLst>
                </a:gridCol>
              </a:tblGrid>
              <a:tr h="314533">
                <a:tc>
                  <a:txBody>
                    <a:bodyPr/>
                    <a:lstStyle/>
                    <a:p>
                      <a:pPr marL="0" marR="0" algn="l" rtl="0">
                        <a:spcBef>
                          <a:spcPts val="0"/>
                        </a:spcBef>
                        <a:spcAft>
                          <a:spcPts val="0"/>
                        </a:spcAft>
                      </a:pPr>
                      <a:r>
                        <a:rPr lang="en-US" sz="2000" b="1" u="none" dirty="0">
                          <a:solidFill>
                            <a:schemeClr val="bg2"/>
                          </a:solidFill>
                          <a:latin typeface="Sitka Display" pitchFamily="2" charset="0"/>
                          <a:ea typeface="Times New Roman"/>
                        </a:rPr>
                        <a:t>Size of induration</a:t>
                      </a:r>
                      <a:endParaRPr lang="en-US" sz="2800" b="1" u="none" dirty="0">
                        <a:solidFill>
                          <a:schemeClr val="bg2"/>
                        </a:solidFill>
                        <a:latin typeface="Sitka Display" pitchFamily="2" charset="0"/>
                        <a:ea typeface="Times New Roman"/>
                      </a:endParaRPr>
                    </a:p>
                  </a:txBody>
                  <a:tcPr marL="63944" marR="63944" marT="0" marB="0">
                    <a:lnL w="38100" cap="flat" cmpd="dbl"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gn="l" rtl="0">
                        <a:spcBef>
                          <a:spcPts val="0"/>
                        </a:spcBef>
                        <a:spcAft>
                          <a:spcPts val="0"/>
                        </a:spcAft>
                      </a:pPr>
                      <a:r>
                        <a:rPr lang="en-US" sz="2000" b="1" u="none" dirty="0">
                          <a:solidFill>
                            <a:schemeClr val="bg2"/>
                          </a:solidFill>
                          <a:latin typeface="Sitka Display" pitchFamily="2" charset="0"/>
                          <a:ea typeface="Times New Roman"/>
                        </a:rPr>
                        <a:t>Considered positive in :</a:t>
                      </a:r>
                      <a:endParaRPr lang="en-US" sz="2800" b="1" u="none" dirty="0">
                        <a:solidFill>
                          <a:schemeClr val="bg2"/>
                        </a:solidFill>
                        <a:latin typeface="Sitka Display" pitchFamily="2" charset="0"/>
                        <a:ea typeface="Times New Roman"/>
                      </a:endParaRPr>
                    </a:p>
                  </a:txBody>
                  <a:tcPr marL="63944" marR="63944" marT="0" marB="0">
                    <a:lnL w="19050" cap="flat" cmpd="sng"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10000"/>
                  </a:ext>
                </a:extLst>
              </a:tr>
              <a:tr h="5342948">
                <a:tc>
                  <a:txBody>
                    <a:bodyPr/>
                    <a:lstStyle/>
                    <a:p>
                      <a:pPr marL="0" marR="0" algn="ctr" rtl="0">
                        <a:spcBef>
                          <a:spcPts val="0"/>
                        </a:spcBef>
                        <a:spcAft>
                          <a:spcPts val="0"/>
                        </a:spcAft>
                      </a:pPr>
                      <a:r>
                        <a:rPr lang="en-US" sz="2000" b="1" u="none" dirty="0">
                          <a:solidFill>
                            <a:schemeClr val="bg2"/>
                          </a:solidFill>
                          <a:latin typeface="Sitka Display" pitchFamily="2" charset="0"/>
                          <a:ea typeface="Times New Roman"/>
                        </a:rPr>
                        <a:t>≥ 10 mm for</a:t>
                      </a:r>
                      <a:endParaRPr lang="en-US" sz="2800" b="1" u="none" dirty="0">
                        <a:solidFill>
                          <a:schemeClr val="bg2"/>
                        </a:solidFill>
                        <a:latin typeface="Sitka Display" pitchFamily="2" charset="0"/>
                        <a:ea typeface="Times New Roman"/>
                      </a:endParaRPr>
                    </a:p>
                  </a:txBody>
                  <a:tcPr marL="63944" marR="63944" marT="0" marB="0">
                    <a:lnL w="38100" cap="flat" cmpd="dbl" algn="ctr">
                      <a:solidFill>
                        <a:srgbClr val="00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342900" marR="0" lvl="0" indent="-342900" algn="l" rtl="0">
                        <a:spcBef>
                          <a:spcPts val="0"/>
                        </a:spcBef>
                        <a:spcAft>
                          <a:spcPts val="0"/>
                        </a:spcAft>
                        <a:buFont typeface="+mj-lt"/>
                        <a:buAutoNum type="arabicPeriod"/>
                        <a:tabLst>
                          <a:tab pos="228600" algn="l"/>
                        </a:tabLst>
                      </a:pPr>
                      <a:r>
                        <a:rPr lang="en-US" sz="2000" u="none" dirty="0">
                          <a:solidFill>
                            <a:schemeClr val="bg2"/>
                          </a:solidFill>
                          <a:latin typeface="Sitka Display" pitchFamily="2" charset="0"/>
                          <a:ea typeface="Times New Roman"/>
                        </a:rPr>
                        <a:t>Persons with certain medical conditions e.g.,</a:t>
                      </a:r>
                      <a:endParaRPr lang="en-US" sz="2800" u="none" dirty="0">
                        <a:solidFill>
                          <a:schemeClr val="bg2"/>
                        </a:solidFill>
                        <a:latin typeface="Sitka Display" pitchFamily="2" charset="0"/>
                        <a:ea typeface="Times New Roman"/>
                      </a:endParaRPr>
                    </a:p>
                    <a:p>
                      <a:pPr marL="1143000" marR="0" lvl="2" indent="-228600" algn="l" rtl="0">
                        <a:spcBef>
                          <a:spcPts val="0"/>
                        </a:spcBef>
                        <a:spcAft>
                          <a:spcPts val="0"/>
                        </a:spcAft>
                        <a:buSzPts val="1100"/>
                        <a:buFont typeface="Courier New"/>
                        <a:buChar char="o"/>
                        <a:tabLst>
                          <a:tab pos="617220" algn="l"/>
                        </a:tabLst>
                      </a:pPr>
                      <a:r>
                        <a:rPr lang="en-US" sz="2000" u="none" dirty="0">
                          <a:solidFill>
                            <a:schemeClr val="bg2"/>
                          </a:solidFill>
                          <a:latin typeface="Sitka Display" pitchFamily="2" charset="0"/>
                          <a:ea typeface="Times New Roman"/>
                        </a:rPr>
                        <a:t>Silicosis,</a:t>
                      </a:r>
                      <a:endParaRPr lang="en-US" sz="2800" u="none" dirty="0">
                        <a:solidFill>
                          <a:schemeClr val="bg2"/>
                        </a:solidFill>
                        <a:latin typeface="Sitka Display" pitchFamily="2" charset="0"/>
                        <a:ea typeface="Times New Roman"/>
                      </a:endParaRPr>
                    </a:p>
                    <a:p>
                      <a:pPr marL="1143000" marR="0" lvl="2" indent="-228600" algn="l" rtl="0">
                        <a:spcBef>
                          <a:spcPts val="0"/>
                        </a:spcBef>
                        <a:spcAft>
                          <a:spcPts val="0"/>
                        </a:spcAft>
                        <a:buSzPts val="1100"/>
                        <a:buFont typeface="Courier New"/>
                        <a:buChar char="o"/>
                        <a:tabLst>
                          <a:tab pos="617220" algn="l"/>
                        </a:tabLst>
                      </a:pPr>
                      <a:r>
                        <a:rPr lang="en-US" sz="2000" u="none" dirty="0">
                          <a:solidFill>
                            <a:schemeClr val="bg2"/>
                          </a:solidFill>
                          <a:latin typeface="Sitka Display" pitchFamily="2" charset="0"/>
                          <a:ea typeface="Times New Roman"/>
                        </a:rPr>
                        <a:t>Chronic renal failure,</a:t>
                      </a:r>
                      <a:endParaRPr lang="en-US" sz="2800" u="none" dirty="0">
                        <a:solidFill>
                          <a:schemeClr val="bg2"/>
                        </a:solidFill>
                        <a:latin typeface="Sitka Display" pitchFamily="2" charset="0"/>
                        <a:ea typeface="Times New Roman"/>
                      </a:endParaRPr>
                    </a:p>
                    <a:p>
                      <a:pPr marL="1143000" marR="0" lvl="2" indent="-228600" algn="l" rtl="0">
                        <a:spcBef>
                          <a:spcPts val="0"/>
                        </a:spcBef>
                        <a:spcAft>
                          <a:spcPts val="0"/>
                        </a:spcAft>
                        <a:buSzPts val="1100"/>
                        <a:buFont typeface="Courier New"/>
                        <a:buChar char="o"/>
                        <a:tabLst>
                          <a:tab pos="617220" algn="l"/>
                        </a:tabLst>
                      </a:pPr>
                      <a:r>
                        <a:rPr lang="en-US" sz="2000" u="none" dirty="0">
                          <a:solidFill>
                            <a:schemeClr val="bg2"/>
                          </a:solidFill>
                          <a:latin typeface="Sitka Display" pitchFamily="2" charset="0"/>
                          <a:ea typeface="Times New Roman"/>
                        </a:rPr>
                        <a:t>Diabetes mellitus,</a:t>
                      </a:r>
                      <a:endParaRPr lang="en-US" sz="2800" u="none" dirty="0">
                        <a:solidFill>
                          <a:schemeClr val="bg2"/>
                        </a:solidFill>
                        <a:latin typeface="Sitka Display" pitchFamily="2" charset="0"/>
                        <a:ea typeface="Times New Roman"/>
                      </a:endParaRPr>
                    </a:p>
                    <a:p>
                      <a:pPr marL="1143000" marR="0" lvl="2" indent="-228600" algn="l" rtl="0">
                        <a:spcBef>
                          <a:spcPts val="0"/>
                        </a:spcBef>
                        <a:spcAft>
                          <a:spcPts val="0"/>
                        </a:spcAft>
                        <a:buSzPts val="1100"/>
                        <a:buFont typeface="Courier New"/>
                        <a:buChar char="o"/>
                        <a:tabLst>
                          <a:tab pos="617220" algn="l"/>
                        </a:tabLst>
                      </a:pPr>
                      <a:r>
                        <a:rPr lang="en-US" sz="2000" u="none" dirty="0">
                          <a:solidFill>
                            <a:schemeClr val="bg2"/>
                          </a:solidFill>
                          <a:latin typeface="Sitka Display" pitchFamily="2" charset="0"/>
                          <a:ea typeface="Times New Roman"/>
                        </a:rPr>
                        <a:t>Some cancers</a:t>
                      </a:r>
                      <a:r>
                        <a:rPr lang="en-US" sz="2000" u="none" dirty="0" smtClean="0">
                          <a:solidFill>
                            <a:schemeClr val="bg2"/>
                          </a:solidFill>
                          <a:latin typeface="Sitka Display" pitchFamily="2" charset="0"/>
                          <a:ea typeface="Times New Roman"/>
                        </a:rPr>
                        <a:t>, leukaemia, and </a:t>
                      </a:r>
                      <a:r>
                        <a:rPr lang="en-US" sz="2000" u="none" dirty="0">
                          <a:solidFill>
                            <a:schemeClr val="bg2"/>
                          </a:solidFill>
                          <a:latin typeface="Sitka Display" pitchFamily="2" charset="0"/>
                          <a:ea typeface="Times New Roman"/>
                        </a:rPr>
                        <a:t>lymphoma</a:t>
                      </a:r>
                      <a:endParaRPr lang="en-US" sz="2800" u="none" dirty="0">
                        <a:solidFill>
                          <a:schemeClr val="bg2"/>
                        </a:solidFill>
                        <a:latin typeface="Sitka Display" pitchFamily="2" charset="0"/>
                        <a:ea typeface="Times New Roman"/>
                      </a:endParaRPr>
                    </a:p>
                    <a:p>
                      <a:pPr marL="1143000" marR="0" lvl="2" indent="-228600" algn="l" rtl="0">
                        <a:spcBef>
                          <a:spcPts val="0"/>
                        </a:spcBef>
                        <a:spcAft>
                          <a:spcPts val="0"/>
                        </a:spcAft>
                        <a:buSzPts val="1100"/>
                        <a:buFont typeface="Courier New"/>
                        <a:buChar char="o"/>
                        <a:tabLst>
                          <a:tab pos="617220" algn="l"/>
                        </a:tabLst>
                      </a:pPr>
                      <a:r>
                        <a:rPr lang="en-US" sz="2000" u="none" dirty="0" smtClean="0">
                          <a:solidFill>
                            <a:schemeClr val="bg2"/>
                          </a:solidFill>
                          <a:latin typeface="Sitka Display" pitchFamily="2" charset="0"/>
                          <a:ea typeface="Times New Roman"/>
                        </a:rPr>
                        <a:t>Gastrectomy/</a:t>
                      </a:r>
                      <a:r>
                        <a:rPr lang="en-US" sz="2000" u="none" dirty="0" err="1" smtClean="0">
                          <a:solidFill>
                            <a:schemeClr val="bg2"/>
                          </a:solidFill>
                          <a:latin typeface="Sitka Display" pitchFamily="2" charset="0"/>
                          <a:ea typeface="Times New Roman"/>
                        </a:rPr>
                        <a:t>jeujunoileal</a:t>
                      </a:r>
                      <a:r>
                        <a:rPr lang="en-US" sz="2000" u="none" dirty="0" smtClean="0">
                          <a:solidFill>
                            <a:schemeClr val="bg2"/>
                          </a:solidFill>
                          <a:latin typeface="Sitka Display" pitchFamily="2" charset="0"/>
                          <a:ea typeface="Times New Roman"/>
                        </a:rPr>
                        <a:t> </a:t>
                      </a:r>
                      <a:r>
                        <a:rPr lang="en-US" sz="2000" u="none" dirty="0">
                          <a:solidFill>
                            <a:schemeClr val="bg2"/>
                          </a:solidFill>
                          <a:latin typeface="Sitka Display" pitchFamily="2" charset="0"/>
                          <a:ea typeface="Times New Roman"/>
                        </a:rPr>
                        <a:t>bypass</a:t>
                      </a:r>
                      <a:endParaRPr lang="en-US" sz="2800" u="none" dirty="0">
                        <a:solidFill>
                          <a:schemeClr val="bg2"/>
                        </a:solidFill>
                        <a:latin typeface="Sitka Display" pitchFamily="2" charset="0"/>
                        <a:ea typeface="Times New Roman"/>
                      </a:endParaRPr>
                    </a:p>
                    <a:p>
                      <a:pPr marL="342900" marR="0" lvl="0" indent="-342900" algn="l" rtl="0">
                        <a:spcBef>
                          <a:spcPts val="0"/>
                        </a:spcBef>
                        <a:spcAft>
                          <a:spcPts val="0"/>
                        </a:spcAft>
                        <a:buFont typeface="+mj-lt"/>
                        <a:buAutoNum type="arabicPeriod"/>
                        <a:tabLst>
                          <a:tab pos="228600" algn="l"/>
                        </a:tabLst>
                      </a:pPr>
                      <a:r>
                        <a:rPr lang="en-US" sz="2000" u="none" dirty="0">
                          <a:solidFill>
                            <a:schemeClr val="bg2"/>
                          </a:solidFill>
                          <a:latin typeface="Sitka Display" pitchFamily="2" charset="0"/>
                          <a:ea typeface="Times New Roman"/>
                        </a:rPr>
                        <a:t>Health care and laboratory workers.</a:t>
                      </a:r>
                      <a:endParaRPr lang="en-US" sz="2800" u="none" dirty="0">
                        <a:solidFill>
                          <a:schemeClr val="bg2"/>
                        </a:solidFill>
                        <a:latin typeface="Sitka Display" pitchFamily="2" charset="0"/>
                        <a:ea typeface="Times New Roman"/>
                      </a:endParaRPr>
                    </a:p>
                    <a:p>
                      <a:pPr marL="342900" marR="0" lvl="0" indent="-342900" algn="l" rtl="0">
                        <a:spcBef>
                          <a:spcPts val="0"/>
                        </a:spcBef>
                        <a:spcAft>
                          <a:spcPts val="0"/>
                        </a:spcAft>
                        <a:buFont typeface="+mj-lt"/>
                        <a:buAutoNum type="arabicPeriod"/>
                        <a:tabLst>
                          <a:tab pos="228600" algn="l"/>
                        </a:tabLst>
                      </a:pPr>
                      <a:r>
                        <a:rPr lang="en-US" sz="2000" u="none" dirty="0">
                          <a:solidFill>
                            <a:schemeClr val="bg2"/>
                          </a:solidFill>
                          <a:latin typeface="Sitka Display" pitchFamily="2" charset="0"/>
                          <a:ea typeface="Times New Roman"/>
                        </a:rPr>
                        <a:t>Persons who have immigrated within the past 5 years from areas with high     prevalence</a:t>
                      </a:r>
                      <a:endParaRPr lang="en-US" sz="2800" u="none" dirty="0">
                        <a:solidFill>
                          <a:schemeClr val="bg2"/>
                        </a:solidFill>
                        <a:latin typeface="Sitka Display" pitchFamily="2" charset="0"/>
                        <a:ea typeface="Times New Roman"/>
                      </a:endParaRPr>
                    </a:p>
                    <a:p>
                      <a:pPr marL="342900" marR="0" lvl="0" indent="-342900" algn="l" rtl="0">
                        <a:spcBef>
                          <a:spcPts val="0"/>
                        </a:spcBef>
                        <a:spcAft>
                          <a:spcPts val="0"/>
                        </a:spcAft>
                        <a:buFont typeface="+mj-lt"/>
                        <a:buAutoNum type="arabicPeriod"/>
                        <a:tabLst>
                          <a:tab pos="228600" algn="l"/>
                        </a:tabLst>
                      </a:pPr>
                      <a:r>
                        <a:rPr lang="en-US" sz="2000" u="none" dirty="0">
                          <a:solidFill>
                            <a:schemeClr val="bg2"/>
                          </a:solidFill>
                          <a:latin typeface="Sitka Display" pitchFamily="2" charset="0"/>
                          <a:ea typeface="Times New Roman"/>
                        </a:rPr>
                        <a:t>Persons with prolonged stay (&gt;1month) in areas with high TB e.g. prisons</a:t>
                      </a:r>
                      <a:endParaRPr lang="en-US" sz="2800" u="none" dirty="0">
                        <a:solidFill>
                          <a:schemeClr val="bg2"/>
                        </a:solidFill>
                        <a:latin typeface="Sitka Display" pitchFamily="2" charset="0"/>
                        <a:ea typeface="Times New Roman"/>
                      </a:endParaRPr>
                    </a:p>
                    <a:p>
                      <a:pPr marL="342900" marR="0" lvl="0" indent="-342900" algn="l" rtl="0">
                        <a:spcBef>
                          <a:spcPts val="0"/>
                        </a:spcBef>
                        <a:spcAft>
                          <a:spcPts val="0"/>
                        </a:spcAft>
                        <a:buFont typeface="+mj-lt"/>
                        <a:buAutoNum type="arabicPeriod"/>
                        <a:tabLst>
                          <a:tab pos="228600" algn="l"/>
                        </a:tabLst>
                      </a:pPr>
                      <a:r>
                        <a:rPr lang="en-US" sz="2000" u="none" dirty="0">
                          <a:solidFill>
                            <a:schemeClr val="bg2"/>
                          </a:solidFill>
                          <a:latin typeface="Sitka Display" pitchFamily="2" charset="0"/>
                          <a:ea typeface="Times New Roman"/>
                        </a:rPr>
                        <a:t>Injection drug users.</a:t>
                      </a:r>
                      <a:endParaRPr lang="en-US" sz="2800" u="none" dirty="0">
                        <a:solidFill>
                          <a:schemeClr val="bg2"/>
                        </a:solidFill>
                        <a:latin typeface="Sitka Display" pitchFamily="2" charset="0"/>
                        <a:ea typeface="Times New Roman"/>
                      </a:endParaRPr>
                    </a:p>
                    <a:p>
                      <a:pPr marL="342900" marR="0" lvl="0" indent="-342900" algn="l" rtl="0">
                        <a:spcBef>
                          <a:spcPts val="0"/>
                        </a:spcBef>
                        <a:spcAft>
                          <a:spcPts val="0"/>
                        </a:spcAft>
                        <a:buFont typeface="+mj-lt"/>
                        <a:buAutoNum type="arabicPeriod"/>
                        <a:tabLst>
                          <a:tab pos="228600" algn="l"/>
                        </a:tabLst>
                      </a:pPr>
                      <a:r>
                        <a:rPr lang="en-US" sz="2000" u="none" dirty="0">
                          <a:solidFill>
                            <a:schemeClr val="bg2"/>
                          </a:solidFill>
                          <a:latin typeface="Sitka Display" pitchFamily="2" charset="0"/>
                          <a:ea typeface="Times New Roman"/>
                        </a:rPr>
                        <a:t>Persons over age 70 and children &lt; 4 years of age</a:t>
                      </a:r>
                      <a:r>
                        <a:rPr lang="en-US" sz="2000" u="none" dirty="0" smtClean="0">
                          <a:solidFill>
                            <a:schemeClr val="bg2"/>
                          </a:solidFill>
                          <a:latin typeface="Sitka Display" pitchFamily="2" charset="0"/>
                          <a:ea typeface="Times New Roman"/>
                        </a:rPr>
                        <a:t>.</a:t>
                      </a:r>
                    </a:p>
                    <a:p>
                      <a:pPr marL="342900" marR="0" lvl="0" indent="-342900" algn="l" rtl="0">
                        <a:spcBef>
                          <a:spcPts val="0"/>
                        </a:spcBef>
                        <a:spcAft>
                          <a:spcPts val="0"/>
                        </a:spcAft>
                        <a:buFont typeface="+mj-lt"/>
                        <a:buNone/>
                        <a:tabLst>
                          <a:tab pos="228600" algn="l"/>
                        </a:tabLst>
                      </a:pPr>
                      <a:endParaRPr lang="en-US" sz="2800" u="none" dirty="0">
                        <a:solidFill>
                          <a:schemeClr val="bg2"/>
                        </a:solidFill>
                        <a:latin typeface="Sitka Display" pitchFamily="2" charset="0"/>
                        <a:ea typeface="Times New Roman"/>
                      </a:endParaRPr>
                    </a:p>
                  </a:txBody>
                  <a:tcPr marL="63944" marR="63944" marT="0" marB="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29063">
                <a:tc>
                  <a:txBody>
                    <a:bodyPr/>
                    <a:lstStyle/>
                    <a:p>
                      <a:pPr marL="0" marR="0" algn="ctr" rtl="0">
                        <a:spcBef>
                          <a:spcPts val="0"/>
                        </a:spcBef>
                        <a:spcAft>
                          <a:spcPts val="0"/>
                        </a:spcAft>
                      </a:pPr>
                      <a:r>
                        <a:rPr lang="en-US" sz="2000" b="1" u="none" dirty="0">
                          <a:solidFill>
                            <a:schemeClr val="bg2"/>
                          </a:solidFill>
                          <a:latin typeface="Sitka Display" pitchFamily="2" charset="0"/>
                          <a:ea typeface="Times New Roman"/>
                        </a:rPr>
                        <a:t>≥ 15 mm for</a:t>
                      </a:r>
                      <a:endParaRPr lang="en-US" sz="2800" b="1" u="none" dirty="0">
                        <a:solidFill>
                          <a:schemeClr val="bg2"/>
                        </a:solidFill>
                        <a:latin typeface="Sitka Display" pitchFamily="2" charset="0"/>
                        <a:ea typeface="Times New Roman"/>
                      </a:endParaRPr>
                    </a:p>
                  </a:txBody>
                  <a:tcPr marL="63944" marR="63944" marT="0" marB="0">
                    <a:lnL w="381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marR="0" algn="l" rtl="0">
                        <a:spcBef>
                          <a:spcPts val="0"/>
                        </a:spcBef>
                        <a:spcAft>
                          <a:spcPts val="0"/>
                        </a:spcAft>
                      </a:pPr>
                      <a:r>
                        <a:rPr lang="en-US" sz="2000" b="0" u="none" dirty="0">
                          <a:solidFill>
                            <a:schemeClr val="bg2"/>
                          </a:solidFill>
                          <a:latin typeface="Sitka Display" pitchFamily="2" charset="0"/>
                          <a:ea typeface="Times New Roman"/>
                        </a:rPr>
                        <a:t>Considered positive in all peoples even in vaccinated persons</a:t>
                      </a:r>
                      <a:endParaRPr lang="en-US" sz="2800" b="0" u="none" dirty="0">
                        <a:solidFill>
                          <a:schemeClr val="bg2"/>
                        </a:solidFill>
                        <a:latin typeface="Sitka Display" pitchFamily="2" charset="0"/>
                        <a:ea typeface="Times New Roman"/>
                      </a:endParaRPr>
                    </a:p>
                  </a:txBody>
                  <a:tcPr marL="63944" marR="63944" marT="0" marB="0">
                    <a:lnL w="12700" cap="flat" cmpd="sng"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38100" cap="flat" cmpd="dbl"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9223070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3"/>
          <p:cNvSpPr>
            <a:spLocks noGrp="1" noChangeArrowheads="1"/>
          </p:cNvSpPr>
          <p:nvPr>
            <p:ph type="body" idx="1"/>
          </p:nvPr>
        </p:nvSpPr>
        <p:spPr>
          <a:xfrm>
            <a:off x="685800" y="1357298"/>
            <a:ext cx="5348318" cy="4572000"/>
          </a:xfrm>
        </p:spPr>
        <p:txBody>
          <a:bodyPr/>
          <a:lstStyle/>
          <a:p>
            <a:pPr eaLnBrk="1" hangingPunct="1">
              <a:lnSpc>
                <a:spcPct val="110000"/>
              </a:lnSpc>
              <a:spcBef>
                <a:spcPct val="50000"/>
              </a:spcBef>
              <a:spcAft>
                <a:spcPct val="50000"/>
              </a:spcAft>
              <a:buClr>
                <a:srgbClr val="FFFF00"/>
              </a:buClr>
            </a:pPr>
            <a:r>
              <a:rPr lang="en-US" altLang="en-US" sz="2400" b="1" dirty="0">
                <a:latin typeface="Candara" pitchFamily="34" charset="0"/>
              </a:rPr>
              <a:t>Bacillus </a:t>
            </a:r>
            <a:r>
              <a:rPr lang="en-US" altLang="en-US" sz="2400" b="1" dirty="0" smtClean="0">
                <a:latin typeface="Candara" pitchFamily="34" charset="0"/>
              </a:rPr>
              <a:t>is</a:t>
            </a:r>
            <a:r>
              <a:rPr lang="en-US" altLang="zh-CN" sz="2400" b="1" dirty="0" smtClean="0">
                <a:solidFill>
                  <a:srgbClr val="FFFF00"/>
                </a:solidFill>
                <a:effectLst>
                  <a:outerShdw blurRad="38100" dist="38100" dir="2700000" algn="tl">
                    <a:srgbClr val="000000"/>
                  </a:outerShdw>
                </a:effectLst>
                <a:latin typeface="Candara" pitchFamily="34" charset="0"/>
              </a:rPr>
              <a:t> aerobic</a:t>
            </a:r>
            <a:r>
              <a:rPr lang="en-US" altLang="en-US" sz="2400" b="1" dirty="0" smtClean="0">
                <a:latin typeface="Candara" pitchFamily="34" charset="0"/>
              </a:rPr>
              <a:t> </a:t>
            </a:r>
            <a:r>
              <a:rPr lang="en-US" altLang="en-US" sz="2400" b="1" dirty="0">
                <a:latin typeface="Candara" pitchFamily="34" charset="0"/>
              </a:rPr>
              <a:t>thin, somewhat curved, from </a:t>
            </a:r>
            <a:r>
              <a:rPr lang="en-US" altLang="en-US" sz="2400" b="1" dirty="0">
                <a:solidFill>
                  <a:srgbClr val="FFFF00"/>
                </a:solidFill>
                <a:latin typeface="Candara" pitchFamily="34" charset="0"/>
              </a:rPr>
              <a:t>1 </a:t>
            </a:r>
            <a:r>
              <a:rPr lang="en-US" altLang="en-US" sz="2400" b="1" dirty="0" smtClean="0">
                <a:solidFill>
                  <a:srgbClr val="FFFF00"/>
                </a:solidFill>
                <a:latin typeface="Candara" pitchFamily="34" charset="0"/>
              </a:rPr>
              <a:t>- </a:t>
            </a:r>
            <a:r>
              <a:rPr lang="en-US" altLang="en-US" sz="2400" b="1" dirty="0">
                <a:solidFill>
                  <a:srgbClr val="FFFF00"/>
                </a:solidFill>
                <a:latin typeface="Candara" pitchFamily="34" charset="0"/>
              </a:rPr>
              <a:t>5 microns </a:t>
            </a:r>
            <a:r>
              <a:rPr lang="en-US" altLang="en-US" sz="2400" b="1" dirty="0">
                <a:latin typeface="Candara" pitchFamily="34" charset="0"/>
              </a:rPr>
              <a:t>in length, with a complex </a:t>
            </a:r>
            <a:r>
              <a:rPr lang="en-US" altLang="en-US" sz="2400" b="1" dirty="0" smtClean="0">
                <a:latin typeface="Candara" pitchFamily="34" charset="0"/>
              </a:rPr>
              <a:t>cell </a:t>
            </a:r>
            <a:r>
              <a:rPr lang="en-US" altLang="en-US" sz="2400" b="1" dirty="0">
                <a:latin typeface="Candara" pitchFamily="34" charset="0"/>
              </a:rPr>
              <a:t>wall (</a:t>
            </a:r>
            <a:r>
              <a:rPr lang="en-US" altLang="en-US" sz="2400" b="1" dirty="0">
                <a:solidFill>
                  <a:srgbClr val="FFFF00"/>
                </a:solidFill>
                <a:latin typeface="Candara" pitchFamily="34" charset="0"/>
              </a:rPr>
              <a:t>lipid core</a:t>
            </a:r>
            <a:r>
              <a:rPr lang="en-US" altLang="en-US" sz="2400" b="1" dirty="0">
                <a:latin typeface="Candara" pitchFamily="34" charset="0"/>
              </a:rPr>
              <a:t>) responsible for its characteristic coloration (</a:t>
            </a:r>
            <a:r>
              <a:rPr lang="en-US" altLang="en-US" sz="2400" b="1" dirty="0" smtClean="0">
                <a:solidFill>
                  <a:srgbClr val="FFFF00"/>
                </a:solidFill>
                <a:latin typeface="Candara" pitchFamily="34" charset="0"/>
              </a:rPr>
              <a:t>acid -fast</a:t>
            </a:r>
            <a:r>
              <a:rPr lang="en-US" altLang="en-US" sz="2400" b="1" dirty="0" smtClean="0">
                <a:latin typeface="Candara" pitchFamily="34" charset="0"/>
              </a:rPr>
              <a:t>).</a:t>
            </a:r>
            <a:endParaRPr lang="en-US" altLang="en-US" sz="2400" b="1" dirty="0">
              <a:latin typeface="Candara" pitchFamily="34" charset="0"/>
            </a:endParaRPr>
          </a:p>
          <a:p>
            <a:pPr algn="l" rtl="0" eaLnBrk="1" hangingPunct="1">
              <a:lnSpc>
                <a:spcPct val="110000"/>
              </a:lnSpc>
              <a:spcBef>
                <a:spcPct val="50000"/>
              </a:spcBef>
              <a:spcAft>
                <a:spcPct val="50000"/>
              </a:spcAft>
              <a:buClr>
                <a:srgbClr val="FFFF00"/>
              </a:buClr>
            </a:pPr>
            <a:r>
              <a:rPr lang="en-US" altLang="en-US" sz="2400" b="1" dirty="0">
                <a:solidFill>
                  <a:srgbClr val="FFFF00"/>
                </a:solidFill>
                <a:latin typeface="Candara" pitchFamily="34" charset="0"/>
              </a:rPr>
              <a:t>Susceptible</a:t>
            </a:r>
            <a:r>
              <a:rPr lang="en-US" altLang="en-US" sz="2400" b="1" dirty="0">
                <a:latin typeface="Candara" pitchFamily="34" charset="0"/>
              </a:rPr>
              <a:t> to sunlight, heat and dryness. </a:t>
            </a:r>
          </a:p>
        </p:txBody>
      </p:sp>
      <p:pic>
        <p:nvPicPr>
          <p:cNvPr id="14340" name="Picture 4" descr="bacilo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2037" y="1447800"/>
            <a:ext cx="2316163" cy="506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2"/>
          <p:cNvSpPr txBox="1">
            <a:spLocks noChangeArrowheads="1"/>
          </p:cNvSpPr>
          <p:nvPr/>
        </p:nvSpPr>
        <p:spPr bwMode="auto">
          <a:xfrm>
            <a:off x="714348" y="295252"/>
            <a:ext cx="7786742" cy="695348"/>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vert="horz" wrap="square" lIns="92075" tIns="46038" rIns="92075" bIns="46038"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4000" b="1" i="0" u="none" strike="noStrike" kern="0" cap="none" spc="0" normalizeH="0" baseline="0" noProof="0" dirty="0" smtClean="0">
                <a:ln>
                  <a:noFill/>
                </a:ln>
                <a:solidFill>
                  <a:srgbClr val="FFFF00"/>
                </a:solidFill>
                <a:effectLst>
                  <a:outerShdw blurRad="38100" dist="38100" dir="2700000" algn="tl">
                    <a:srgbClr val="000000"/>
                  </a:outerShdw>
                </a:effectLst>
                <a:uLnTx/>
                <a:uFillTx/>
                <a:latin typeface="Times New Roman"/>
                <a:ea typeface="SimSun"/>
                <a:cs typeface="+mn-cs"/>
              </a:rPr>
              <a:t>Aetiology </a:t>
            </a:r>
            <a:endParaRPr kumimoji="1" lang="en-US" altLang="zh-CN" sz="4000" b="1" i="0" u="none" strike="noStrike" kern="0" cap="none" spc="0" normalizeH="0" baseline="0" noProof="0" dirty="0" smtClean="0">
              <a:ln>
                <a:noFill/>
              </a:ln>
              <a:solidFill>
                <a:srgbClr val="FFFF00"/>
              </a:solidFill>
              <a:effectLst>
                <a:outerShdw blurRad="38100" dist="38100" dir="2700000" algn="tl">
                  <a:srgbClr val="000000"/>
                </a:outerShdw>
              </a:effectLst>
              <a:uLnTx/>
              <a:uFillTx/>
              <a:latin typeface="Times New Roman"/>
              <a:ea typeface="SimSun"/>
              <a:cs typeface="+mn-cs"/>
            </a:endParaRPr>
          </a:p>
        </p:txBody>
      </p:sp>
    </p:spTree>
    <p:extLst>
      <p:ext uri="{BB962C8B-B14F-4D97-AF65-F5344CB8AC3E}">
        <p14:creationId xmlns:p14="http://schemas.microsoft.com/office/powerpoint/2010/main" val="2787337489"/>
      </p:ext>
    </p:extLst>
  </p:cSld>
  <p:clrMapOvr>
    <a:masterClrMapping/>
  </p:clrMapOv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25" y="322262"/>
            <a:ext cx="8678893" cy="668338"/>
          </a:xfrm>
        </p:spPr>
        <p:style>
          <a:lnRef idx="0">
            <a:schemeClr val="accent1"/>
          </a:lnRef>
          <a:fillRef idx="3">
            <a:schemeClr val="accent1"/>
          </a:fillRef>
          <a:effectRef idx="3">
            <a:schemeClr val="accent1"/>
          </a:effectRef>
          <a:fontRef idx="minor">
            <a:schemeClr val="lt1"/>
          </a:fontRef>
        </p:style>
        <p:txBody>
          <a:bodyPr/>
          <a:lstStyle/>
          <a:p>
            <a:pPr eaLnBrk="1" hangingPunct="1">
              <a:defRPr/>
            </a:pPr>
            <a:r>
              <a:rPr lang="en-US" sz="3600" b="1" dirty="0" smtClean="0">
                <a:solidFill>
                  <a:srgbClr val="FFFF00"/>
                </a:solidFill>
              </a:rPr>
              <a:t>Mycobacteria unique cell wall structure </a:t>
            </a:r>
            <a:endParaRPr lang="ar-EG" sz="3600" b="1" dirty="0" smtClean="0">
              <a:solidFill>
                <a:srgbClr val="FFFF00"/>
              </a:solidFill>
            </a:endParaRPr>
          </a:p>
        </p:txBody>
      </p:sp>
      <p:pic>
        <p:nvPicPr>
          <p:cNvPr id="12291" name="Picture 1" descr="https://pharmchem.ucsf.edu/sites/pharmchem.ucsf.edu/files/styles/pharmacy_half/public/cell%20envelope%20of%20Mycobacterium%20tuberculosis.jpg?itok=rKb3_mgk"/>
          <p:cNvPicPr>
            <a:picLocks noChangeAspect="1" noChangeArrowheads="1"/>
          </p:cNvPicPr>
          <p:nvPr/>
        </p:nvPicPr>
        <p:blipFill>
          <a:blip r:embed="rId2"/>
          <a:stretch>
            <a:fillRect/>
          </a:stretch>
        </p:blipFill>
        <p:spPr bwMode="auto">
          <a:xfrm>
            <a:off x="214313" y="1258472"/>
            <a:ext cx="8715405" cy="5447128"/>
          </a:xfrm>
          <a:prstGeom prst="rect">
            <a:avLst/>
          </a:prstGeom>
          <a:noFill/>
          <a:ln w="9525">
            <a:noFill/>
            <a:miter lim="800000"/>
            <a:headEnd/>
            <a:tailEnd/>
          </a:ln>
        </p:spPr>
      </p:pic>
    </p:spTree>
    <p:extLst>
      <p:ext uri="{BB962C8B-B14F-4D97-AF65-F5344CB8AC3E}">
        <p14:creationId xmlns:p14="http://schemas.microsoft.com/office/powerpoint/2010/main" val="32241562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B251E60-9FBC-490F-A7B9-052B1359CA3B}"/>
              </a:ext>
            </a:extLst>
          </p:cNvPr>
          <p:cNvSpPr>
            <a:spLocks noGrp="1"/>
          </p:cNvSpPr>
          <p:nvPr>
            <p:ph sz="quarter" idx="1"/>
          </p:nvPr>
        </p:nvSpPr>
        <p:spPr>
          <a:xfrm>
            <a:off x="762000" y="1527048"/>
            <a:ext cx="8503920" cy="4572000"/>
          </a:xfrm>
        </p:spPr>
        <p:txBody>
          <a:bodyPr>
            <a:normAutofit/>
          </a:bodyPr>
          <a:lstStyle/>
          <a:p>
            <a:pPr marL="109728" indent="0" algn="l" rtl="0">
              <a:buNone/>
            </a:pPr>
            <a:endParaRPr lang="en-US" sz="2800" b="1" dirty="0">
              <a:solidFill>
                <a:srgbClr val="0070C0"/>
              </a:solidFill>
              <a:effectLst>
                <a:outerShdw blurRad="38100" dist="38100" dir="2700000" algn="tl">
                  <a:srgbClr val="000000">
                    <a:alpha val="43137"/>
                  </a:srgbClr>
                </a:outerShdw>
              </a:effectLst>
              <a:latin typeface="Times New Roman" pitchFamily="18" charset="0"/>
              <a:cs typeface="Times New Roman" pitchFamily="18" charset="0"/>
            </a:endParaRPr>
          </a:p>
          <a:p>
            <a:pPr algn="l" rtl="0">
              <a:lnSpc>
                <a:spcPct val="150000"/>
              </a:lnSpc>
            </a:pPr>
            <a:r>
              <a:rPr lang="en-US" sz="3200" b="1" dirty="0" smtClean="0">
                <a:solidFill>
                  <a:srgbClr val="0070C0"/>
                </a:solidFill>
                <a:effectLst>
                  <a:outerShdw blurRad="38100" dist="38100" dir="2700000" algn="tl">
                    <a:srgbClr val="000000">
                      <a:alpha val="43137"/>
                    </a:srgbClr>
                  </a:outerShdw>
                </a:effectLst>
                <a:latin typeface="Times New Roman" pitchFamily="18" charset="0"/>
                <a:cs typeface="Times New Roman" pitchFamily="18" charset="0"/>
              </a:rPr>
              <a:t>What </a:t>
            </a:r>
            <a:r>
              <a:rPr lang="en-US" sz="3200" b="1" dirty="0">
                <a:solidFill>
                  <a:srgbClr val="0070C0"/>
                </a:solidFill>
                <a:effectLst>
                  <a:outerShdw blurRad="38100" dist="38100" dir="2700000" algn="tl">
                    <a:srgbClr val="000000">
                      <a:alpha val="43137"/>
                    </a:srgbClr>
                  </a:outerShdw>
                </a:effectLst>
                <a:latin typeface="Times New Roman" pitchFamily="18" charset="0"/>
                <a:cs typeface="Times New Roman" pitchFamily="18" charset="0"/>
              </a:rPr>
              <a:t>are the groups at higher risk for developing </a:t>
            </a:r>
            <a:r>
              <a:rPr lang="en-US" sz="3200" b="1" dirty="0" smtClean="0">
                <a:solidFill>
                  <a:srgbClr val="0070C0"/>
                </a:solidFill>
                <a:effectLst>
                  <a:outerShdw blurRad="38100" dist="38100" dir="2700000" algn="tl">
                    <a:srgbClr val="000000">
                      <a:alpha val="43137"/>
                    </a:srgbClr>
                  </a:outerShdw>
                </a:effectLst>
                <a:latin typeface="Times New Roman" pitchFamily="18" charset="0"/>
                <a:cs typeface="Times New Roman" pitchFamily="18" charset="0"/>
              </a:rPr>
              <a:t>TB disease?</a:t>
            </a:r>
            <a:endParaRPr lang="en-US" sz="3200" b="1" dirty="0">
              <a:solidFill>
                <a:srgbClr val="0070C0"/>
              </a:solidFill>
              <a:effectLst>
                <a:outerShdw blurRad="38100" dist="38100" dir="2700000" algn="tl">
                  <a:srgbClr val="000000">
                    <a:alpha val="43137"/>
                  </a:srgbClr>
                </a:outerShdw>
              </a:effectLst>
              <a:latin typeface="Times New Roman" pitchFamily="18" charset="0"/>
              <a:cs typeface="Times New Roman" pitchFamily="18" charset="0"/>
            </a:endParaRPr>
          </a:p>
          <a:p>
            <a:endParaRPr lang="en-US" sz="2800" dirty="0">
              <a:solidFill>
                <a:srgbClr val="0070C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78495432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091047" y="22227"/>
            <a:ext cx="6961905" cy="6733333"/>
          </a:xfrm>
          <a:prstGeom prst="rect">
            <a:avLst/>
          </a:prstGeom>
        </p:spPr>
      </p:pic>
    </p:spTree>
    <p:extLst>
      <p:ext uri="{BB962C8B-B14F-4D97-AF65-F5344CB8AC3E}">
        <p14:creationId xmlns:p14="http://schemas.microsoft.com/office/powerpoint/2010/main" val="2376914029"/>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592A13-FD43-46F7-9159-DF9B5B37E241}"/>
              </a:ext>
            </a:extLst>
          </p:cNvPr>
          <p:cNvSpPr>
            <a:spLocks noGrp="1"/>
          </p:cNvSpPr>
          <p:nvPr>
            <p:ph sz="quarter" idx="1"/>
          </p:nvPr>
        </p:nvSpPr>
        <p:spPr>
          <a:xfrm>
            <a:off x="792480" y="1527048"/>
            <a:ext cx="8503920" cy="4572000"/>
          </a:xfrm>
        </p:spPr>
        <p:txBody>
          <a:bodyPr>
            <a:normAutofit lnSpcReduction="10000"/>
          </a:bodyPr>
          <a:lstStyle/>
          <a:p>
            <a:pPr marL="342900" lvl="0" indent="-342900">
              <a:lnSpc>
                <a:spcPct val="107000"/>
              </a:lnSpc>
              <a:spcBef>
                <a:spcPts val="0"/>
              </a:spcBef>
              <a:buNone/>
            </a:pPr>
            <a:r>
              <a:rPr lang="en-US" sz="2400" b="1" u="sng" dirty="0" smtClean="0">
                <a:solidFill>
                  <a:srgbClr val="00B050"/>
                </a:solidFill>
              </a:rPr>
              <a:t>High risk groups for tuberculosis </a:t>
            </a:r>
            <a:endParaRPr lang="en-US" sz="2400" u="sng" dirty="0" smtClean="0">
              <a:solidFill>
                <a:srgbClr val="00B050"/>
              </a:solidFill>
              <a:latin typeface="Times New Roman" pitchFamily="18" charset="0"/>
              <a:cs typeface="Times New Roman" pitchFamily="18" charset="0"/>
            </a:endParaRPr>
          </a:p>
          <a:p>
            <a:pPr marL="342900" marR="0" lvl="0" indent="-342900" algn="l" rtl="0">
              <a:lnSpc>
                <a:spcPct val="107000"/>
              </a:lnSpc>
              <a:spcBef>
                <a:spcPts val="0"/>
              </a:spcBef>
              <a:spcAft>
                <a:spcPts val="0"/>
              </a:spcAft>
              <a:buFont typeface="Wingdings" panose="05000000000000000000" pitchFamily="2" charset="2"/>
              <a:buChar char="Ø"/>
            </a:pPr>
            <a:r>
              <a:rPr lang="en-US" sz="2400" b="1" dirty="0" smtClean="0">
                <a:solidFill>
                  <a:srgbClr val="002060"/>
                </a:solidFill>
                <a:latin typeface="Candara" pitchFamily="34" charset="0"/>
                <a:cs typeface="Times New Roman" pitchFamily="18" charset="0"/>
              </a:rPr>
              <a:t>Silicosis,</a:t>
            </a:r>
            <a:endParaRPr lang="en-US" sz="2400" b="1" dirty="0">
              <a:solidFill>
                <a:srgbClr val="002060"/>
              </a:solidFill>
              <a:latin typeface="Candara" pitchFamily="34" charset="0"/>
              <a:cs typeface="Times New Roman" pitchFamily="18" charset="0"/>
            </a:endParaRPr>
          </a:p>
          <a:p>
            <a:pPr marL="342900" marR="0" lvl="0" indent="-342900" algn="l" rtl="0">
              <a:lnSpc>
                <a:spcPct val="107000"/>
              </a:lnSpc>
              <a:spcBef>
                <a:spcPts val="0"/>
              </a:spcBef>
              <a:spcAft>
                <a:spcPts val="0"/>
              </a:spcAft>
              <a:buFont typeface="Wingdings" panose="05000000000000000000" pitchFamily="2" charset="2"/>
              <a:buChar char="Ø"/>
            </a:pPr>
            <a:r>
              <a:rPr lang="en-US" sz="2400" b="1" dirty="0">
                <a:solidFill>
                  <a:srgbClr val="002060"/>
                </a:solidFill>
                <a:latin typeface="Candara" pitchFamily="34" charset="0"/>
                <a:cs typeface="Times New Roman" pitchFamily="18" charset="0"/>
              </a:rPr>
              <a:t>Impaired immunity as </a:t>
            </a:r>
            <a:r>
              <a:rPr lang="en-US" sz="2400" b="1" dirty="0" smtClean="0">
                <a:solidFill>
                  <a:srgbClr val="002060"/>
                </a:solidFill>
                <a:latin typeface="Candara" pitchFamily="34" charset="0"/>
                <a:cs typeface="Times New Roman" pitchFamily="18" charset="0"/>
              </a:rPr>
              <a:t>in:</a:t>
            </a:r>
          </a:p>
          <a:p>
            <a:pPr marL="891540" lvl="2" indent="-342900">
              <a:lnSpc>
                <a:spcPct val="107000"/>
              </a:lnSpc>
              <a:spcBef>
                <a:spcPts val="0"/>
              </a:spcBef>
              <a:buClr>
                <a:srgbClr val="0070C0"/>
              </a:buClr>
              <a:buSzPct val="60000"/>
              <a:buFont typeface="Wingdings" pitchFamily="2" charset="2"/>
              <a:buChar char="q"/>
            </a:pPr>
            <a:r>
              <a:rPr lang="en-US" sz="2400" dirty="0" smtClean="0">
                <a:solidFill>
                  <a:srgbClr val="002060"/>
                </a:solidFill>
                <a:latin typeface="Candara" pitchFamily="34" charset="0"/>
                <a:cs typeface="Times New Roman" pitchFamily="18" charset="0"/>
              </a:rPr>
              <a:t>Diabetes</a:t>
            </a:r>
          </a:p>
          <a:p>
            <a:pPr marL="891540" lvl="2" indent="-342900">
              <a:lnSpc>
                <a:spcPct val="107000"/>
              </a:lnSpc>
              <a:spcBef>
                <a:spcPts val="0"/>
              </a:spcBef>
              <a:buClr>
                <a:srgbClr val="0070C0"/>
              </a:buClr>
              <a:buSzPct val="60000"/>
              <a:buFont typeface="Wingdings" pitchFamily="2" charset="2"/>
              <a:buChar char="q"/>
            </a:pPr>
            <a:r>
              <a:rPr lang="en-US" sz="2400" dirty="0" smtClean="0">
                <a:solidFill>
                  <a:srgbClr val="002060"/>
                </a:solidFill>
                <a:latin typeface="Candara" pitchFamily="34" charset="0"/>
                <a:cs typeface="Times New Roman" pitchFamily="18" charset="0"/>
              </a:rPr>
              <a:t>HIV </a:t>
            </a:r>
            <a:r>
              <a:rPr lang="en-US" sz="2400" dirty="0">
                <a:solidFill>
                  <a:srgbClr val="002060"/>
                </a:solidFill>
                <a:latin typeface="Candara" pitchFamily="34" charset="0"/>
                <a:cs typeface="Times New Roman" pitchFamily="18" charset="0"/>
              </a:rPr>
              <a:t>(human immune deficiency virus) </a:t>
            </a:r>
            <a:r>
              <a:rPr lang="en-US" sz="2400" dirty="0" smtClean="0">
                <a:solidFill>
                  <a:srgbClr val="002060"/>
                </a:solidFill>
                <a:latin typeface="Candara" pitchFamily="34" charset="0"/>
                <a:cs typeface="Times New Roman" pitchFamily="18" charset="0"/>
              </a:rPr>
              <a:t>infection,</a:t>
            </a:r>
          </a:p>
          <a:p>
            <a:pPr marL="891540" lvl="2" indent="-342900">
              <a:lnSpc>
                <a:spcPct val="107000"/>
              </a:lnSpc>
              <a:spcBef>
                <a:spcPts val="0"/>
              </a:spcBef>
              <a:buClr>
                <a:srgbClr val="0070C0"/>
              </a:buClr>
              <a:buSzPct val="60000"/>
              <a:buFont typeface="Wingdings" pitchFamily="2" charset="2"/>
              <a:buChar char="q"/>
            </a:pPr>
            <a:r>
              <a:rPr lang="en-US" sz="2400" dirty="0" smtClean="0">
                <a:solidFill>
                  <a:srgbClr val="002060"/>
                </a:solidFill>
                <a:latin typeface="Candara" pitchFamily="34" charset="0"/>
                <a:cs typeface="Times New Roman" pitchFamily="18" charset="0"/>
              </a:rPr>
              <a:t>Corticosteroids , </a:t>
            </a:r>
          </a:p>
          <a:p>
            <a:pPr marL="891540" lvl="2" indent="-342900">
              <a:lnSpc>
                <a:spcPct val="107000"/>
              </a:lnSpc>
              <a:spcBef>
                <a:spcPts val="0"/>
              </a:spcBef>
              <a:buClr>
                <a:srgbClr val="0070C0"/>
              </a:buClr>
              <a:buSzPct val="60000"/>
              <a:buFont typeface="Wingdings" pitchFamily="2" charset="2"/>
              <a:buChar char="q"/>
            </a:pPr>
            <a:r>
              <a:rPr lang="en-US" sz="2400" dirty="0" smtClean="0">
                <a:solidFill>
                  <a:srgbClr val="002060"/>
                </a:solidFill>
                <a:latin typeface="Candara" pitchFamily="34" charset="0"/>
                <a:cs typeface="Times New Roman" pitchFamily="18" charset="0"/>
              </a:rPr>
              <a:t>Immunosuppressive drugs </a:t>
            </a:r>
            <a:r>
              <a:rPr lang="en-US" sz="2400" dirty="0">
                <a:solidFill>
                  <a:srgbClr val="002060"/>
                </a:solidFill>
                <a:latin typeface="Candara" pitchFamily="34" charset="0"/>
                <a:cs typeface="Times New Roman" pitchFamily="18" charset="0"/>
              </a:rPr>
              <a:t>. </a:t>
            </a:r>
            <a:endParaRPr lang="en-US" dirty="0" smtClean="0">
              <a:solidFill>
                <a:srgbClr val="002060"/>
              </a:solidFill>
              <a:latin typeface="Candara" pitchFamily="34" charset="0"/>
              <a:cs typeface="Times New Roman" pitchFamily="18" charset="0"/>
            </a:endParaRPr>
          </a:p>
          <a:p>
            <a:pPr marL="617220" lvl="1" indent="-342900">
              <a:lnSpc>
                <a:spcPct val="107000"/>
              </a:lnSpc>
              <a:spcBef>
                <a:spcPts val="0"/>
              </a:spcBef>
              <a:buClr>
                <a:srgbClr val="0070C0"/>
              </a:buClr>
              <a:buSzPct val="60000"/>
              <a:buNone/>
            </a:pPr>
            <a:endParaRPr lang="en-US" sz="2400" dirty="0">
              <a:solidFill>
                <a:srgbClr val="002060"/>
              </a:solidFill>
              <a:latin typeface="Candara" pitchFamily="34" charset="0"/>
              <a:cs typeface="Times New Roman" pitchFamily="18" charset="0"/>
            </a:endParaRPr>
          </a:p>
          <a:p>
            <a:pPr marL="342900" marR="0" lvl="0" indent="-342900" algn="l" rtl="0">
              <a:lnSpc>
                <a:spcPct val="107000"/>
              </a:lnSpc>
              <a:spcBef>
                <a:spcPts val="0"/>
              </a:spcBef>
              <a:spcAft>
                <a:spcPts val="0"/>
              </a:spcAft>
              <a:buFont typeface="Wingdings" panose="05000000000000000000" pitchFamily="2" charset="2"/>
              <a:buChar char="Ø"/>
            </a:pPr>
            <a:r>
              <a:rPr lang="en-US" sz="2400" b="1" dirty="0">
                <a:solidFill>
                  <a:srgbClr val="002060"/>
                </a:solidFill>
                <a:latin typeface="Candara" pitchFamily="34" charset="0"/>
                <a:cs typeface="Times New Roman" pitchFamily="18" charset="0"/>
              </a:rPr>
              <a:t>Health care </a:t>
            </a:r>
            <a:r>
              <a:rPr lang="en-US" sz="2400" b="1" dirty="0" smtClean="0">
                <a:solidFill>
                  <a:srgbClr val="002060"/>
                </a:solidFill>
                <a:latin typeface="Candara" pitchFamily="34" charset="0"/>
                <a:cs typeface="Times New Roman" pitchFamily="18" charset="0"/>
              </a:rPr>
              <a:t>providers</a:t>
            </a:r>
          </a:p>
          <a:p>
            <a:pPr marL="342900" marR="0" lvl="0" indent="-342900" algn="l" rtl="0">
              <a:lnSpc>
                <a:spcPct val="107000"/>
              </a:lnSpc>
              <a:spcBef>
                <a:spcPts val="0"/>
              </a:spcBef>
              <a:spcAft>
                <a:spcPts val="0"/>
              </a:spcAft>
              <a:buFont typeface="Wingdings" panose="05000000000000000000" pitchFamily="2" charset="2"/>
              <a:buChar char="Ø"/>
            </a:pPr>
            <a:r>
              <a:rPr lang="en-US" sz="2400" b="1" dirty="0" smtClean="0">
                <a:solidFill>
                  <a:srgbClr val="002060"/>
                </a:solidFill>
                <a:latin typeface="Candara" pitchFamily="34" charset="0"/>
                <a:cs typeface="Times New Roman" pitchFamily="18" charset="0"/>
              </a:rPr>
              <a:t>Contact </a:t>
            </a:r>
            <a:endParaRPr lang="en-US" sz="2400" b="1" dirty="0">
              <a:solidFill>
                <a:srgbClr val="002060"/>
              </a:solidFill>
              <a:latin typeface="Candara" pitchFamily="34" charset="0"/>
              <a:cs typeface="Times New Roman" pitchFamily="18" charset="0"/>
            </a:endParaRPr>
          </a:p>
          <a:p>
            <a:pPr marL="342900" marR="0" lvl="0" indent="-342900" algn="l" rtl="0">
              <a:lnSpc>
                <a:spcPct val="107000"/>
              </a:lnSpc>
              <a:spcBef>
                <a:spcPts val="0"/>
              </a:spcBef>
              <a:spcAft>
                <a:spcPts val="0"/>
              </a:spcAft>
              <a:buFont typeface="Wingdings" panose="05000000000000000000" pitchFamily="2" charset="2"/>
              <a:buChar char="Ø"/>
            </a:pPr>
            <a:r>
              <a:rPr lang="en-US" sz="2400" b="1" dirty="0">
                <a:solidFill>
                  <a:srgbClr val="002060"/>
                </a:solidFill>
                <a:latin typeface="Candara" pitchFamily="34" charset="0"/>
                <a:cs typeface="Times New Roman" pitchFamily="18" charset="0"/>
              </a:rPr>
              <a:t>Prisoners</a:t>
            </a:r>
          </a:p>
          <a:p>
            <a:pPr marL="342900" marR="0" lvl="0" indent="-342900" algn="l" rtl="0">
              <a:lnSpc>
                <a:spcPct val="107000"/>
              </a:lnSpc>
              <a:spcBef>
                <a:spcPts val="0"/>
              </a:spcBef>
              <a:spcAft>
                <a:spcPts val="0"/>
              </a:spcAft>
              <a:buFont typeface="Wingdings" panose="05000000000000000000" pitchFamily="2" charset="2"/>
              <a:buChar char="Ø"/>
            </a:pPr>
            <a:r>
              <a:rPr lang="en-US" sz="2400" b="1" dirty="0" smtClean="0">
                <a:solidFill>
                  <a:srgbClr val="002060"/>
                </a:solidFill>
                <a:latin typeface="Candara" pitchFamily="34" charset="0"/>
                <a:cs typeface="Times New Roman" pitchFamily="18" charset="0"/>
              </a:rPr>
              <a:t>Goza </a:t>
            </a:r>
            <a:r>
              <a:rPr lang="en-US" sz="2400" b="1" dirty="0">
                <a:solidFill>
                  <a:srgbClr val="002060"/>
                </a:solidFill>
                <a:latin typeface="Candara" pitchFamily="34" charset="0"/>
                <a:cs typeface="Times New Roman" pitchFamily="18" charset="0"/>
              </a:rPr>
              <a:t>consumers</a:t>
            </a:r>
          </a:p>
          <a:p>
            <a:pPr algn="l" rtl="0">
              <a:buNone/>
            </a:pPr>
            <a:endParaRPr lang="en-US" sz="2400" b="1" dirty="0">
              <a:solidFill>
                <a:srgbClr val="002060"/>
              </a:solidFill>
              <a:latin typeface="Candara" pitchFamily="34" charset="0"/>
            </a:endParaRPr>
          </a:p>
        </p:txBody>
      </p:sp>
      <p:sp>
        <p:nvSpPr>
          <p:cNvPr id="4" name="Title 2"/>
          <p:cNvSpPr>
            <a:spLocks noGrp="1"/>
          </p:cNvSpPr>
          <p:nvPr>
            <p:ph type="title"/>
          </p:nvPr>
        </p:nvSpPr>
        <p:spPr>
          <a:xfrm>
            <a:off x="762000" y="457200"/>
            <a:ext cx="7470648" cy="609600"/>
          </a:xfrm>
        </p:spPr>
        <p:style>
          <a:lnRef idx="3">
            <a:schemeClr val="lt1"/>
          </a:lnRef>
          <a:fillRef idx="1">
            <a:schemeClr val="accent5"/>
          </a:fillRef>
          <a:effectRef idx="1">
            <a:schemeClr val="accent5"/>
          </a:effectRef>
          <a:fontRef idx="minor">
            <a:schemeClr val="lt1"/>
          </a:fontRef>
        </p:style>
        <p:txBody>
          <a:bodyPr>
            <a:noAutofit/>
          </a:bodyPr>
          <a:lstStyle/>
          <a:p>
            <a:r>
              <a:rPr lang="en-US" sz="3200" b="1" dirty="0" smtClean="0">
                <a:solidFill>
                  <a:srgbClr val="C00000"/>
                </a:solidFill>
                <a:effectLst>
                  <a:outerShdw blurRad="38100" dist="38100" dir="2700000" algn="tl">
                    <a:srgbClr val="000000">
                      <a:alpha val="43137"/>
                    </a:srgbClr>
                  </a:outerShdw>
                </a:effectLst>
              </a:rPr>
              <a:t>High risk groups for tuberculosis    </a:t>
            </a:r>
            <a:endParaRPr lang="ar-EG" sz="32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618368837"/>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4B9CD1E-CB0E-4C87-BF7D-393F104290A7}"/>
              </a:ext>
            </a:extLst>
          </p:cNvPr>
          <p:cNvSpPr>
            <a:spLocks noGrp="1"/>
          </p:cNvSpPr>
          <p:nvPr>
            <p:ph sz="quarter" idx="1"/>
          </p:nvPr>
        </p:nvSpPr>
        <p:spPr>
          <a:xfrm>
            <a:off x="301752" y="838200"/>
            <a:ext cx="8503920" cy="4572000"/>
          </a:xfrm>
        </p:spPr>
        <p:txBody>
          <a:bodyPr>
            <a:normAutofit/>
          </a:bodyPr>
          <a:lstStyle/>
          <a:p>
            <a:pPr marL="109728" indent="0" algn="l" rtl="0">
              <a:buNone/>
            </a:pPr>
            <a:endParaRPr lang="en-US" sz="2800" b="1" dirty="0">
              <a:solidFill>
                <a:srgbClr val="0070C0"/>
              </a:solidFill>
              <a:latin typeface="Times New Roman" pitchFamily="18" charset="0"/>
              <a:cs typeface="Times New Roman" pitchFamily="18" charset="0"/>
            </a:endParaRPr>
          </a:p>
          <a:p>
            <a:pPr marL="109728" indent="0" algn="l" rtl="0">
              <a:buNone/>
            </a:pPr>
            <a:endParaRPr lang="en-US" sz="2800" b="1" dirty="0">
              <a:solidFill>
                <a:srgbClr val="0070C0"/>
              </a:solidFill>
              <a:latin typeface="Times New Roman" pitchFamily="18" charset="0"/>
              <a:cs typeface="Times New Roman" pitchFamily="18" charset="0"/>
            </a:endParaRPr>
          </a:p>
          <a:p>
            <a:pPr algn="l" rtl="0">
              <a:lnSpc>
                <a:spcPct val="150000"/>
              </a:lnSpc>
            </a:pPr>
            <a:r>
              <a:rPr lang="en-US" sz="3200" b="1" dirty="0" smtClean="0">
                <a:solidFill>
                  <a:srgbClr val="0070C0"/>
                </a:solidFill>
                <a:latin typeface="Times New Roman" pitchFamily="18" charset="0"/>
                <a:cs typeface="Times New Roman" pitchFamily="18" charset="0"/>
              </a:rPr>
              <a:t>What </a:t>
            </a:r>
            <a:r>
              <a:rPr lang="en-US" sz="3200" b="1" dirty="0">
                <a:solidFill>
                  <a:srgbClr val="0070C0"/>
                </a:solidFill>
                <a:latin typeface="Times New Roman" pitchFamily="18" charset="0"/>
                <a:cs typeface="Times New Roman" pitchFamily="18" charset="0"/>
              </a:rPr>
              <a:t>are the most significant issues that may suggest active TB disease in this patient?</a:t>
            </a:r>
          </a:p>
          <a:p>
            <a:endParaRPr lang="en-US" sz="2800" dirty="0">
              <a:solidFill>
                <a:srgbClr val="0070C0"/>
              </a:solidFill>
            </a:endParaRPr>
          </a:p>
        </p:txBody>
      </p:sp>
    </p:spTree>
    <p:extLst>
      <p:ext uri="{BB962C8B-B14F-4D97-AF65-F5344CB8AC3E}">
        <p14:creationId xmlns:p14="http://schemas.microsoft.com/office/powerpoint/2010/main" val="1379366320"/>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8D64996-48BE-4FE9-854D-CC03A2B868BC}"/>
              </a:ext>
            </a:extLst>
          </p:cNvPr>
          <p:cNvSpPr>
            <a:spLocks noGrp="1"/>
          </p:cNvSpPr>
          <p:nvPr>
            <p:ph sz="quarter" idx="1"/>
          </p:nvPr>
        </p:nvSpPr>
        <p:spPr/>
        <p:txBody>
          <a:bodyPr>
            <a:normAutofit/>
          </a:bodyPr>
          <a:lstStyle/>
          <a:p>
            <a:pPr marL="201168" marR="0" indent="0" algn="l" rtl="0">
              <a:lnSpc>
                <a:spcPct val="107000"/>
              </a:lnSpc>
              <a:spcBef>
                <a:spcPts val="0"/>
              </a:spcBef>
              <a:spcAft>
                <a:spcPts val="0"/>
              </a:spcAft>
              <a:buNone/>
            </a:pPr>
            <a:r>
              <a:rPr lang="en-US" sz="2800" b="1" u="sng" dirty="0">
                <a:solidFill>
                  <a:srgbClr val="00B050"/>
                </a:solidFill>
                <a:effectLst>
                  <a:outerShdw blurRad="38100" dist="38100" dir="2700000" algn="tl">
                    <a:srgbClr val="000000">
                      <a:alpha val="43137"/>
                    </a:srgbClr>
                  </a:outerShdw>
                </a:effectLst>
                <a:latin typeface="Candara" pitchFamily="34" charset="0"/>
                <a:cs typeface="Times New Roman" pitchFamily="18" charset="0"/>
              </a:rPr>
              <a:t>Assessment of activity </a:t>
            </a:r>
            <a:r>
              <a:rPr lang="en-US" sz="2800" u="sng" dirty="0">
                <a:solidFill>
                  <a:srgbClr val="00B050"/>
                </a:solidFill>
                <a:effectLst>
                  <a:outerShdw blurRad="38100" dist="38100" dir="2700000" algn="tl">
                    <a:srgbClr val="000000">
                      <a:alpha val="43137"/>
                    </a:srgbClr>
                  </a:outerShdw>
                </a:effectLst>
                <a:latin typeface="Candara" pitchFamily="34" charset="0"/>
                <a:cs typeface="Times New Roman" pitchFamily="18" charset="0"/>
              </a:rPr>
              <a:t>: </a:t>
            </a:r>
          </a:p>
          <a:p>
            <a:pPr marL="658368" marR="0" indent="-457200" algn="l" rtl="0">
              <a:lnSpc>
                <a:spcPct val="107000"/>
              </a:lnSpc>
              <a:spcBef>
                <a:spcPts val="0"/>
              </a:spcBef>
              <a:spcAft>
                <a:spcPts val="0"/>
              </a:spcAft>
              <a:buFont typeface="Wingdings" panose="05000000000000000000" pitchFamily="2" charset="2"/>
              <a:buChar char="Ø"/>
            </a:pPr>
            <a:r>
              <a:rPr lang="en-US" b="1" u="sng" dirty="0" smtClean="0">
                <a:solidFill>
                  <a:srgbClr val="C00000"/>
                </a:solidFill>
                <a:latin typeface="Candara" pitchFamily="34" charset="0"/>
                <a:cs typeface="Times New Roman" pitchFamily="18" charset="0"/>
              </a:rPr>
              <a:t>Clinically</a:t>
            </a:r>
            <a:r>
              <a:rPr lang="en-US" b="1" dirty="0" smtClean="0">
                <a:solidFill>
                  <a:srgbClr val="C00000"/>
                </a:solidFill>
                <a:latin typeface="Candara" pitchFamily="34" charset="0"/>
                <a:cs typeface="Times New Roman" pitchFamily="18" charset="0"/>
              </a:rPr>
              <a:t>: </a:t>
            </a:r>
          </a:p>
          <a:p>
            <a:pPr marL="201168" marR="0" indent="0" algn="ctr" rtl="0">
              <a:lnSpc>
                <a:spcPct val="107000"/>
              </a:lnSpc>
              <a:spcBef>
                <a:spcPts val="0"/>
              </a:spcBef>
              <a:spcAft>
                <a:spcPts val="0"/>
              </a:spcAft>
              <a:buNone/>
            </a:pPr>
            <a:r>
              <a:rPr lang="en-US" b="1" dirty="0" smtClean="0">
                <a:solidFill>
                  <a:srgbClr val="002060"/>
                </a:solidFill>
                <a:latin typeface="Candara" pitchFamily="34" charset="0"/>
                <a:cs typeface="Times New Roman" pitchFamily="18" charset="0"/>
              </a:rPr>
              <a:t>                Symptoms: Cough, Haemoptysis ,fatigue, night   sweating, weight loss. </a:t>
            </a:r>
          </a:p>
          <a:p>
            <a:pPr marL="201168" marR="0" indent="0" algn="ctr" rtl="0">
              <a:lnSpc>
                <a:spcPct val="107000"/>
              </a:lnSpc>
              <a:spcBef>
                <a:spcPts val="0"/>
              </a:spcBef>
              <a:spcAft>
                <a:spcPts val="0"/>
              </a:spcAft>
              <a:buNone/>
            </a:pPr>
            <a:endParaRPr lang="en-US" b="1" dirty="0" smtClean="0">
              <a:solidFill>
                <a:srgbClr val="002060"/>
              </a:solidFill>
              <a:latin typeface="Candara" pitchFamily="34" charset="0"/>
              <a:cs typeface="Times New Roman" pitchFamily="18" charset="0"/>
            </a:endParaRPr>
          </a:p>
          <a:p>
            <a:pPr marL="201168" marR="0" indent="0" algn="l" rtl="0">
              <a:lnSpc>
                <a:spcPct val="107000"/>
              </a:lnSpc>
              <a:spcBef>
                <a:spcPts val="0"/>
              </a:spcBef>
              <a:spcAft>
                <a:spcPts val="0"/>
              </a:spcAft>
              <a:buNone/>
            </a:pPr>
            <a:r>
              <a:rPr lang="en-US" b="1" dirty="0" smtClean="0">
                <a:solidFill>
                  <a:srgbClr val="002060"/>
                </a:solidFill>
                <a:latin typeface="Candara" pitchFamily="34" charset="0"/>
                <a:cs typeface="Times New Roman" pitchFamily="18" charset="0"/>
              </a:rPr>
              <a:t>                 Signs: Crepitations. </a:t>
            </a:r>
          </a:p>
          <a:p>
            <a:pPr marL="201168" marR="0" indent="0" algn="l" rtl="0">
              <a:lnSpc>
                <a:spcPct val="107000"/>
              </a:lnSpc>
              <a:spcBef>
                <a:spcPts val="0"/>
              </a:spcBef>
              <a:spcAft>
                <a:spcPts val="0"/>
              </a:spcAft>
              <a:buNone/>
            </a:pPr>
            <a:endParaRPr lang="en-US" b="1" dirty="0" smtClean="0">
              <a:solidFill>
                <a:srgbClr val="002060"/>
              </a:solidFill>
              <a:latin typeface="Candara" pitchFamily="34" charset="0"/>
              <a:cs typeface="Times New Roman" pitchFamily="18" charset="0"/>
            </a:endParaRPr>
          </a:p>
          <a:p>
            <a:pPr marL="658368" marR="0" indent="-457200" algn="l" rtl="0">
              <a:lnSpc>
                <a:spcPct val="107000"/>
              </a:lnSpc>
              <a:spcBef>
                <a:spcPts val="0"/>
              </a:spcBef>
              <a:spcAft>
                <a:spcPts val="0"/>
              </a:spcAft>
              <a:buFont typeface="Wingdings" panose="05000000000000000000" pitchFamily="2" charset="2"/>
              <a:buChar char="Ø"/>
            </a:pPr>
            <a:r>
              <a:rPr lang="en-US" b="1" u="sng" dirty="0" smtClean="0">
                <a:solidFill>
                  <a:srgbClr val="002060"/>
                </a:solidFill>
                <a:latin typeface="Candara" pitchFamily="34" charset="0"/>
                <a:cs typeface="Times New Roman" pitchFamily="18" charset="0"/>
              </a:rPr>
              <a:t> </a:t>
            </a:r>
            <a:r>
              <a:rPr lang="en-US" b="1" u="sng" dirty="0" smtClean="0">
                <a:solidFill>
                  <a:srgbClr val="C00000"/>
                </a:solidFill>
                <a:latin typeface="Candara" pitchFamily="34" charset="0"/>
                <a:cs typeface="Times New Roman" pitchFamily="18" charset="0"/>
              </a:rPr>
              <a:t>Bacteriology</a:t>
            </a:r>
            <a:r>
              <a:rPr lang="en-US" b="1" dirty="0" smtClean="0">
                <a:solidFill>
                  <a:srgbClr val="C00000"/>
                </a:solidFill>
                <a:latin typeface="Candara" pitchFamily="34" charset="0"/>
                <a:cs typeface="Times New Roman" pitchFamily="18" charset="0"/>
              </a:rPr>
              <a:t>: </a:t>
            </a:r>
            <a:r>
              <a:rPr lang="en-US" b="1" dirty="0">
                <a:solidFill>
                  <a:srgbClr val="002060"/>
                </a:solidFill>
                <a:latin typeface="Candara" pitchFamily="34" charset="0"/>
                <a:cs typeface="Times New Roman" pitchFamily="18" charset="0"/>
              </a:rPr>
              <a:t>+ve sputum ZN smear </a:t>
            </a:r>
            <a:r>
              <a:rPr lang="en-US" b="1" dirty="0">
                <a:solidFill>
                  <a:srgbClr val="002060"/>
                </a:solidFill>
                <a:latin typeface="Candara" pitchFamily="34" charset="0"/>
                <a:cs typeface="Times New Roman" pitchFamily="18" charset="0"/>
                <a:sym typeface="Symbol" panose="05050102010706020507" pitchFamily="18" charset="2"/>
              </a:rPr>
              <a:t>.</a:t>
            </a:r>
            <a:endParaRPr lang="en-US" b="1" dirty="0">
              <a:solidFill>
                <a:srgbClr val="002060"/>
              </a:solidFill>
              <a:latin typeface="Candara" pitchFamily="34" charset="0"/>
              <a:cs typeface="Times New Roman" pitchFamily="18" charset="0"/>
            </a:endParaRPr>
          </a:p>
          <a:p>
            <a:pPr marL="658368" marR="0" indent="-457200" algn="l" rtl="0">
              <a:lnSpc>
                <a:spcPct val="107000"/>
              </a:lnSpc>
              <a:spcBef>
                <a:spcPts val="0"/>
              </a:spcBef>
              <a:spcAft>
                <a:spcPts val="0"/>
              </a:spcAft>
              <a:buFont typeface="Wingdings" panose="05000000000000000000" pitchFamily="2" charset="2"/>
              <a:buChar char="Ø"/>
            </a:pPr>
            <a:r>
              <a:rPr lang="en-US" b="1" u="sng" dirty="0">
                <a:solidFill>
                  <a:srgbClr val="002060"/>
                </a:solidFill>
                <a:latin typeface="Candara" pitchFamily="34" charset="0"/>
                <a:cs typeface="Times New Roman" pitchFamily="18" charset="0"/>
              </a:rPr>
              <a:t> </a:t>
            </a:r>
            <a:r>
              <a:rPr lang="en-US" b="1" u="sng" dirty="0" smtClean="0">
                <a:solidFill>
                  <a:srgbClr val="C00000"/>
                </a:solidFill>
                <a:latin typeface="Candara" pitchFamily="34" charset="0"/>
                <a:cs typeface="Times New Roman" pitchFamily="18" charset="0"/>
              </a:rPr>
              <a:t>Radiology</a:t>
            </a:r>
            <a:r>
              <a:rPr lang="en-US" b="1" dirty="0" smtClean="0">
                <a:solidFill>
                  <a:srgbClr val="C00000"/>
                </a:solidFill>
                <a:latin typeface="Candara" pitchFamily="34" charset="0"/>
                <a:cs typeface="Times New Roman" pitchFamily="18" charset="0"/>
              </a:rPr>
              <a:t>:</a:t>
            </a:r>
            <a:r>
              <a:rPr lang="en-US" b="1" dirty="0" smtClean="0">
                <a:solidFill>
                  <a:srgbClr val="002060"/>
                </a:solidFill>
                <a:latin typeface="Candara" pitchFamily="34" charset="0"/>
                <a:cs typeface="Times New Roman" pitchFamily="18" charset="0"/>
              </a:rPr>
              <a:t>      Cavitary </a:t>
            </a:r>
            <a:r>
              <a:rPr lang="en-US" b="1" dirty="0">
                <a:solidFill>
                  <a:srgbClr val="002060"/>
                </a:solidFill>
                <a:latin typeface="Candara" pitchFamily="34" charset="0"/>
                <a:cs typeface="Times New Roman" pitchFamily="18" charset="0"/>
              </a:rPr>
              <a:t>lesions, Soft shadows.</a:t>
            </a:r>
          </a:p>
          <a:p>
            <a:endParaRPr lang="en-US" sz="2400" b="1" dirty="0">
              <a:solidFill>
                <a:srgbClr val="002060"/>
              </a:solidFill>
              <a:latin typeface="Candara" pitchFamily="34" charset="0"/>
              <a:cs typeface="Times New Roman" pitchFamily="18" charset="0"/>
            </a:endParaRPr>
          </a:p>
        </p:txBody>
      </p:sp>
      <p:sp>
        <p:nvSpPr>
          <p:cNvPr id="4" name="Title 2"/>
          <p:cNvSpPr>
            <a:spLocks noGrp="1"/>
          </p:cNvSpPr>
          <p:nvPr>
            <p:ph type="title"/>
          </p:nvPr>
        </p:nvSpPr>
        <p:spPr>
          <a:xfrm>
            <a:off x="762000" y="457200"/>
            <a:ext cx="7620000" cy="609600"/>
          </a:xfrm>
        </p:spPr>
        <p:style>
          <a:lnRef idx="3">
            <a:schemeClr val="lt1"/>
          </a:lnRef>
          <a:fillRef idx="1">
            <a:schemeClr val="accent5"/>
          </a:fillRef>
          <a:effectRef idx="1">
            <a:schemeClr val="accent5"/>
          </a:effectRef>
          <a:fontRef idx="minor">
            <a:schemeClr val="lt1"/>
          </a:fontRef>
        </p:style>
        <p:txBody>
          <a:bodyPr>
            <a:noAutofit/>
          </a:bodyPr>
          <a:lstStyle/>
          <a:p>
            <a:r>
              <a:rPr lang="en-US" sz="3200" b="1" dirty="0" smtClean="0">
                <a:solidFill>
                  <a:srgbClr val="C00000"/>
                </a:solidFill>
                <a:effectLst>
                  <a:outerShdw blurRad="38100" dist="38100" dir="2700000" algn="tl">
                    <a:srgbClr val="000000">
                      <a:alpha val="43137"/>
                    </a:srgbClr>
                  </a:outerShdw>
                </a:effectLst>
              </a:rPr>
              <a:t>Activity assessment of  tuberculosis    </a:t>
            </a:r>
            <a:endParaRPr lang="ar-EG" sz="32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761298758"/>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descr="picture135"/>
          <p:cNvPicPr>
            <a:picLocks noChangeAspect="1" noChangeArrowheads="1"/>
          </p:cNvPicPr>
          <p:nvPr/>
        </p:nvPicPr>
        <p:blipFill>
          <a:blip r:embed="rId2"/>
          <a:stretch>
            <a:fillRect/>
          </a:stretch>
        </p:blipFill>
        <p:spPr bwMode="auto">
          <a:xfrm>
            <a:off x="130290" y="0"/>
            <a:ext cx="8883418" cy="6857999"/>
          </a:xfrm>
          <a:prstGeom prst="rect">
            <a:avLst/>
          </a:prstGeom>
          <a:ln w="2286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339180743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p:cNvSpPr>
            <a:spLocks noGrp="1"/>
          </p:cNvSpPr>
          <p:nvPr>
            <p:ph sz="quarter" idx="1"/>
          </p:nvPr>
        </p:nvSpPr>
        <p:spPr>
          <a:xfrm>
            <a:off x="301752" y="1295400"/>
            <a:ext cx="8613648" cy="4572000"/>
          </a:xfrm>
        </p:spPr>
        <p:txBody>
          <a:bodyPr>
            <a:normAutofit/>
          </a:bodyPr>
          <a:lstStyle/>
          <a:p>
            <a:pPr algn="l" rtl="0">
              <a:lnSpc>
                <a:spcPct val="150000"/>
              </a:lnSpc>
            </a:pPr>
            <a:r>
              <a:rPr lang="en-US" sz="3600" b="1" dirty="0" smtClean="0">
                <a:solidFill>
                  <a:srgbClr val="0070C0"/>
                </a:solidFill>
                <a:effectLst>
                  <a:outerShdw blurRad="38100" dist="38100" dir="2700000" algn="tl">
                    <a:srgbClr val="000000">
                      <a:alpha val="43137"/>
                    </a:srgbClr>
                  </a:outerShdw>
                </a:effectLst>
                <a:latin typeface="Times New Roman" pitchFamily="18" charset="0"/>
                <a:cs typeface="Times New Roman" pitchFamily="18" charset="0"/>
              </a:rPr>
              <a:t>4.What are the major differences between latent TB and active TB disease ?</a:t>
            </a:r>
            <a:endParaRPr lang="en-US" sz="3600" b="1" dirty="0">
              <a:solidFill>
                <a:srgbClr val="0070C0"/>
              </a:solidFill>
              <a:effectLst>
                <a:outerShdw blurRad="38100" dist="38100" dir="2700000" algn="tl">
                  <a:srgbClr val="000000">
                    <a:alpha val="43137"/>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2486171280"/>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pic>
        <p:nvPicPr>
          <p:cNvPr id="1026" name="Picture 2"/>
          <p:cNvPicPr>
            <a:picLocks noGrp="1" noChangeAspect="1" noChangeArrowheads="1"/>
          </p:cNvPicPr>
          <p:nvPr>
            <p:ph sz="quarter" idx="1"/>
          </p:nvPr>
        </p:nvPicPr>
        <p:blipFill>
          <a:blip r:embed="rId2"/>
          <a:srcRect/>
          <a:stretch>
            <a:fillRect/>
          </a:stretch>
        </p:blipFill>
        <p:spPr bwMode="auto">
          <a:xfrm>
            <a:off x="382926" y="381000"/>
            <a:ext cx="8380074" cy="6324600"/>
          </a:xfrm>
          <a:prstGeom prst="rect">
            <a:avLst/>
          </a:prstGeom>
          <a:noFill/>
          <a:ln w="9525">
            <a:noFill/>
            <a:miter lim="800000"/>
            <a:headEnd/>
            <a:tailEnd/>
          </a:ln>
          <a:effectLst/>
        </p:spPr>
      </p:pic>
    </p:spTree>
    <p:extLst>
      <p:ext uri="{BB962C8B-B14F-4D97-AF65-F5344CB8AC3E}">
        <p14:creationId xmlns:p14="http://schemas.microsoft.com/office/powerpoint/2010/main" val="1059032061"/>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pic>
        <p:nvPicPr>
          <p:cNvPr id="2050" name="Picture 2"/>
          <p:cNvPicPr>
            <a:picLocks noGrp="1" noChangeAspect="1" noChangeArrowheads="1"/>
          </p:cNvPicPr>
          <p:nvPr>
            <p:ph sz="quarter" idx="1"/>
          </p:nvPr>
        </p:nvPicPr>
        <p:blipFill>
          <a:blip r:embed="rId2"/>
          <a:srcRect/>
          <a:stretch>
            <a:fillRect/>
          </a:stretch>
        </p:blipFill>
        <p:spPr bwMode="auto">
          <a:xfrm>
            <a:off x="380637" y="533400"/>
            <a:ext cx="8458563" cy="6172200"/>
          </a:xfrm>
          <a:prstGeom prst="rect">
            <a:avLst/>
          </a:prstGeom>
          <a:noFill/>
          <a:ln w="9525">
            <a:noFill/>
            <a:miter lim="800000"/>
            <a:headEnd/>
            <a:tailEnd/>
          </a:ln>
          <a:effectLst/>
        </p:spPr>
      </p:pic>
    </p:spTree>
    <p:extLst>
      <p:ext uri="{BB962C8B-B14F-4D97-AF65-F5344CB8AC3E}">
        <p14:creationId xmlns:p14="http://schemas.microsoft.com/office/powerpoint/2010/main" val="2909963201"/>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EDEA5C4-243D-4D64-B314-9D606FC6D538}"/>
              </a:ext>
            </a:extLst>
          </p:cNvPr>
          <p:cNvSpPr>
            <a:spLocks noGrp="1"/>
          </p:cNvSpPr>
          <p:nvPr>
            <p:ph sz="quarter" idx="1"/>
          </p:nvPr>
        </p:nvSpPr>
        <p:spPr>
          <a:xfrm>
            <a:off x="301752" y="685800"/>
            <a:ext cx="8503920" cy="4572000"/>
          </a:xfrm>
        </p:spPr>
        <p:txBody>
          <a:bodyPr/>
          <a:lstStyle/>
          <a:p>
            <a:pPr marL="109728" indent="0" algn="l" rtl="0">
              <a:buNone/>
            </a:pPr>
            <a:endParaRPr lang="en-US" sz="2400" b="1" dirty="0">
              <a:latin typeface="Times New Roman" pitchFamily="18" charset="0"/>
              <a:cs typeface="Times New Roman" pitchFamily="18" charset="0"/>
            </a:endParaRPr>
          </a:p>
          <a:p>
            <a:pPr marL="109728" indent="0" algn="l" rtl="0">
              <a:buNone/>
            </a:pPr>
            <a:endParaRPr lang="en-US" sz="2400" b="1" dirty="0">
              <a:latin typeface="Times New Roman" pitchFamily="18" charset="0"/>
              <a:cs typeface="Times New Roman" pitchFamily="18" charset="0"/>
            </a:endParaRPr>
          </a:p>
          <a:p>
            <a:pPr algn="l" rtl="0">
              <a:lnSpc>
                <a:spcPct val="150000"/>
              </a:lnSpc>
              <a:buNone/>
            </a:pPr>
            <a:r>
              <a:rPr lang="en-US" sz="3200" b="1" dirty="0" smtClean="0">
                <a:solidFill>
                  <a:srgbClr val="002060"/>
                </a:solidFill>
                <a:effectLst>
                  <a:outerShdw blurRad="38100" dist="38100" dir="2700000" algn="tl">
                    <a:srgbClr val="000000">
                      <a:alpha val="43137"/>
                    </a:srgbClr>
                  </a:outerShdw>
                </a:effectLst>
                <a:latin typeface="Times New Roman" pitchFamily="18" charset="0"/>
                <a:cs typeface="Times New Roman" pitchFamily="18" charset="0"/>
              </a:rPr>
              <a:t>5.What </a:t>
            </a:r>
            <a:r>
              <a:rPr lang="en-US" sz="3200" b="1" dirty="0">
                <a:solidFill>
                  <a:srgbClr val="002060"/>
                </a:solidFill>
                <a:effectLst>
                  <a:outerShdw blurRad="38100" dist="38100" dir="2700000" algn="tl">
                    <a:srgbClr val="000000">
                      <a:alpha val="43137"/>
                    </a:srgbClr>
                  </a:outerShdw>
                </a:effectLst>
                <a:latin typeface="Times New Roman" pitchFamily="18" charset="0"/>
                <a:cs typeface="Times New Roman" pitchFamily="18" charset="0"/>
              </a:rPr>
              <a:t>is the standard </a:t>
            </a:r>
            <a:r>
              <a:rPr lang="en-US" sz="3200" b="1" dirty="0" smtClean="0">
                <a:solidFill>
                  <a:srgbClr val="002060"/>
                </a:solidFill>
                <a:effectLst>
                  <a:outerShdw blurRad="38100" dist="38100" dir="2700000" algn="tl">
                    <a:srgbClr val="000000">
                      <a:alpha val="43137"/>
                    </a:srgbClr>
                  </a:outerShdw>
                </a:effectLst>
                <a:latin typeface="Times New Roman" pitchFamily="18" charset="0"/>
                <a:cs typeface="Times New Roman" pitchFamily="18" charset="0"/>
              </a:rPr>
              <a:t>medications </a:t>
            </a:r>
            <a:r>
              <a:rPr lang="en-US" sz="3200" b="1" dirty="0">
                <a:solidFill>
                  <a:srgbClr val="002060"/>
                </a:solidFill>
                <a:effectLst>
                  <a:outerShdw blurRad="38100" dist="38100" dir="2700000" algn="tl">
                    <a:srgbClr val="000000">
                      <a:alpha val="43137"/>
                    </a:srgbClr>
                  </a:outerShdw>
                </a:effectLst>
                <a:latin typeface="Times New Roman" pitchFamily="18" charset="0"/>
                <a:cs typeface="Times New Roman" pitchFamily="18" charset="0"/>
              </a:rPr>
              <a:t>and duration of treatment for this patient?</a:t>
            </a:r>
          </a:p>
          <a:p>
            <a:endParaRPr lang="en-US" dirty="0"/>
          </a:p>
        </p:txBody>
      </p:sp>
    </p:spTree>
    <p:extLst>
      <p:ext uri="{BB962C8B-B14F-4D97-AF65-F5344CB8AC3E}">
        <p14:creationId xmlns:p14="http://schemas.microsoft.com/office/powerpoint/2010/main" val="4240263654"/>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BA63194-ACFE-47AD-B227-3470E5B3DFA4}"/>
              </a:ext>
            </a:extLst>
          </p:cNvPr>
          <p:cNvSpPr>
            <a:spLocks noGrp="1"/>
          </p:cNvSpPr>
          <p:nvPr>
            <p:ph sz="quarter" idx="1"/>
          </p:nvPr>
        </p:nvSpPr>
        <p:spPr/>
        <p:txBody>
          <a:bodyPr>
            <a:normAutofit fontScale="77500" lnSpcReduction="20000"/>
          </a:bodyPr>
          <a:lstStyle/>
          <a:p>
            <a:pPr marL="201168" marR="0" indent="0" algn="l" rtl="0">
              <a:lnSpc>
                <a:spcPct val="150000"/>
              </a:lnSpc>
              <a:spcBef>
                <a:spcPts val="0"/>
              </a:spcBef>
              <a:spcAft>
                <a:spcPts val="0"/>
              </a:spcAft>
              <a:buNone/>
            </a:pPr>
            <a:r>
              <a:rPr lang="en-US" sz="2800" b="1" u="sng" dirty="0">
                <a:solidFill>
                  <a:srgbClr val="00B050"/>
                </a:solidFill>
                <a:latin typeface="Times New Roman" pitchFamily="18" charset="0"/>
                <a:cs typeface="Times New Roman" pitchFamily="18" charset="0"/>
              </a:rPr>
              <a:t>6 months regimen </a:t>
            </a:r>
            <a:r>
              <a:rPr lang="en-US" sz="2800" u="sng" dirty="0">
                <a:solidFill>
                  <a:srgbClr val="00B050"/>
                </a:solidFill>
                <a:latin typeface="Times New Roman" pitchFamily="18" charset="0"/>
                <a:cs typeface="Times New Roman" pitchFamily="18" charset="0"/>
              </a:rPr>
              <a:t>: </a:t>
            </a:r>
          </a:p>
          <a:p>
            <a:pPr marL="457200" marR="0" algn="l" rtl="0">
              <a:lnSpc>
                <a:spcPct val="150000"/>
              </a:lnSpc>
              <a:spcBef>
                <a:spcPts val="0"/>
              </a:spcBef>
              <a:spcAft>
                <a:spcPts val="0"/>
              </a:spcAft>
            </a:pPr>
            <a:r>
              <a:rPr lang="en-US" sz="2800" b="1" dirty="0">
                <a:solidFill>
                  <a:srgbClr val="C00000"/>
                </a:solidFill>
                <a:latin typeface="Candara" pitchFamily="34" charset="0"/>
                <a:cs typeface="Times New Roman" pitchFamily="18" charset="0"/>
              </a:rPr>
              <a:t>I</a:t>
            </a:r>
            <a:r>
              <a:rPr lang="en-US" sz="2800" b="1" u="sng" dirty="0">
                <a:solidFill>
                  <a:srgbClr val="C00000"/>
                </a:solidFill>
                <a:latin typeface="Candara" pitchFamily="34" charset="0"/>
                <a:cs typeface="Times New Roman" pitchFamily="18" charset="0"/>
              </a:rPr>
              <a:t>nitiation phase</a:t>
            </a:r>
            <a:r>
              <a:rPr lang="en-US" sz="2800" b="1" dirty="0">
                <a:solidFill>
                  <a:srgbClr val="C00000"/>
                </a:solidFill>
                <a:latin typeface="Candara" pitchFamily="34" charset="0"/>
                <a:cs typeface="Times New Roman" pitchFamily="18" charset="0"/>
              </a:rPr>
              <a:t>: </a:t>
            </a:r>
            <a:endParaRPr lang="en-US" sz="2800" b="1" dirty="0" smtClean="0">
              <a:solidFill>
                <a:srgbClr val="C00000"/>
              </a:solidFill>
              <a:latin typeface="Candara" pitchFamily="34" charset="0"/>
              <a:cs typeface="Times New Roman" pitchFamily="18" charset="0"/>
            </a:endParaRPr>
          </a:p>
          <a:p>
            <a:pPr marL="1005840" lvl="2">
              <a:lnSpc>
                <a:spcPct val="150000"/>
              </a:lnSpc>
              <a:spcBef>
                <a:spcPts val="0"/>
              </a:spcBef>
              <a:buClr>
                <a:srgbClr val="FF0000"/>
              </a:buClr>
            </a:pPr>
            <a:r>
              <a:rPr lang="en-US" sz="2800" b="1" dirty="0" smtClean="0">
                <a:solidFill>
                  <a:srgbClr val="002060"/>
                </a:solidFill>
                <a:latin typeface="Candara" pitchFamily="34" charset="0"/>
                <a:cs typeface="Times New Roman" pitchFamily="18" charset="0"/>
              </a:rPr>
              <a:t>Rifampicin </a:t>
            </a:r>
            <a:r>
              <a:rPr lang="en-US" sz="2800" b="1" dirty="0">
                <a:solidFill>
                  <a:srgbClr val="002060"/>
                </a:solidFill>
                <a:latin typeface="Candara" pitchFamily="34" charset="0"/>
                <a:cs typeface="Times New Roman" pitchFamily="18" charset="0"/>
              </a:rPr>
              <a:t>+ </a:t>
            </a:r>
            <a:endParaRPr lang="en-US" sz="2800" b="1" dirty="0" smtClean="0">
              <a:solidFill>
                <a:srgbClr val="002060"/>
              </a:solidFill>
              <a:latin typeface="Candara" pitchFamily="34" charset="0"/>
              <a:cs typeface="Times New Roman" pitchFamily="18" charset="0"/>
            </a:endParaRPr>
          </a:p>
          <a:p>
            <a:pPr marL="1005840" lvl="2">
              <a:lnSpc>
                <a:spcPct val="150000"/>
              </a:lnSpc>
              <a:spcBef>
                <a:spcPts val="0"/>
              </a:spcBef>
              <a:buClr>
                <a:srgbClr val="FF0000"/>
              </a:buClr>
            </a:pPr>
            <a:r>
              <a:rPr lang="en-US" sz="2800" b="1" dirty="0" smtClean="0">
                <a:solidFill>
                  <a:srgbClr val="002060"/>
                </a:solidFill>
                <a:latin typeface="Candara" pitchFamily="34" charset="0"/>
                <a:cs typeface="Times New Roman" pitchFamily="18" charset="0"/>
              </a:rPr>
              <a:t>INH + </a:t>
            </a:r>
          </a:p>
          <a:p>
            <a:pPr marL="1005840" lvl="2">
              <a:lnSpc>
                <a:spcPct val="150000"/>
              </a:lnSpc>
              <a:spcBef>
                <a:spcPts val="0"/>
              </a:spcBef>
              <a:buClr>
                <a:srgbClr val="FF0000"/>
              </a:buClr>
            </a:pPr>
            <a:r>
              <a:rPr lang="en-US" sz="2800" b="1" dirty="0" smtClean="0">
                <a:solidFill>
                  <a:srgbClr val="002060"/>
                </a:solidFill>
                <a:latin typeface="Candara" pitchFamily="34" charset="0"/>
                <a:cs typeface="Times New Roman" pitchFamily="18" charset="0"/>
              </a:rPr>
              <a:t>Pyrazinamide +  </a:t>
            </a:r>
          </a:p>
          <a:p>
            <a:pPr marL="1005840" lvl="2">
              <a:lnSpc>
                <a:spcPct val="150000"/>
              </a:lnSpc>
              <a:spcBef>
                <a:spcPts val="0"/>
              </a:spcBef>
              <a:buClr>
                <a:srgbClr val="FF0000"/>
              </a:buClr>
            </a:pPr>
            <a:r>
              <a:rPr lang="en-US" sz="2800" b="1" dirty="0" smtClean="0">
                <a:solidFill>
                  <a:srgbClr val="002060"/>
                </a:solidFill>
                <a:latin typeface="Candara" pitchFamily="34" charset="0"/>
                <a:cs typeface="Times New Roman" pitchFamily="18" charset="0"/>
              </a:rPr>
              <a:t>Ethambutol. </a:t>
            </a:r>
            <a:endParaRPr lang="en-US" sz="2800" b="1" dirty="0">
              <a:solidFill>
                <a:srgbClr val="002060"/>
              </a:solidFill>
              <a:latin typeface="Candara" pitchFamily="34" charset="0"/>
              <a:cs typeface="Times New Roman" pitchFamily="18" charset="0"/>
            </a:endParaRPr>
          </a:p>
          <a:p>
            <a:pPr marL="457200" marR="0" algn="l" rtl="0">
              <a:lnSpc>
                <a:spcPct val="150000"/>
              </a:lnSpc>
              <a:spcBef>
                <a:spcPts val="0"/>
              </a:spcBef>
              <a:spcAft>
                <a:spcPts val="800"/>
              </a:spcAft>
            </a:pPr>
            <a:r>
              <a:rPr lang="en-US" sz="2800" b="1" u="sng" dirty="0">
                <a:solidFill>
                  <a:srgbClr val="C00000"/>
                </a:solidFill>
                <a:latin typeface="Candara" pitchFamily="34" charset="0"/>
                <a:cs typeface="Times New Roman" pitchFamily="18" charset="0"/>
              </a:rPr>
              <a:t>Continuation phase </a:t>
            </a:r>
            <a:r>
              <a:rPr lang="en-US" sz="2800" b="1" dirty="0" smtClean="0">
                <a:solidFill>
                  <a:srgbClr val="C00000"/>
                </a:solidFill>
                <a:latin typeface="Candara" pitchFamily="34" charset="0"/>
                <a:cs typeface="Times New Roman" pitchFamily="18" charset="0"/>
              </a:rPr>
              <a:t>:</a:t>
            </a:r>
          </a:p>
          <a:p>
            <a:pPr marL="1005840" lvl="2">
              <a:lnSpc>
                <a:spcPct val="150000"/>
              </a:lnSpc>
              <a:spcBef>
                <a:spcPts val="0"/>
              </a:spcBef>
              <a:spcAft>
                <a:spcPts val="800"/>
              </a:spcAft>
              <a:buClr>
                <a:srgbClr val="FF0000"/>
              </a:buClr>
            </a:pPr>
            <a:r>
              <a:rPr lang="en-US" sz="2900" b="1" dirty="0" smtClean="0">
                <a:solidFill>
                  <a:srgbClr val="002060"/>
                </a:solidFill>
                <a:latin typeface="Candara" pitchFamily="34" charset="0"/>
                <a:cs typeface="Times New Roman" pitchFamily="18" charset="0"/>
              </a:rPr>
              <a:t>Rifampicin </a:t>
            </a:r>
            <a:r>
              <a:rPr lang="en-US" sz="2900" b="1" dirty="0">
                <a:solidFill>
                  <a:srgbClr val="002060"/>
                </a:solidFill>
                <a:latin typeface="Candara" pitchFamily="34" charset="0"/>
                <a:cs typeface="Times New Roman" pitchFamily="18" charset="0"/>
              </a:rPr>
              <a:t>+ </a:t>
            </a:r>
            <a:endParaRPr lang="en-US" sz="2900" b="1" dirty="0" smtClean="0">
              <a:solidFill>
                <a:srgbClr val="002060"/>
              </a:solidFill>
              <a:latin typeface="Candara" pitchFamily="34" charset="0"/>
              <a:cs typeface="Times New Roman" pitchFamily="18" charset="0"/>
            </a:endParaRPr>
          </a:p>
          <a:p>
            <a:pPr marL="1005840" lvl="2">
              <a:lnSpc>
                <a:spcPct val="150000"/>
              </a:lnSpc>
              <a:spcBef>
                <a:spcPts val="0"/>
              </a:spcBef>
              <a:spcAft>
                <a:spcPts val="800"/>
              </a:spcAft>
              <a:buClr>
                <a:srgbClr val="FF0000"/>
              </a:buClr>
            </a:pPr>
            <a:r>
              <a:rPr lang="en-US" sz="2900" b="1" dirty="0" smtClean="0">
                <a:solidFill>
                  <a:srgbClr val="002060"/>
                </a:solidFill>
                <a:latin typeface="Candara" pitchFamily="34" charset="0"/>
                <a:cs typeface="Times New Roman" pitchFamily="18" charset="0"/>
              </a:rPr>
              <a:t>INH </a:t>
            </a:r>
            <a:endParaRPr lang="en-US" sz="2900" b="1" dirty="0">
              <a:solidFill>
                <a:srgbClr val="002060"/>
              </a:solidFill>
              <a:latin typeface="Candara" pitchFamily="34" charset="0"/>
              <a:cs typeface="Times New Roman" pitchFamily="18" charset="0"/>
            </a:endParaRPr>
          </a:p>
        </p:txBody>
      </p:sp>
      <p:sp>
        <p:nvSpPr>
          <p:cNvPr id="4" name="Title 2"/>
          <p:cNvSpPr>
            <a:spLocks noGrp="1"/>
          </p:cNvSpPr>
          <p:nvPr>
            <p:ph type="title"/>
          </p:nvPr>
        </p:nvSpPr>
        <p:spPr>
          <a:xfrm>
            <a:off x="762000" y="457200"/>
            <a:ext cx="7620000" cy="609600"/>
          </a:xfrm>
        </p:spPr>
        <p:style>
          <a:lnRef idx="3">
            <a:schemeClr val="lt1"/>
          </a:lnRef>
          <a:fillRef idx="1">
            <a:schemeClr val="accent5"/>
          </a:fillRef>
          <a:effectRef idx="1">
            <a:schemeClr val="accent5"/>
          </a:effectRef>
          <a:fontRef idx="minor">
            <a:schemeClr val="lt1"/>
          </a:fontRef>
        </p:style>
        <p:txBody>
          <a:bodyPr>
            <a:noAutofit/>
          </a:bodyPr>
          <a:lstStyle/>
          <a:p>
            <a:r>
              <a:rPr lang="en-US" sz="3200" b="1" dirty="0" smtClean="0">
                <a:solidFill>
                  <a:srgbClr val="C00000"/>
                </a:solidFill>
                <a:effectLst>
                  <a:outerShdw blurRad="38100" dist="38100" dir="2700000" algn="tl">
                    <a:srgbClr val="000000">
                      <a:alpha val="43137"/>
                    </a:srgbClr>
                  </a:outerShdw>
                </a:effectLst>
              </a:rPr>
              <a:t>Treatment of  tuberculosis    </a:t>
            </a:r>
            <a:endParaRPr lang="ar-EG" sz="3200" b="1" dirty="0">
              <a:solidFill>
                <a:srgbClr val="C00000"/>
              </a:solidFill>
              <a:effectLst>
                <a:outerShdw blurRad="38100" dist="38100" dir="2700000" algn="tl">
                  <a:srgbClr val="000000">
                    <a:alpha val="43137"/>
                  </a:srgbClr>
                </a:outerShdw>
              </a:effectLst>
            </a:endParaRPr>
          </a:p>
        </p:txBody>
      </p:sp>
      <p:sp>
        <p:nvSpPr>
          <p:cNvPr id="5" name="Text Box 6">
            <a:extLst>
              <a:ext uri="{FF2B5EF4-FFF2-40B4-BE49-F238E27FC236}">
                <a16:creationId xmlns:a16="http://schemas.microsoft.com/office/drawing/2014/main" id="{64557B80-7E55-4686-BA33-BC0130DDE4DF}"/>
              </a:ext>
            </a:extLst>
          </p:cNvPr>
          <p:cNvSpPr txBox="1">
            <a:spLocks noChangeArrowheads="1"/>
          </p:cNvSpPr>
          <p:nvPr/>
        </p:nvSpPr>
        <p:spPr bwMode="auto">
          <a:xfrm>
            <a:off x="2971800" y="2285762"/>
            <a:ext cx="1066800"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square">
            <a:spAutoFit/>
          </a:bodyPr>
          <a:lstStyle>
            <a:lvl1pPr eaLnBrk="0" hangingPunct="0">
              <a:defRPr sz="1400">
                <a:solidFill>
                  <a:schemeClr val="tx1"/>
                </a:solidFill>
                <a:latin typeface="Times New Roman" panose="02020603050405020304" pitchFamily="18" charset="0"/>
              </a:defRPr>
            </a:lvl1pPr>
            <a:lvl2pPr marL="742950" indent="-285750" eaLnBrk="0" hangingPunct="0">
              <a:defRPr sz="1400">
                <a:solidFill>
                  <a:schemeClr val="tx1"/>
                </a:solidFill>
                <a:latin typeface="Times New Roman" panose="02020603050405020304" pitchFamily="18" charset="0"/>
              </a:defRPr>
            </a:lvl2pPr>
            <a:lvl3pPr marL="1143000" indent="-228600" eaLnBrk="0" hangingPunct="0">
              <a:defRPr sz="1400">
                <a:solidFill>
                  <a:schemeClr val="tx1"/>
                </a:solidFill>
                <a:latin typeface="Times New Roman" panose="02020603050405020304" pitchFamily="18" charset="0"/>
              </a:defRPr>
            </a:lvl3pPr>
            <a:lvl4pPr marL="1600200" indent="-228600" eaLnBrk="0" hangingPunct="0">
              <a:defRPr sz="1400">
                <a:solidFill>
                  <a:schemeClr val="tx1"/>
                </a:solidFill>
                <a:latin typeface="Times New Roman" panose="02020603050405020304" pitchFamily="18" charset="0"/>
              </a:defRPr>
            </a:lvl4pPr>
            <a:lvl5pPr marL="2057400" indent="-228600" eaLnBrk="0" hangingPunct="0">
              <a:defRPr sz="1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altLang="en-US" sz="98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a:t>
            </a:r>
          </a:p>
        </p:txBody>
      </p:sp>
      <p:sp>
        <p:nvSpPr>
          <p:cNvPr id="6" name="Text Box 6">
            <a:extLst>
              <a:ext uri="{FF2B5EF4-FFF2-40B4-BE49-F238E27FC236}">
                <a16:creationId xmlns:a16="http://schemas.microsoft.com/office/drawing/2014/main" id="{64557B80-7E55-4686-BA33-BC0130DDE4DF}"/>
              </a:ext>
            </a:extLst>
          </p:cNvPr>
          <p:cNvSpPr txBox="1">
            <a:spLocks noChangeArrowheads="1"/>
          </p:cNvSpPr>
          <p:nvPr/>
        </p:nvSpPr>
        <p:spPr bwMode="auto">
          <a:xfrm>
            <a:off x="2971800" y="4419600"/>
            <a:ext cx="609600"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square">
            <a:spAutoFit/>
          </a:bodyPr>
          <a:lstStyle>
            <a:lvl1pPr eaLnBrk="0" hangingPunct="0">
              <a:defRPr sz="1400">
                <a:solidFill>
                  <a:schemeClr val="tx1"/>
                </a:solidFill>
                <a:latin typeface="Times New Roman" panose="02020603050405020304" pitchFamily="18" charset="0"/>
              </a:defRPr>
            </a:lvl1pPr>
            <a:lvl2pPr marL="742950" indent="-285750" eaLnBrk="0" hangingPunct="0">
              <a:defRPr sz="1400">
                <a:solidFill>
                  <a:schemeClr val="tx1"/>
                </a:solidFill>
                <a:latin typeface="Times New Roman" panose="02020603050405020304" pitchFamily="18" charset="0"/>
              </a:defRPr>
            </a:lvl2pPr>
            <a:lvl3pPr marL="1143000" indent="-228600" eaLnBrk="0" hangingPunct="0">
              <a:defRPr sz="1400">
                <a:solidFill>
                  <a:schemeClr val="tx1"/>
                </a:solidFill>
                <a:latin typeface="Times New Roman" panose="02020603050405020304" pitchFamily="18" charset="0"/>
              </a:defRPr>
            </a:lvl3pPr>
            <a:lvl4pPr marL="1600200" indent="-228600" eaLnBrk="0" hangingPunct="0">
              <a:defRPr sz="1400">
                <a:solidFill>
                  <a:schemeClr val="tx1"/>
                </a:solidFill>
                <a:latin typeface="Times New Roman" panose="02020603050405020304" pitchFamily="18" charset="0"/>
              </a:defRPr>
            </a:lvl4pPr>
            <a:lvl5pPr marL="2057400" indent="-228600" eaLnBrk="0" hangingPunct="0">
              <a:defRPr sz="1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a:solidFill>
                  <a:schemeClr val="tx1"/>
                </a:solidFill>
                <a:latin typeface="Times New Roman" panose="02020603050405020304" pitchFamily="18"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altLang="en-US" sz="98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rPr>
              <a:t>}</a:t>
            </a:r>
          </a:p>
        </p:txBody>
      </p:sp>
      <p:sp>
        <p:nvSpPr>
          <p:cNvPr id="7" name="TextBox 6"/>
          <p:cNvSpPr txBox="1"/>
          <p:nvPr/>
        </p:nvSpPr>
        <p:spPr>
          <a:xfrm>
            <a:off x="3124200" y="2895600"/>
            <a:ext cx="2514600" cy="553998"/>
          </a:xfrm>
          <a:prstGeom prst="rect">
            <a:avLst/>
          </a:prstGeom>
          <a:noFill/>
        </p:spPr>
        <p:txBody>
          <a:bodyPr wrap="square" rtlCol="0">
            <a:spAutoFit/>
          </a:bodyPr>
          <a:lstStyle/>
          <a:p>
            <a:pPr marL="457200" marR="0" lvl="0" indent="0" algn="l" defTabSz="914400" rtl="0" eaLnBrk="1" fontAlgn="auto" latinLnBrk="0" hangingPunct="1">
              <a:lnSpc>
                <a:spcPct val="15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2060"/>
                </a:solidFill>
                <a:effectLst/>
                <a:uLnTx/>
                <a:uFillTx/>
                <a:latin typeface="Candara" pitchFamily="34" charset="0"/>
                <a:ea typeface="+mn-ea"/>
                <a:cs typeface="Times New Roman" pitchFamily="18" charset="0"/>
                <a:sym typeface="Symbol" panose="05050102010706020507" pitchFamily="18" charset="2"/>
              </a:rPr>
              <a:t></a:t>
            </a:r>
            <a:r>
              <a:rPr kumimoji="0" lang="en-US" sz="2000" b="1" i="0" u="none" strike="noStrike" kern="1200" cap="none" spc="0" normalizeH="0" baseline="0" noProof="0" dirty="0" smtClean="0">
                <a:ln>
                  <a:noFill/>
                </a:ln>
                <a:solidFill>
                  <a:srgbClr val="002060"/>
                </a:solidFill>
                <a:effectLst/>
                <a:uLnTx/>
                <a:uFillTx/>
                <a:latin typeface="Candara" pitchFamily="34" charset="0"/>
                <a:ea typeface="+mn-ea"/>
                <a:cs typeface="Times New Roman" pitchFamily="18" charset="0"/>
              </a:rPr>
              <a:t> for 2 months. </a:t>
            </a:r>
            <a:endParaRPr kumimoji="0" lang="en-US" sz="2000" b="1" i="0" u="none" strike="noStrike" kern="1200" cap="none" spc="0" normalizeH="0" baseline="0" noProof="0" dirty="0">
              <a:ln>
                <a:noFill/>
              </a:ln>
              <a:solidFill>
                <a:srgbClr val="002060"/>
              </a:solidFill>
              <a:effectLst/>
              <a:uLnTx/>
              <a:uFillTx/>
              <a:latin typeface="Candara" pitchFamily="34" charset="0"/>
              <a:ea typeface="+mn-ea"/>
              <a:cs typeface="Times New Roman" pitchFamily="18" charset="0"/>
            </a:endParaRPr>
          </a:p>
        </p:txBody>
      </p:sp>
      <p:sp>
        <p:nvSpPr>
          <p:cNvPr id="8" name="TextBox 7"/>
          <p:cNvSpPr txBox="1"/>
          <p:nvPr/>
        </p:nvSpPr>
        <p:spPr>
          <a:xfrm>
            <a:off x="3124200" y="5029200"/>
            <a:ext cx="2667000" cy="553998"/>
          </a:xfrm>
          <a:prstGeom prst="rect">
            <a:avLst/>
          </a:prstGeom>
          <a:noFill/>
        </p:spPr>
        <p:txBody>
          <a:bodyPr wrap="square" rtlCol="0">
            <a:spAutoFit/>
          </a:bodyPr>
          <a:lstStyle/>
          <a:p>
            <a:pPr marL="457200" marR="0" lvl="0" indent="0" algn="l" defTabSz="914400" rtl="0" eaLnBrk="1" fontAlgn="auto" latinLnBrk="0" hangingPunct="1">
              <a:lnSpc>
                <a:spcPct val="15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2060"/>
                </a:solidFill>
                <a:effectLst/>
                <a:uLnTx/>
                <a:uFillTx/>
                <a:latin typeface="Candara" pitchFamily="34" charset="0"/>
                <a:ea typeface="+mn-ea"/>
                <a:cs typeface="Times New Roman" pitchFamily="18" charset="0"/>
                <a:sym typeface="Symbol" panose="05050102010706020507" pitchFamily="18" charset="2"/>
              </a:rPr>
              <a:t></a:t>
            </a:r>
            <a:r>
              <a:rPr kumimoji="0" lang="en-US" sz="2000" b="1" i="0" u="none" strike="noStrike" kern="1200" cap="none" spc="0" normalizeH="0" baseline="0" noProof="0" dirty="0" smtClean="0">
                <a:ln>
                  <a:noFill/>
                </a:ln>
                <a:solidFill>
                  <a:srgbClr val="002060"/>
                </a:solidFill>
                <a:effectLst/>
                <a:uLnTx/>
                <a:uFillTx/>
                <a:latin typeface="Candara" pitchFamily="34" charset="0"/>
                <a:ea typeface="+mn-ea"/>
                <a:cs typeface="Times New Roman" pitchFamily="18" charset="0"/>
              </a:rPr>
              <a:t> for 4 months. </a:t>
            </a:r>
            <a:endParaRPr kumimoji="0" lang="en-US" sz="2000" b="1" i="0" u="none" strike="noStrike" kern="1200" cap="none" spc="0" normalizeH="0" baseline="0" noProof="0" dirty="0">
              <a:ln>
                <a:noFill/>
              </a:ln>
              <a:solidFill>
                <a:srgbClr val="002060"/>
              </a:solidFill>
              <a:effectLst/>
              <a:uLnTx/>
              <a:uFillTx/>
              <a:latin typeface="Candara" pitchFamily="34" charset="0"/>
              <a:ea typeface="+mn-ea"/>
              <a:cs typeface="Times New Roman" pitchFamily="18" charset="0"/>
            </a:endParaRPr>
          </a:p>
        </p:txBody>
      </p:sp>
    </p:spTree>
    <p:extLst>
      <p:ext uri="{BB962C8B-B14F-4D97-AF65-F5344CB8AC3E}">
        <p14:creationId xmlns:p14="http://schemas.microsoft.com/office/powerpoint/2010/main" val="603552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1+#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1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ar-EG"/>
          </a:p>
        </p:txBody>
      </p:sp>
      <p:pic>
        <p:nvPicPr>
          <p:cNvPr id="4" name="Content Placeholder 3" descr="thanks 1.jpg"/>
          <p:cNvPicPr>
            <a:picLocks noGrp="1" noChangeAspect="1"/>
          </p:cNvPicPr>
          <p:nvPr>
            <p:ph sz="quarter" idx="1"/>
          </p:nvPr>
        </p:nvPicPr>
        <p:blipFill>
          <a:blip r:embed="rId2" cstate="print"/>
          <a:stretch>
            <a:fillRect/>
          </a:stretch>
        </p:blipFill>
        <p:spPr>
          <a:xfrm>
            <a:off x="0" y="0"/>
            <a:ext cx="9372600" cy="6858000"/>
          </a:xfrm>
        </p:spPr>
      </p:pic>
    </p:spTree>
    <p:extLst>
      <p:ext uri="{BB962C8B-B14F-4D97-AF65-F5344CB8AC3E}">
        <p14:creationId xmlns:p14="http://schemas.microsoft.com/office/powerpoint/2010/main" val="17784673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2">
            <a:extLst>
              <a:ext uri="{FF2B5EF4-FFF2-40B4-BE49-F238E27FC236}">
                <a16:creationId xmlns:a16="http://schemas.microsoft.com/office/drawing/2014/main" id="{5018EEF8-E899-077F-0627-98E6551BB2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228600"/>
            <a:ext cx="7696200" cy="6320551"/>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spTree>
    <p:extLst>
      <p:ext uri="{BB962C8B-B14F-4D97-AF65-F5344CB8AC3E}">
        <p14:creationId xmlns:p14="http://schemas.microsoft.com/office/powerpoint/2010/main" val="4216095929"/>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6082" name="Picture 2" descr="نتيجة بحث الصور عن ‪copd spirometry example‬‏"/>
          <p:cNvPicPr>
            <a:picLocks noChangeAspect="1" noChangeArrowheads="1"/>
          </p:cNvPicPr>
          <p:nvPr/>
        </p:nvPicPr>
        <p:blipFill>
          <a:blip r:embed="rId2"/>
          <a:srcRect/>
          <a:stretch>
            <a:fillRect/>
          </a:stretch>
        </p:blipFill>
        <p:spPr bwMode="auto">
          <a:xfrm>
            <a:off x="-7938" y="228600"/>
            <a:ext cx="9120188" cy="6172200"/>
          </a:xfrm>
          <a:prstGeom prst="rect">
            <a:avLst/>
          </a:prstGeom>
          <a:noFill/>
          <a:ln w="9525">
            <a:noFill/>
            <a:miter lim="800000"/>
            <a:headEnd/>
            <a:tailEnd/>
          </a:ln>
        </p:spPr>
      </p:pic>
    </p:spTree>
    <p:extLst>
      <p:ext uri="{BB962C8B-B14F-4D97-AF65-F5344CB8AC3E}">
        <p14:creationId xmlns:p14="http://schemas.microsoft.com/office/powerpoint/2010/main" val="605238073"/>
      </p:ext>
    </p:extLst>
  </p:cSld>
  <p:clrMapOvr>
    <a:masterClrMapping/>
  </p:clrMapOvr>
  <p:transition/>
</p:sld>
</file>

<file path=ppt/slides/slide1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7586" name="Rectangle 2"/>
          <p:cNvSpPr>
            <a:spLocks noGrp="1" noChangeArrowheads="1"/>
          </p:cNvSpPr>
          <p:nvPr>
            <p:ph type="title"/>
          </p:nvPr>
        </p:nvSpPr>
        <p:spPr>
          <a:xfrm>
            <a:off x="457200" y="152400"/>
            <a:ext cx="8229600" cy="685800"/>
          </a:xfrm>
        </p:spPr>
        <p:style>
          <a:lnRef idx="0">
            <a:schemeClr val="accent2"/>
          </a:lnRef>
          <a:fillRef idx="3">
            <a:schemeClr val="accent2"/>
          </a:fillRef>
          <a:effectRef idx="3">
            <a:schemeClr val="accent2"/>
          </a:effectRef>
          <a:fontRef idx="minor">
            <a:schemeClr val="lt1"/>
          </a:fontRef>
        </p:style>
        <p:txBody>
          <a:bodyPr/>
          <a:lstStyle/>
          <a:p>
            <a:pPr algn="ctr" rtl="0"/>
            <a:r>
              <a:rPr lang="en-US" sz="4000" dirty="0">
                <a:solidFill>
                  <a:schemeClr val="accent1"/>
                </a:solidFill>
                <a:effectLst>
                  <a:outerShdw blurRad="38100" dist="38100" dir="2700000" algn="tl">
                    <a:srgbClr val="000000">
                      <a:alpha val="43137"/>
                    </a:srgbClr>
                  </a:outerShdw>
                </a:effectLst>
                <a:latin typeface="Sitka Display" pitchFamily="2" charset="0"/>
              </a:rPr>
              <a:t>Interpreting PFTs</a:t>
            </a:r>
          </a:p>
        </p:txBody>
      </p:sp>
      <p:sp>
        <p:nvSpPr>
          <p:cNvPr id="67587" name="Rectangle 3"/>
          <p:cNvSpPr>
            <a:spLocks noGrp="1" noChangeArrowheads="1"/>
          </p:cNvSpPr>
          <p:nvPr>
            <p:ph type="body" idx="1"/>
          </p:nvPr>
        </p:nvSpPr>
        <p:spPr>
          <a:xfrm>
            <a:off x="381000" y="935966"/>
            <a:ext cx="8991600" cy="5715000"/>
          </a:xfrm>
        </p:spPr>
        <p:txBody>
          <a:bodyPr/>
          <a:lstStyle/>
          <a:p>
            <a:pPr algn="just" rtl="0">
              <a:lnSpc>
                <a:spcPct val="110000"/>
              </a:lnSpc>
            </a:pPr>
            <a:r>
              <a:rPr lang="en-US" sz="2400" b="1" dirty="0" smtClean="0">
                <a:solidFill>
                  <a:srgbClr val="002060"/>
                </a:solidFill>
                <a:latin typeface="Sitka Display" pitchFamily="2" charset="0"/>
              </a:rPr>
              <a:t> Look </a:t>
            </a:r>
            <a:r>
              <a:rPr lang="en-US" sz="2400" b="1" dirty="0">
                <a:solidFill>
                  <a:srgbClr val="002060"/>
                </a:solidFill>
                <a:latin typeface="Sitka Display" pitchFamily="2" charset="0"/>
              </a:rPr>
              <a:t>at the Flow-Volume </a:t>
            </a:r>
            <a:r>
              <a:rPr lang="en-US" sz="2400" b="1" dirty="0" smtClean="0">
                <a:solidFill>
                  <a:srgbClr val="002060"/>
                </a:solidFill>
                <a:latin typeface="Sitka Display" pitchFamily="2" charset="0"/>
              </a:rPr>
              <a:t>loop</a:t>
            </a:r>
          </a:p>
          <a:p>
            <a:pPr lvl="1">
              <a:lnSpc>
                <a:spcPct val="110000"/>
              </a:lnSpc>
            </a:pPr>
            <a:r>
              <a:rPr lang="en-US" sz="2250" b="1" dirty="0" smtClean="0">
                <a:solidFill>
                  <a:srgbClr val="002060"/>
                </a:solidFill>
                <a:latin typeface="Sitka Display" pitchFamily="2" charset="0"/>
              </a:rPr>
              <a:t> </a:t>
            </a:r>
            <a:r>
              <a:rPr lang="en-US" sz="2400" dirty="0" smtClean="0">
                <a:solidFill>
                  <a:srgbClr val="C00000"/>
                </a:solidFill>
                <a:latin typeface="Sitka Display" pitchFamily="2" charset="0"/>
              </a:rPr>
              <a:t>Determine acceptability </a:t>
            </a:r>
            <a:r>
              <a:rPr lang="en-US" sz="2400" dirty="0">
                <a:solidFill>
                  <a:srgbClr val="C00000"/>
                </a:solidFill>
                <a:latin typeface="Sitka Display" pitchFamily="2" charset="0"/>
              </a:rPr>
              <a:t>of the test, and look for upper airway obstruction pattern.</a:t>
            </a:r>
            <a:endParaRPr lang="en-US" sz="2250" dirty="0">
              <a:solidFill>
                <a:srgbClr val="C00000"/>
              </a:solidFill>
              <a:latin typeface="Sitka Display" pitchFamily="2" charset="0"/>
            </a:endParaRPr>
          </a:p>
          <a:p>
            <a:pPr algn="just" rtl="0">
              <a:lnSpc>
                <a:spcPct val="110000"/>
              </a:lnSpc>
              <a:buFontTx/>
              <a:buNone/>
            </a:pPr>
            <a:endParaRPr lang="en-US" sz="2400" b="1" dirty="0">
              <a:solidFill>
                <a:srgbClr val="002060"/>
              </a:solidFill>
              <a:latin typeface="Sitka Display" pitchFamily="2" charset="0"/>
            </a:endParaRPr>
          </a:p>
          <a:p>
            <a:pPr>
              <a:lnSpc>
                <a:spcPct val="90000"/>
              </a:lnSpc>
            </a:pPr>
            <a:r>
              <a:rPr lang="en-US" sz="2400" b="1" dirty="0" smtClean="0">
                <a:solidFill>
                  <a:srgbClr val="002060"/>
                </a:solidFill>
                <a:latin typeface="Sitka Display" pitchFamily="2" charset="0"/>
              </a:rPr>
              <a:t> Look at FEV1/FVC Ratio </a:t>
            </a:r>
            <a:r>
              <a:rPr lang="en-US" sz="2400" b="1" dirty="0">
                <a:solidFill>
                  <a:srgbClr val="002060"/>
                </a:solidFill>
                <a:latin typeface="Sitka Display" pitchFamily="2" charset="0"/>
              </a:rPr>
              <a:t>.</a:t>
            </a:r>
          </a:p>
          <a:p>
            <a:pPr lvl="1" algn="l" rtl="0">
              <a:lnSpc>
                <a:spcPct val="90000"/>
              </a:lnSpc>
            </a:pPr>
            <a:r>
              <a:rPr lang="en-US" sz="2400" dirty="0" smtClean="0">
                <a:solidFill>
                  <a:srgbClr val="C00000"/>
                </a:solidFill>
                <a:latin typeface="Sitka Display" pitchFamily="2" charset="0"/>
              </a:rPr>
              <a:t> </a:t>
            </a:r>
            <a:r>
              <a:rPr lang="en-US" sz="2400" dirty="0" smtClean="0">
                <a:solidFill>
                  <a:srgbClr val="00B050"/>
                </a:solidFill>
                <a:latin typeface="Sitka Display" pitchFamily="2" charset="0"/>
              </a:rPr>
              <a:t>&lt;</a:t>
            </a:r>
            <a:r>
              <a:rPr lang="en-US" sz="2400" dirty="0">
                <a:solidFill>
                  <a:srgbClr val="00B050"/>
                </a:solidFill>
                <a:latin typeface="Sitka Display" pitchFamily="2" charset="0"/>
              </a:rPr>
              <a:t>70% = obstructive lung </a:t>
            </a:r>
            <a:r>
              <a:rPr lang="en-US" sz="2400" dirty="0" smtClean="0">
                <a:solidFill>
                  <a:srgbClr val="00B050"/>
                </a:solidFill>
                <a:latin typeface="Sitka Display" pitchFamily="2" charset="0"/>
              </a:rPr>
              <a:t>disease</a:t>
            </a:r>
          </a:p>
          <a:p>
            <a:pPr marL="100013" lvl="1" indent="0" algn="l" rtl="0">
              <a:lnSpc>
                <a:spcPct val="90000"/>
              </a:lnSpc>
              <a:buNone/>
            </a:pPr>
            <a:r>
              <a:rPr lang="en-US" sz="2400" dirty="0">
                <a:solidFill>
                  <a:srgbClr val="C00000"/>
                </a:solidFill>
                <a:latin typeface="Sitka Display" pitchFamily="2" charset="0"/>
              </a:rPr>
              <a:t> </a:t>
            </a:r>
            <a:r>
              <a:rPr lang="en-US" sz="2400" dirty="0" smtClean="0">
                <a:solidFill>
                  <a:srgbClr val="C00000"/>
                </a:solidFill>
                <a:latin typeface="Sitka Display" pitchFamily="2" charset="0"/>
              </a:rPr>
              <a:t>       Then </a:t>
            </a:r>
            <a:r>
              <a:rPr lang="en-US" sz="2400" dirty="0">
                <a:solidFill>
                  <a:srgbClr val="C00000"/>
                </a:solidFill>
                <a:latin typeface="Sitka Display" pitchFamily="2" charset="0"/>
              </a:rPr>
              <a:t>FEV1</a:t>
            </a:r>
          </a:p>
          <a:p>
            <a:pPr lvl="3">
              <a:lnSpc>
                <a:spcPct val="90000"/>
              </a:lnSpc>
            </a:pPr>
            <a:r>
              <a:rPr lang="en-US" sz="2325" dirty="0">
                <a:solidFill>
                  <a:srgbClr val="C00000"/>
                </a:solidFill>
                <a:latin typeface="Sitka Display" pitchFamily="2" charset="0"/>
              </a:rPr>
              <a:t> </a:t>
            </a:r>
            <a:r>
              <a:rPr lang="en-US" sz="2325" dirty="0" smtClean="0">
                <a:solidFill>
                  <a:srgbClr val="C00000"/>
                </a:solidFill>
                <a:latin typeface="Sitka Display" pitchFamily="2" charset="0"/>
              </a:rPr>
              <a:t>Grade </a:t>
            </a:r>
            <a:r>
              <a:rPr lang="en-US" sz="2325" dirty="0">
                <a:solidFill>
                  <a:srgbClr val="C00000"/>
                </a:solidFill>
                <a:latin typeface="Sitka Display" pitchFamily="2" charset="0"/>
              </a:rPr>
              <a:t>severity of obstruction </a:t>
            </a:r>
            <a:endParaRPr lang="en-US" sz="2325" dirty="0" smtClean="0">
              <a:solidFill>
                <a:srgbClr val="C00000"/>
              </a:solidFill>
              <a:latin typeface="Sitka Display" pitchFamily="2" charset="0"/>
            </a:endParaRPr>
          </a:p>
          <a:p>
            <a:pPr lvl="3">
              <a:lnSpc>
                <a:spcPct val="90000"/>
              </a:lnSpc>
            </a:pPr>
            <a:r>
              <a:rPr lang="en-US" sz="2325" dirty="0">
                <a:solidFill>
                  <a:srgbClr val="C00000"/>
                </a:solidFill>
                <a:latin typeface="Sitka Display" pitchFamily="2" charset="0"/>
              </a:rPr>
              <a:t> </a:t>
            </a:r>
            <a:r>
              <a:rPr lang="en-US" sz="2325" dirty="0" smtClean="0">
                <a:solidFill>
                  <a:srgbClr val="C00000"/>
                </a:solidFill>
                <a:latin typeface="Sitka Display" pitchFamily="2" charset="0"/>
              </a:rPr>
              <a:t>Check for reversibility</a:t>
            </a:r>
          </a:p>
          <a:p>
            <a:pPr marL="771525" lvl="3" indent="0">
              <a:lnSpc>
                <a:spcPct val="90000"/>
              </a:lnSpc>
              <a:buNone/>
            </a:pPr>
            <a:endParaRPr lang="en-US" sz="2325" dirty="0">
              <a:solidFill>
                <a:srgbClr val="C00000"/>
              </a:solidFill>
              <a:latin typeface="Sitka Display" pitchFamily="2" charset="0"/>
            </a:endParaRPr>
          </a:p>
          <a:p>
            <a:pPr lvl="1" algn="l" rtl="0">
              <a:lnSpc>
                <a:spcPct val="90000"/>
              </a:lnSpc>
            </a:pPr>
            <a:r>
              <a:rPr lang="en-US" sz="2400" dirty="0" smtClean="0">
                <a:solidFill>
                  <a:srgbClr val="00B050"/>
                </a:solidFill>
                <a:latin typeface="Sitka Display" pitchFamily="2" charset="0"/>
              </a:rPr>
              <a:t> Normal = restrictive lung disease or normal PFT</a:t>
            </a:r>
            <a:endParaRPr lang="en-US" sz="2400" dirty="0">
              <a:solidFill>
                <a:srgbClr val="00B050"/>
              </a:solidFill>
              <a:latin typeface="Sitka Display" pitchFamily="2" charset="0"/>
            </a:endParaRPr>
          </a:p>
          <a:p>
            <a:pPr marL="100013" lvl="1" indent="0" algn="l" rtl="0">
              <a:lnSpc>
                <a:spcPct val="90000"/>
              </a:lnSpc>
              <a:buNone/>
            </a:pPr>
            <a:r>
              <a:rPr lang="en-US" sz="2400" dirty="0" smtClean="0">
                <a:solidFill>
                  <a:srgbClr val="C00000"/>
                </a:solidFill>
                <a:latin typeface="Sitka Display" pitchFamily="2" charset="0"/>
              </a:rPr>
              <a:t>        Then </a:t>
            </a:r>
            <a:r>
              <a:rPr lang="en-US" sz="2400" dirty="0">
                <a:solidFill>
                  <a:srgbClr val="C00000"/>
                </a:solidFill>
                <a:latin typeface="Sitka Display" pitchFamily="2" charset="0"/>
              </a:rPr>
              <a:t>FVC</a:t>
            </a:r>
          </a:p>
          <a:p>
            <a:pPr lvl="3">
              <a:lnSpc>
                <a:spcPct val="90000"/>
              </a:lnSpc>
            </a:pPr>
            <a:r>
              <a:rPr lang="en-US" sz="2325" dirty="0">
                <a:solidFill>
                  <a:srgbClr val="C00000"/>
                </a:solidFill>
                <a:latin typeface="Sitka Display" pitchFamily="2" charset="0"/>
              </a:rPr>
              <a:t> If FVC is low = </a:t>
            </a:r>
            <a:r>
              <a:rPr lang="en-US" sz="2325" dirty="0" smtClean="0">
                <a:solidFill>
                  <a:srgbClr val="C00000"/>
                </a:solidFill>
                <a:latin typeface="Sitka Display" pitchFamily="2" charset="0"/>
              </a:rPr>
              <a:t>Restrictive </a:t>
            </a:r>
            <a:r>
              <a:rPr lang="en-US" sz="2325" dirty="0">
                <a:solidFill>
                  <a:srgbClr val="C00000"/>
                </a:solidFill>
                <a:latin typeface="Sitka Display" pitchFamily="2" charset="0"/>
              </a:rPr>
              <a:t>lung disease</a:t>
            </a:r>
          </a:p>
          <a:p>
            <a:pPr lvl="3">
              <a:lnSpc>
                <a:spcPct val="90000"/>
              </a:lnSpc>
            </a:pPr>
            <a:r>
              <a:rPr lang="en-US" sz="2325" dirty="0" smtClean="0">
                <a:solidFill>
                  <a:srgbClr val="C00000"/>
                </a:solidFill>
                <a:latin typeface="Sitka Display" pitchFamily="2" charset="0"/>
              </a:rPr>
              <a:t> If Normal      = Normal pulmonary function</a:t>
            </a:r>
          </a:p>
          <a:p>
            <a:pPr lvl="3">
              <a:lnSpc>
                <a:spcPct val="90000"/>
              </a:lnSpc>
            </a:pPr>
            <a:endParaRPr lang="en-US" sz="2325" dirty="0">
              <a:solidFill>
                <a:srgbClr val="C00000"/>
              </a:solidFill>
              <a:latin typeface="Sitka Display" pitchFamily="2" charset="0"/>
            </a:endParaRPr>
          </a:p>
        </p:txBody>
      </p:sp>
    </p:spTree>
    <p:extLst>
      <p:ext uri="{BB962C8B-B14F-4D97-AF65-F5344CB8AC3E}">
        <p14:creationId xmlns:p14="http://schemas.microsoft.com/office/powerpoint/2010/main" val="4060103876"/>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50" name="Picture 2" descr="See the source image"/>
          <p:cNvPicPr>
            <a:picLocks noChangeAspect="1" noChangeArrowheads="1"/>
          </p:cNvPicPr>
          <p:nvPr/>
        </p:nvPicPr>
        <p:blipFill>
          <a:blip r:embed="rId2"/>
          <a:srcRect/>
          <a:stretch>
            <a:fillRect/>
          </a:stretch>
        </p:blipFill>
        <p:spPr bwMode="auto">
          <a:xfrm>
            <a:off x="17371" y="533399"/>
            <a:ext cx="9126629" cy="5867437"/>
          </a:xfrm>
          <a:prstGeom prst="rect">
            <a:avLst/>
          </a:prstGeom>
          <a:noFill/>
        </p:spPr>
      </p:pic>
    </p:spTree>
    <p:extLst>
      <p:ext uri="{BB962C8B-B14F-4D97-AF65-F5344CB8AC3E}">
        <p14:creationId xmlns:p14="http://schemas.microsoft.com/office/powerpoint/2010/main" val="321889347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6" name="Picture 2" descr="See the source image"/>
          <p:cNvPicPr>
            <a:picLocks noChangeAspect="1" noChangeArrowheads="1"/>
          </p:cNvPicPr>
          <p:nvPr/>
        </p:nvPicPr>
        <p:blipFill>
          <a:blip r:embed="rId2"/>
          <a:srcRect l="2164" t="1324" b="49669"/>
          <a:stretch>
            <a:fillRect/>
          </a:stretch>
        </p:blipFill>
        <p:spPr bwMode="auto">
          <a:xfrm>
            <a:off x="152401" y="1855099"/>
            <a:ext cx="8995718" cy="2945501"/>
          </a:xfrm>
          <a:prstGeom prst="rect">
            <a:avLst/>
          </a:prstGeom>
          <a:noFill/>
        </p:spPr>
      </p:pic>
    </p:spTree>
    <p:extLst>
      <p:ext uri="{BB962C8B-B14F-4D97-AF65-F5344CB8AC3E}">
        <p14:creationId xmlns:p14="http://schemas.microsoft.com/office/powerpoint/2010/main" val="210396811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7650" name="Picture 2" descr="See the source image"/>
          <p:cNvPicPr>
            <a:picLocks noChangeAspect="1" noChangeArrowheads="1"/>
          </p:cNvPicPr>
          <p:nvPr/>
        </p:nvPicPr>
        <p:blipFill>
          <a:blip r:embed="rId2"/>
          <a:srcRect/>
          <a:stretch>
            <a:fillRect/>
          </a:stretch>
        </p:blipFill>
        <p:spPr bwMode="auto">
          <a:xfrm>
            <a:off x="228600" y="190500"/>
            <a:ext cx="8534398" cy="6400800"/>
          </a:xfrm>
          <a:prstGeom prst="rect">
            <a:avLst/>
          </a:prstGeom>
          <a:noFill/>
        </p:spPr>
      </p:pic>
    </p:spTree>
    <p:extLst>
      <p:ext uri="{BB962C8B-B14F-4D97-AF65-F5344CB8AC3E}">
        <p14:creationId xmlns:p14="http://schemas.microsoft.com/office/powerpoint/2010/main" val="359965136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6626" name="Picture 2" descr="See the source image"/>
          <p:cNvPicPr>
            <a:picLocks noChangeAspect="1" noChangeArrowheads="1"/>
          </p:cNvPicPr>
          <p:nvPr/>
        </p:nvPicPr>
        <p:blipFill>
          <a:blip r:embed="rId2"/>
          <a:srcRect/>
          <a:stretch>
            <a:fillRect/>
          </a:stretch>
        </p:blipFill>
        <p:spPr bwMode="auto">
          <a:xfrm>
            <a:off x="0" y="990600"/>
            <a:ext cx="9134916" cy="4597909"/>
          </a:xfrm>
          <a:prstGeom prst="rect">
            <a:avLst/>
          </a:prstGeom>
          <a:noFill/>
        </p:spPr>
      </p:pic>
    </p:spTree>
    <p:extLst>
      <p:ext uri="{BB962C8B-B14F-4D97-AF65-F5344CB8AC3E}">
        <p14:creationId xmlns:p14="http://schemas.microsoft.com/office/powerpoint/2010/main" val="109574558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3906" name="Rectangle 2"/>
          <p:cNvSpPr>
            <a:spLocks noGrp="1" noChangeArrowheads="1"/>
          </p:cNvSpPr>
          <p:nvPr>
            <p:ph type="title"/>
          </p:nvPr>
        </p:nvSpPr>
        <p:spPr>
          <a:xfrm>
            <a:off x="685800" y="482600"/>
            <a:ext cx="7772400" cy="825500"/>
          </a:xfrm>
        </p:spPr>
        <p:txBody>
          <a:bodyPr/>
          <a:lstStyle/>
          <a:p>
            <a:r>
              <a:rPr lang="en-US" sz="3500" dirty="0">
                <a:solidFill>
                  <a:srgbClr val="FFFF00"/>
                </a:solidFill>
              </a:rPr>
              <a:t/>
            </a:r>
            <a:br>
              <a:rPr lang="en-US" sz="3500" dirty="0">
                <a:solidFill>
                  <a:srgbClr val="FFFF00"/>
                </a:solidFill>
              </a:rPr>
            </a:br>
            <a:r>
              <a:rPr lang="en-US" sz="3500" dirty="0">
                <a:solidFill>
                  <a:srgbClr val="FFFF00"/>
                </a:solidFill>
              </a:rPr>
              <a:t>A 66 year old female complains of cough after dust exposure</a:t>
            </a:r>
            <a:r>
              <a:rPr lang="en-US" dirty="0"/>
              <a:t> </a:t>
            </a:r>
          </a:p>
        </p:txBody>
      </p:sp>
      <p:sp>
        <p:nvSpPr>
          <p:cNvPr id="123907" name="Rectangle 3"/>
          <p:cNvSpPr>
            <a:spLocks noChangeArrowheads="1"/>
          </p:cNvSpPr>
          <p:nvPr/>
        </p:nvSpPr>
        <p:spPr bwMode="auto">
          <a:xfrm>
            <a:off x="2319338" y="1590675"/>
            <a:ext cx="9144000" cy="0"/>
          </a:xfrm>
          <a:prstGeom prst="rect">
            <a:avLst/>
          </a:prstGeom>
          <a:noFill/>
          <a:ln w="9525">
            <a:noFill/>
            <a:miter lim="800000"/>
            <a:headEnd/>
            <a:tailEnd/>
          </a:ln>
          <a:effec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23908" name="Rectangle 4"/>
          <p:cNvSpPr>
            <a:spLocks noChangeArrowheads="1"/>
          </p:cNvSpPr>
          <p:nvPr/>
        </p:nvSpPr>
        <p:spPr bwMode="auto">
          <a:xfrm>
            <a:off x="0" y="0"/>
            <a:ext cx="10423525" cy="0"/>
          </a:xfrm>
          <a:prstGeom prst="rect">
            <a:avLst/>
          </a:prstGeom>
          <a:noFill/>
          <a:ln w="9525">
            <a:no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23909" name="Rectangle 5"/>
          <p:cNvSpPr>
            <a:spLocks noChangeArrowheads="1"/>
          </p:cNvSpPr>
          <p:nvPr/>
        </p:nvSpPr>
        <p:spPr bwMode="auto">
          <a:xfrm>
            <a:off x="0" y="0"/>
            <a:ext cx="6475413" cy="0"/>
          </a:xfrm>
          <a:prstGeom prst="rect">
            <a:avLst/>
          </a:prstGeom>
          <a:noFill/>
          <a:ln w="9525">
            <a:no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23910" name="Rectangle 6"/>
          <p:cNvSpPr>
            <a:spLocks noChangeArrowheads="1"/>
          </p:cNvSpPr>
          <p:nvPr/>
        </p:nvSpPr>
        <p:spPr bwMode="auto">
          <a:xfrm>
            <a:off x="4389438" y="2357438"/>
            <a:ext cx="9144000" cy="0"/>
          </a:xfrm>
          <a:prstGeom prst="rect">
            <a:avLst/>
          </a:prstGeom>
          <a:noFill/>
          <a:ln w="9525">
            <a:no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pic>
        <p:nvPicPr>
          <p:cNvPr id="123911" name="Picture 7" descr="C:\WINDOWS\Desktop\pft\Test for Spirometry_files\Va.gif"/>
          <p:cNvPicPr>
            <a:picLocks noChangeAspect="1" noChangeArrowheads="1"/>
          </p:cNvPicPr>
          <p:nvPr/>
        </p:nvPicPr>
        <p:blipFill>
          <a:blip r:embed="rId3" r:link="rId4"/>
          <a:srcRect/>
          <a:stretch>
            <a:fillRect/>
          </a:stretch>
        </p:blipFill>
        <p:spPr bwMode="auto">
          <a:xfrm>
            <a:off x="6019800" y="2362200"/>
            <a:ext cx="2895600" cy="3810000"/>
          </a:xfrm>
          <a:prstGeom prst="rect">
            <a:avLst/>
          </a:prstGeom>
          <a:noFill/>
        </p:spPr>
      </p:pic>
      <p:sp>
        <p:nvSpPr>
          <p:cNvPr id="123912" name="Rectangle 8"/>
          <p:cNvSpPr>
            <a:spLocks noChangeArrowheads="1"/>
          </p:cNvSpPr>
          <p:nvPr/>
        </p:nvSpPr>
        <p:spPr bwMode="auto">
          <a:xfrm>
            <a:off x="4389438" y="2357438"/>
            <a:ext cx="9144000" cy="0"/>
          </a:xfrm>
          <a:prstGeom prst="rect">
            <a:avLst/>
          </a:prstGeom>
          <a:noFill/>
          <a:ln w="9525">
            <a:no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aphicFrame>
        <p:nvGraphicFramePr>
          <p:cNvPr id="123913" name="Group 9"/>
          <p:cNvGraphicFramePr>
            <a:graphicFrameLocks noGrp="1"/>
          </p:cNvGraphicFramePr>
          <p:nvPr>
            <p:ph sz="half" idx="2"/>
          </p:nvPr>
        </p:nvGraphicFramePr>
        <p:xfrm>
          <a:off x="838200" y="2362200"/>
          <a:ext cx="4724400" cy="3276601"/>
        </p:xfrm>
        <a:graphic>
          <a:graphicData uri="http://schemas.openxmlformats.org/drawingml/2006/table">
            <a:tbl>
              <a:tblPr rtl="1"/>
              <a:tblGrid>
                <a:gridCol w="1146175">
                  <a:extLst>
                    <a:ext uri="{9D8B030D-6E8A-4147-A177-3AD203B41FA5}">
                      <a16:colId xmlns:a16="http://schemas.microsoft.com/office/drawing/2014/main" val="20000"/>
                    </a:ext>
                  </a:extLst>
                </a:gridCol>
                <a:gridCol w="903287">
                  <a:extLst>
                    <a:ext uri="{9D8B030D-6E8A-4147-A177-3AD203B41FA5}">
                      <a16:colId xmlns:a16="http://schemas.microsoft.com/office/drawing/2014/main" val="20001"/>
                    </a:ext>
                  </a:extLst>
                </a:gridCol>
                <a:gridCol w="917575">
                  <a:extLst>
                    <a:ext uri="{9D8B030D-6E8A-4147-A177-3AD203B41FA5}">
                      <a16:colId xmlns:a16="http://schemas.microsoft.com/office/drawing/2014/main" val="20002"/>
                    </a:ext>
                  </a:extLst>
                </a:gridCol>
                <a:gridCol w="1757363">
                  <a:extLst>
                    <a:ext uri="{9D8B030D-6E8A-4147-A177-3AD203B41FA5}">
                      <a16:colId xmlns:a16="http://schemas.microsoft.com/office/drawing/2014/main" val="20003"/>
                    </a:ext>
                  </a:extLst>
                </a:gridCol>
              </a:tblGrid>
              <a:tr h="533400">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Pred</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Ref</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Meas</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1" eaLnBrk="1" fontAlgn="base" latinLnBrk="0" hangingPunct="1">
                        <a:lnSpc>
                          <a:spcPct val="100000"/>
                        </a:lnSpc>
                        <a:spcBef>
                          <a:spcPct val="20000"/>
                        </a:spcBef>
                        <a:spcAft>
                          <a:spcPct val="0"/>
                        </a:spcAft>
                        <a:buClr>
                          <a:schemeClr val="tx2"/>
                        </a:buClr>
                        <a:buSzTx/>
                        <a:buFontTx/>
                        <a:buNone/>
                        <a:tabLst/>
                      </a:pP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08013">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85</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2.58</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2.2</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dirty="0" smtClean="0">
                          <a:ln>
                            <a:noFill/>
                          </a:ln>
                          <a:solidFill>
                            <a:schemeClr val="tx1"/>
                          </a:solidFill>
                          <a:effectLst/>
                          <a:latin typeface="Arial" pitchFamily="34" charset="0"/>
                          <a:cs typeface="Times New Roman" pitchFamily="18" charset="0"/>
                        </a:rPr>
                        <a:t>FVC</a:t>
                      </a: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33400">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97</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1.85</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1.79</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FEV1</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33400">
                <a:tc>
                  <a:txBody>
                    <a:bodyPr/>
                    <a:lstStyle/>
                    <a:p>
                      <a:pPr marL="0" marR="0" lvl="0" indent="0" algn="r" defTabSz="914400" rtl="1" eaLnBrk="1" fontAlgn="base" latinLnBrk="0" hangingPunct="1">
                        <a:lnSpc>
                          <a:spcPct val="100000"/>
                        </a:lnSpc>
                        <a:spcBef>
                          <a:spcPct val="20000"/>
                        </a:spcBef>
                        <a:spcAft>
                          <a:spcPct val="0"/>
                        </a:spcAft>
                        <a:buClr>
                          <a:schemeClr val="tx2"/>
                        </a:buClr>
                        <a:buSzTx/>
                        <a:buFontTx/>
                        <a:buNone/>
                        <a:tabLst/>
                      </a:pP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72</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81</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FEV1/FVC</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4988">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82</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2.23</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1.82</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FEF 25-75</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33400">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109</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5.2</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5.67</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PEF</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28223185"/>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6626" name="Picture 2" descr="See the source image"/>
          <p:cNvPicPr>
            <a:picLocks noChangeAspect="1" noChangeArrowheads="1"/>
          </p:cNvPicPr>
          <p:nvPr/>
        </p:nvPicPr>
        <p:blipFill>
          <a:blip r:embed="rId2"/>
          <a:srcRect/>
          <a:stretch>
            <a:fillRect/>
          </a:stretch>
        </p:blipFill>
        <p:spPr bwMode="auto">
          <a:xfrm>
            <a:off x="0" y="990600"/>
            <a:ext cx="9134916" cy="4597909"/>
          </a:xfrm>
          <a:prstGeom prst="rect">
            <a:avLst/>
          </a:prstGeom>
          <a:noFill/>
        </p:spPr>
      </p:pic>
    </p:spTree>
    <p:extLst>
      <p:ext uri="{BB962C8B-B14F-4D97-AF65-F5344CB8AC3E}">
        <p14:creationId xmlns:p14="http://schemas.microsoft.com/office/powerpoint/2010/main" val="103585479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3906" name="Rectangle 2"/>
          <p:cNvSpPr>
            <a:spLocks noGrp="1" noChangeArrowheads="1"/>
          </p:cNvSpPr>
          <p:nvPr>
            <p:ph type="title"/>
          </p:nvPr>
        </p:nvSpPr>
        <p:spPr>
          <a:xfrm>
            <a:off x="685800" y="482600"/>
            <a:ext cx="7772400" cy="825500"/>
          </a:xfrm>
        </p:spPr>
        <p:txBody>
          <a:bodyPr/>
          <a:lstStyle/>
          <a:p>
            <a:r>
              <a:rPr lang="en-US" sz="3500" dirty="0">
                <a:solidFill>
                  <a:srgbClr val="FFFF00"/>
                </a:solidFill>
              </a:rPr>
              <a:t/>
            </a:r>
            <a:br>
              <a:rPr lang="en-US" sz="3500" dirty="0">
                <a:solidFill>
                  <a:srgbClr val="FFFF00"/>
                </a:solidFill>
              </a:rPr>
            </a:br>
            <a:r>
              <a:rPr lang="en-US" sz="3200" b="1" dirty="0">
                <a:solidFill>
                  <a:srgbClr val="FFFF00"/>
                </a:solidFill>
                <a:latin typeface="Candara" panose="020E0502030303020204" pitchFamily="34" charset="0"/>
              </a:rPr>
              <a:t>A 66 year old female complains of cough after dust exposure</a:t>
            </a:r>
            <a:r>
              <a:rPr lang="en-US" sz="4000" b="1" dirty="0">
                <a:latin typeface="Candara" panose="020E0502030303020204" pitchFamily="34" charset="0"/>
              </a:rPr>
              <a:t> </a:t>
            </a:r>
          </a:p>
        </p:txBody>
      </p:sp>
      <p:sp>
        <p:nvSpPr>
          <p:cNvPr id="123907" name="Rectangle 3"/>
          <p:cNvSpPr>
            <a:spLocks noChangeArrowheads="1"/>
          </p:cNvSpPr>
          <p:nvPr/>
        </p:nvSpPr>
        <p:spPr bwMode="auto">
          <a:xfrm>
            <a:off x="2319338" y="1590675"/>
            <a:ext cx="9144000" cy="0"/>
          </a:xfrm>
          <a:prstGeom prst="rect">
            <a:avLst/>
          </a:prstGeom>
          <a:noFill/>
          <a:ln w="9525">
            <a:noFill/>
            <a:miter lim="800000"/>
            <a:headEnd/>
            <a:tailEnd/>
          </a:ln>
          <a:effec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23908" name="Rectangle 4"/>
          <p:cNvSpPr>
            <a:spLocks noChangeArrowheads="1"/>
          </p:cNvSpPr>
          <p:nvPr/>
        </p:nvSpPr>
        <p:spPr bwMode="auto">
          <a:xfrm>
            <a:off x="0" y="0"/>
            <a:ext cx="10423525" cy="0"/>
          </a:xfrm>
          <a:prstGeom prst="rect">
            <a:avLst/>
          </a:prstGeom>
          <a:noFill/>
          <a:ln w="9525">
            <a:no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23909" name="Rectangle 5"/>
          <p:cNvSpPr>
            <a:spLocks noChangeArrowheads="1"/>
          </p:cNvSpPr>
          <p:nvPr/>
        </p:nvSpPr>
        <p:spPr bwMode="auto">
          <a:xfrm>
            <a:off x="0" y="0"/>
            <a:ext cx="6475413" cy="0"/>
          </a:xfrm>
          <a:prstGeom prst="rect">
            <a:avLst/>
          </a:prstGeom>
          <a:noFill/>
          <a:ln w="9525">
            <a:no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23910" name="Rectangle 6"/>
          <p:cNvSpPr>
            <a:spLocks noChangeArrowheads="1"/>
          </p:cNvSpPr>
          <p:nvPr/>
        </p:nvSpPr>
        <p:spPr bwMode="auto">
          <a:xfrm>
            <a:off x="4389438" y="2357438"/>
            <a:ext cx="9144000" cy="0"/>
          </a:xfrm>
          <a:prstGeom prst="rect">
            <a:avLst/>
          </a:prstGeom>
          <a:noFill/>
          <a:ln w="9525">
            <a:no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pic>
        <p:nvPicPr>
          <p:cNvPr id="123911" name="Picture 7" descr="C:\WINDOWS\Desktop\pft\Test for Spirometry_files\Va.gif"/>
          <p:cNvPicPr>
            <a:picLocks noChangeAspect="1" noChangeArrowheads="1"/>
          </p:cNvPicPr>
          <p:nvPr/>
        </p:nvPicPr>
        <p:blipFill>
          <a:blip r:embed="rId3" r:link="rId4"/>
          <a:srcRect/>
          <a:stretch>
            <a:fillRect/>
          </a:stretch>
        </p:blipFill>
        <p:spPr bwMode="auto">
          <a:xfrm>
            <a:off x="6019800" y="2362200"/>
            <a:ext cx="2895600" cy="3810000"/>
          </a:xfrm>
          <a:prstGeom prst="rect">
            <a:avLst/>
          </a:prstGeom>
          <a:noFill/>
        </p:spPr>
      </p:pic>
      <p:sp>
        <p:nvSpPr>
          <p:cNvPr id="123912" name="Rectangle 8"/>
          <p:cNvSpPr>
            <a:spLocks noChangeArrowheads="1"/>
          </p:cNvSpPr>
          <p:nvPr/>
        </p:nvSpPr>
        <p:spPr bwMode="auto">
          <a:xfrm>
            <a:off x="4389438" y="2357438"/>
            <a:ext cx="9144000" cy="0"/>
          </a:xfrm>
          <a:prstGeom prst="rect">
            <a:avLst/>
          </a:prstGeom>
          <a:noFill/>
          <a:ln w="9525">
            <a:no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graphicFrame>
        <p:nvGraphicFramePr>
          <p:cNvPr id="123913" name="Group 9"/>
          <p:cNvGraphicFramePr>
            <a:graphicFrameLocks noGrp="1"/>
          </p:cNvGraphicFramePr>
          <p:nvPr>
            <p:ph sz="half" idx="2"/>
          </p:nvPr>
        </p:nvGraphicFramePr>
        <p:xfrm>
          <a:off x="838200" y="2362200"/>
          <a:ext cx="4724400" cy="3276601"/>
        </p:xfrm>
        <a:graphic>
          <a:graphicData uri="http://schemas.openxmlformats.org/drawingml/2006/table">
            <a:tbl>
              <a:tblPr rtl="1"/>
              <a:tblGrid>
                <a:gridCol w="1146175">
                  <a:extLst>
                    <a:ext uri="{9D8B030D-6E8A-4147-A177-3AD203B41FA5}">
                      <a16:colId xmlns:a16="http://schemas.microsoft.com/office/drawing/2014/main" val="20000"/>
                    </a:ext>
                  </a:extLst>
                </a:gridCol>
                <a:gridCol w="903287">
                  <a:extLst>
                    <a:ext uri="{9D8B030D-6E8A-4147-A177-3AD203B41FA5}">
                      <a16:colId xmlns:a16="http://schemas.microsoft.com/office/drawing/2014/main" val="20001"/>
                    </a:ext>
                  </a:extLst>
                </a:gridCol>
                <a:gridCol w="917575">
                  <a:extLst>
                    <a:ext uri="{9D8B030D-6E8A-4147-A177-3AD203B41FA5}">
                      <a16:colId xmlns:a16="http://schemas.microsoft.com/office/drawing/2014/main" val="20002"/>
                    </a:ext>
                  </a:extLst>
                </a:gridCol>
                <a:gridCol w="1757363">
                  <a:extLst>
                    <a:ext uri="{9D8B030D-6E8A-4147-A177-3AD203B41FA5}">
                      <a16:colId xmlns:a16="http://schemas.microsoft.com/office/drawing/2014/main" val="20003"/>
                    </a:ext>
                  </a:extLst>
                </a:gridCol>
              </a:tblGrid>
              <a:tr h="533400">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Pred</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Ref</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Meas</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1" eaLnBrk="1" fontAlgn="base" latinLnBrk="0" hangingPunct="1">
                        <a:lnSpc>
                          <a:spcPct val="100000"/>
                        </a:lnSpc>
                        <a:spcBef>
                          <a:spcPct val="20000"/>
                        </a:spcBef>
                        <a:spcAft>
                          <a:spcPct val="0"/>
                        </a:spcAft>
                        <a:buClr>
                          <a:schemeClr val="tx2"/>
                        </a:buClr>
                        <a:buSzTx/>
                        <a:buFontTx/>
                        <a:buNone/>
                        <a:tabLst/>
                      </a:pP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08013">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85</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2.58</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2.2</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dirty="0" smtClean="0">
                          <a:ln>
                            <a:noFill/>
                          </a:ln>
                          <a:solidFill>
                            <a:schemeClr val="tx1"/>
                          </a:solidFill>
                          <a:effectLst/>
                          <a:latin typeface="Arial" pitchFamily="34" charset="0"/>
                          <a:cs typeface="Times New Roman" pitchFamily="18" charset="0"/>
                        </a:rPr>
                        <a:t>FVC</a:t>
                      </a: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33400">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97</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1.85</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1.79</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FEV1</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33400">
                <a:tc>
                  <a:txBody>
                    <a:bodyPr/>
                    <a:lstStyle/>
                    <a:p>
                      <a:pPr marL="0" marR="0" lvl="0" indent="0" algn="r" defTabSz="914400" rtl="1" eaLnBrk="1" fontAlgn="base" latinLnBrk="0" hangingPunct="1">
                        <a:lnSpc>
                          <a:spcPct val="100000"/>
                        </a:lnSpc>
                        <a:spcBef>
                          <a:spcPct val="20000"/>
                        </a:spcBef>
                        <a:spcAft>
                          <a:spcPct val="0"/>
                        </a:spcAft>
                        <a:buClr>
                          <a:schemeClr val="tx2"/>
                        </a:buClr>
                        <a:buSzTx/>
                        <a:buFontTx/>
                        <a:buNone/>
                        <a:tabLst/>
                      </a:pP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72</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81</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FEV1/FVC</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4988">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82</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2.23</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1.82</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FEF 25-75</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33400">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109</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5.2</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5.67</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1" eaLnBrk="1" fontAlgn="base" latinLnBrk="0" hangingPunct="1">
                        <a:lnSpc>
                          <a:spcPct val="100000"/>
                        </a:lnSpc>
                        <a:spcBef>
                          <a:spcPct val="0"/>
                        </a:spcBef>
                        <a:spcAft>
                          <a:spcPct val="0"/>
                        </a:spcAft>
                        <a:buClr>
                          <a:schemeClr val="tx2"/>
                        </a:buClr>
                        <a:buSzTx/>
                        <a:buFontTx/>
                        <a:buNone/>
                        <a:tabLst/>
                      </a:pPr>
                      <a:r>
                        <a:rPr kumimoji="0" lang="en-US" sz="1800" b="1" i="0" u="none" strike="noStrike" cap="none" normalizeH="0" baseline="0" smtClean="0">
                          <a:ln>
                            <a:noFill/>
                          </a:ln>
                          <a:solidFill>
                            <a:schemeClr val="tx1"/>
                          </a:solidFill>
                          <a:effectLst/>
                          <a:latin typeface="Arial" pitchFamily="34" charset="0"/>
                          <a:cs typeface="Times New Roman" pitchFamily="18" charset="0"/>
                        </a:rPr>
                        <a:t>PEF</a:t>
                      </a:r>
                      <a:endParaRPr kumimoji="0" lang="en-US" sz="1800" b="1" i="0" u="none" strike="noStrike" cap="none" normalizeH="0" baseline="0" smtClean="0">
                        <a:ln>
                          <a:noFill/>
                        </a:ln>
                        <a:solidFill>
                          <a:schemeClr val="tx1"/>
                        </a:solidFill>
                        <a:effectLst/>
                        <a:latin typeface="Arial" pitchFamily="34" charset="0"/>
                        <a:cs typeface="Arial" pitchFamily="34" charset="0"/>
                      </a:endParaRP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994655767"/>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2"/>
          <a:srcRect t="13397"/>
          <a:stretch>
            <a:fillRect/>
          </a:stretch>
        </p:blipFill>
        <p:spPr bwMode="auto">
          <a:xfrm>
            <a:off x="152400" y="1600200"/>
            <a:ext cx="8686800" cy="3448050"/>
          </a:xfrm>
          <a:prstGeom prst="rect">
            <a:avLst/>
          </a:prstGeom>
          <a:noFill/>
          <a:ln w="9525">
            <a:noFill/>
            <a:miter lim="800000"/>
            <a:headEnd/>
            <a:tailEnd/>
          </a:ln>
          <a:effectLst/>
        </p:spPr>
      </p:pic>
    </p:spTree>
    <p:extLst>
      <p:ext uri="{BB962C8B-B14F-4D97-AF65-F5344CB8AC3E}">
        <p14:creationId xmlns:p14="http://schemas.microsoft.com/office/powerpoint/2010/main" val="25431850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7" name="Picture 13" descr="rad2"/>
          <p:cNvPicPr>
            <a:picLocks noGrp="1" noChangeAspect="1" noChangeArrowheads="1"/>
          </p:cNvPicPr>
          <p:nvPr>
            <p:ph idx="1"/>
          </p:nvPr>
        </p:nvPicPr>
        <p:blipFill>
          <a:blip r:embed="rId2"/>
          <a:srcRect/>
          <a:stretch>
            <a:fillRect/>
          </a:stretch>
        </p:blipFill>
        <p:spPr>
          <a:xfrm>
            <a:off x="990600" y="13607"/>
            <a:ext cx="7239000" cy="6858000"/>
          </a:xfrm>
          <a:noFill/>
        </p:spPr>
      </p:pic>
    </p:spTree>
    <p:extLst>
      <p:ext uri="{BB962C8B-B14F-4D97-AF65-F5344CB8AC3E}">
        <p14:creationId xmlns:p14="http://schemas.microsoft.com/office/powerpoint/2010/main" val="2544890502"/>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35170" name="Rectangle 2"/>
          <p:cNvSpPr>
            <a:spLocks noGrp="1" noChangeArrowheads="1"/>
          </p:cNvSpPr>
          <p:nvPr>
            <p:ph type="title"/>
          </p:nvPr>
        </p:nvSpPr>
        <p:spPr>
          <a:xfrm>
            <a:off x="300038" y="142875"/>
            <a:ext cx="8580437" cy="1022350"/>
          </a:xfrm>
        </p:spPr>
        <p:style>
          <a:lnRef idx="0">
            <a:scrgbClr r="0" g="0" b="0"/>
          </a:lnRef>
          <a:fillRef idx="1001">
            <a:schemeClr val="lt2"/>
          </a:fillRef>
          <a:effectRef idx="0">
            <a:scrgbClr r="0" g="0" b="0"/>
          </a:effectRef>
          <a:fontRef idx="major"/>
        </p:style>
        <p:txBody>
          <a:bodyPr>
            <a:normAutofit fontScale="90000"/>
          </a:bodyPr>
          <a:lstStyle/>
          <a:p>
            <a:pPr fontAlgn="auto">
              <a:spcAft>
                <a:spcPts val="0"/>
              </a:spcAft>
              <a:defRPr/>
            </a:pPr>
            <a:r>
              <a:rPr lang="en-US" sz="4000" b="1" dirty="0" smtClean="0">
                <a:solidFill>
                  <a:srgbClr val="33CC33"/>
                </a:solidFill>
                <a:effectLst>
                  <a:outerShdw blurRad="38100" dist="38100" dir="2700000" algn="tl">
                    <a:srgbClr val="000000">
                      <a:alpha val="43137"/>
                    </a:srgbClr>
                  </a:outerShdw>
                </a:effectLst>
                <a:latin typeface="Sitka Display" pitchFamily="2" charset="0"/>
              </a:rPr>
              <a:t>Step4: </a:t>
            </a:r>
            <a:r>
              <a:rPr lang="en-US" sz="4000" b="1" dirty="0" smtClean="0">
                <a:solidFill>
                  <a:srgbClr val="C00000"/>
                </a:solidFill>
                <a:effectLst>
                  <a:outerShdw blurRad="38100" dist="38100" dir="2700000" algn="tl">
                    <a:srgbClr val="000000">
                      <a:alpha val="43137"/>
                    </a:srgbClr>
                  </a:outerShdw>
                </a:effectLst>
                <a:latin typeface="Sitka Display" pitchFamily="2" charset="0"/>
              </a:rPr>
              <a:t>For a metabolic disturbance, is the respiratory system compensating OK?</a:t>
            </a:r>
            <a:endParaRPr lang="en-US" sz="4000" b="1" dirty="0">
              <a:solidFill>
                <a:srgbClr val="C00000"/>
              </a:solidFill>
              <a:effectLst>
                <a:outerShdw blurRad="38100" dist="38100" dir="2700000" algn="tl">
                  <a:srgbClr val="000000">
                    <a:alpha val="43137"/>
                  </a:srgbClr>
                </a:outerShdw>
              </a:effectLst>
              <a:latin typeface="Sitka Display" pitchFamily="2" charset="0"/>
            </a:endParaRPr>
          </a:p>
        </p:txBody>
      </p:sp>
      <p:sp>
        <p:nvSpPr>
          <p:cNvPr id="40963" name="Rectangle 3"/>
          <p:cNvSpPr>
            <a:spLocks noGrp="1" noChangeArrowheads="1"/>
          </p:cNvSpPr>
          <p:nvPr>
            <p:ph sz="quarter" idx="1"/>
          </p:nvPr>
        </p:nvSpPr>
        <p:spPr>
          <a:xfrm>
            <a:off x="555625" y="1968500"/>
            <a:ext cx="8229600" cy="4530725"/>
          </a:xfrm>
        </p:spPr>
        <p:txBody>
          <a:bodyPr/>
          <a:lstStyle/>
          <a:p>
            <a:pPr algn="just">
              <a:buFont typeface="Wingdings" pitchFamily="2" charset="2"/>
              <a:buNone/>
            </a:pPr>
            <a:endParaRPr lang="en-US" sz="3200" smtClean="0">
              <a:solidFill>
                <a:srgbClr val="002060"/>
              </a:solidFill>
              <a:latin typeface="Bahnschrift Condensed" pitchFamily="34" charset="0"/>
            </a:endParaRPr>
          </a:p>
          <a:p>
            <a:pPr algn="just">
              <a:buFont typeface="Wingdings" pitchFamily="2" charset="2"/>
              <a:buNone/>
            </a:pPr>
            <a:endParaRPr lang="en-US" sz="3200" smtClean="0">
              <a:solidFill>
                <a:srgbClr val="002060"/>
              </a:solidFill>
              <a:latin typeface="Bahnschrift Condensed" pitchFamily="34" charset="0"/>
            </a:endParaRPr>
          </a:p>
        </p:txBody>
      </p:sp>
      <p:sp>
        <p:nvSpPr>
          <p:cNvPr id="40964" name="Rectangle 3"/>
          <p:cNvSpPr>
            <a:spLocks noChangeArrowheads="1"/>
          </p:cNvSpPr>
          <p:nvPr/>
        </p:nvSpPr>
        <p:spPr bwMode="auto">
          <a:xfrm>
            <a:off x="555625" y="1822450"/>
            <a:ext cx="8105775" cy="3108543"/>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C00000"/>
              </a:solidFill>
              <a:effectLst/>
              <a:uLnTx/>
              <a:uFillTx/>
              <a:latin typeface="Tw Cen M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C00000"/>
                </a:solidFill>
                <a:effectLst/>
                <a:uLnTx/>
                <a:uFillTx/>
                <a:latin typeface="Tw Cen MT"/>
                <a:ea typeface="+mn-ea"/>
                <a:cs typeface="+mn-cs"/>
              </a:rPr>
              <a:t>Metabolic acido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2060"/>
                </a:solidFill>
                <a:effectLst/>
                <a:uLnTx/>
                <a:uFillTx/>
                <a:latin typeface="Tw Cen MT"/>
                <a:ea typeface="+mn-ea"/>
                <a:cs typeface="+mn-cs"/>
              </a:rPr>
              <a:t>	Expected PCO2 =(1.5 X HCO3-) + 8  ±</a:t>
            </a:r>
            <a:r>
              <a:rPr kumimoji="0" lang="en-US" sz="2800" b="0" i="0" u="none" strike="noStrike" kern="1200" cap="none" spc="0" normalizeH="0" baseline="0" noProof="0" dirty="0" smtClean="0">
                <a:ln>
                  <a:noFill/>
                </a:ln>
                <a:solidFill>
                  <a:srgbClr val="002060"/>
                </a:solidFill>
                <a:effectLst/>
                <a:uLnTx/>
                <a:uFillTx/>
                <a:latin typeface="Tw Cen MT"/>
                <a:ea typeface="+mn-ea"/>
                <a:cs typeface="+mn-cs"/>
              </a:rPr>
              <a:t>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002060"/>
                </a:solidFill>
                <a:effectLst/>
                <a:uLnTx/>
                <a:uFillTx/>
                <a:latin typeface="Tw Cen MT"/>
                <a:ea typeface="+mn-ea"/>
                <a:cs typeface="+mn-cs"/>
              </a:rPr>
              <a:t>                        </a:t>
            </a:r>
            <a:r>
              <a:rPr kumimoji="0" lang="en-US" sz="2800" b="0" i="0" u="none" strike="noStrike" kern="1200" cap="none" spc="0" normalizeH="0" baseline="0" noProof="0" dirty="0" smtClean="0">
                <a:ln>
                  <a:noFill/>
                </a:ln>
                <a:solidFill>
                  <a:srgbClr val="00B050"/>
                </a:solidFill>
                <a:effectLst/>
                <a:uLnTx/>
                <a:uFillTx/>
                <a:latin typeface="Tw Cen MT"/>
                <a:ea typeface="+mn-ea"/>
                <a:cs typeface="+mn-cs"/>
              </a:rPr>
              <a:t>Winter's Equation</a:t>
            </a:r>
            <a:endParaRPr kumimoji="0" lang="en-US" sz="2800" b="0" i="0" u="none" strike="noStrike" kern="1200" cap="none" spc="0" normalizeH="0" baseline="0" noProof="0" dirty="0">
              <a:ln>
                <a:noFill/>
              </a:ln>
              <a:solidFill>
                <a:srgbClr val="00B050"/>
              </a:solidFill>
              <a:effectLst/>
              <a:uLnTx/>
              <a:uFillTx/>
              <a:latin typeface="Tw Cen M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2060"/>
              </a:solidFill>
              <a:effectLst/>
              <a:uLnTx/>
              <a:uFillTx/>
              <a:latin typeface="Tw Cen M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C00000"/>
                </a:solidFill>
                <a:effectLst/>
                <a:uLnTx/>
                <a:uFillTx/>
                <a:latin typeface="Tw Cen MT"/>
                <a:ea typeface="+mn-ea"/>
                <a:cs typeface="+mn-cs"/>
              </a:rPr>
              <a:t>Metabolic alkalo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002060"/>
                </a:solidFill>
                <a:effectLst/>
                <a:uLnTx/>
                <a:uFillTx/>
                <a:latin typeface="Tw Cen MT"/>
                <a:ea typeface="+mn-ea"/>
                <a:cs typeface="+mn-cs"/>
              </a:rPr>
              <a:t>         Expected </a:t>
            </a:r>
            <a:r>
              <a:rPr kumimoji="0" lang="en-US" sz="2800" b="0" i="0" u="none" strike="noStrike" kern="1200" cap="none" spc="0" normalizeH="0" baseline="0" noProof="0" dirty="0">
                <a:ln>
                  <a:noFill/>
                </a:ln>
                <a:solidFill>
                  <a:srgbClr val="002060"/>
                </a:solidFill>
                <a:effectLst/>
                <a:uLnTx/>
                <a:uFillTx/>
                <a:latin typeface="Tw Cen MT"/>
                <a:ea typeface="+mn-ea"/>
                <a:cs typeface="+mn-cs"/>
              </a:rPr>
              <a:t>PCO2 = 40 + (0.6 X </a:t>
            </a:r>
            <a:r>
              <a:rPr kumimoji="0" lang="el-GR" sz="2800" b="0" i="0" u="none" strike="noStrike" kern="1200" cap="none" spc="0" normalizeH="0" baseline="0" noProof="0" dirty="0">
                <a:ln>
                  <a:noFill/>
                </a:ln>
                <a:solidFill>
                  <a:srgbClr val="002060"/>
                </a:solidFill>
                <a:effectLst/>
                <a:uLnTx/>
                <a:uFillTx/>
                <a:latin typeface="Calibri" panose="020F0502020204030204" pitchFamily="34" charset="0"/>
                <a:ea typeface="+mn-ea"/>
                <a:cs typeface="+mn-cs"/>
              </a:rPr>
              <a:t>Δ</a:t>
            </a:r>
            <a:r>
              <a:rPr kumimoji="0" lang="en-US" sz="2800" b="0" i="0" u="none" strike="noStrike" kern="1200" cap="none" spc="0" normalizeH="0" baseline="0" noProof="0" dirty="0">
                <a:ln>
                  <a:noFill/>
                </a:ln>
                <a:solidFill>
                  <a:srgbClr val="002060"/>
                </a:solidFill>
                <a:effectLst/>
                <a:uLnTx/>
                <a:uFillTx/>
                <a:latin typeface="Tw Cen MT"/>
                <a:ea typeface="+mn-ea"/>
                <a:cs typeface="+mn-cs"/>
              </a:rPr>
              <a:t>HCO3-) ±2</a:t>
            </a:r>
          </a:p>
        </p:txBody>
      </p:sp>
      <p:pic>
        <p:nvPicPr>
          <p:cNvPr id="5" name="Picture 4"/>
          <p:cNvPicPr>
            <a:picLocks noChangeAspect="1" noChangeArrowheads="1"/>
          </p:cNvPicPr>
          <p:nvPr/>
        </p:nvPicPr>
        <p:blipFill>
          <a:blip r:embed="rId2"/>
          <a:srcRect t="87997" r="777"/>
          <a:stretch>
            <a:fillRect/>
          </a:stretch>
        </p:blipFill>
        <p:spPr bwMode="auto">
          <a:xfrm>
            <a:off x="1447800" y="5562600"/>
            <a:ext cx="6352014" cy="685800"/>
          </a:xfrm>
          <a:prstGeom prst="rect">
            <a:avLst/>
          </a:prstGeom>
          <a:solidFill>
            <a:schemeClr val="accent2">
              <a:lumMod val="60000"/>
              <a:lumOff val="40000"/>
            </a:schemeClr>
          </a:solidFill>
          <a:ln w="9525">
            <a:noFill/>
            <a:miter lim="800000"/>
            <a:headEnd/>
            <a:tailEnd/>
          </a:ln>
          <a:effectLst/>
        </p:spPr>
      </p:pic>
      <p:sp>
        <p:nvSpPr>
          <p:cNvPr id="6" name="Curved Down Arrow 5"/>
          <p:cNvSpPr/>
          <p:nvPr/>
        </p:nvSpPr>
        <p:spPr>
          <a:xfrm rot="744445">
            <a:off x="6248400" y="4953000"/>
            <a:ext cx="1676400" cy="609600"/>
          </a:xfrm>
          <a:prstGeom prst="curvedDownArrow">
            <a:avLst/>
          </a:prstGeom>
          <a:solidFill>
            <a:srgbClr val="3DE62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a:ea typeface="+mn-ea"/>
              <a:cs typeface="+mn-cs"/>
            </a:endParaRPr>
          </a:p>
        </p:txBody>
      </p:sp>
      <p:sp>
        <p:nvSpPr>
          <p:cNvPr id="7" name="TextBox 6"/>
          <p:cNvSpPr txBox="1"/>
          <p:nvPr/>
        </p:nvSpPr>
        <p:spPr>
          <a:xfrm>
            <a:off x="6477000" y="5867400"/>
            <a:ext cx="2514600" cy="707886"/>
          </a:xfrm>
          <a:prstGeom prst="rect">
            <a:avLst/>
          </a:prstGeom>
          <a:solidFill>
            <a:srgbClr val="FFFF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FF0000"/>
                </a:solidFill>
                <a:effectLst/>
                <a:uLnTx/>
                <a:uFillTx/>
                <a:latin typeface="AR ESSENCE" pitchFamily="2" charset="0"/>
                <a:ea typeface="+mn-ea"/>
                <a:cs typeface="+mn-cs"/>
              </a:rPr>
              <a:t>For any metabolic disorder</a:t>
            </a:r>
            <a:endParaRPr kumimoji="0" lang="en-US" sz="2000" b="1" i="0" u="none" strike="noStrike" kern="1200" cap="none" spc="0" normalizeH="0" baseline="0" noProof="0" dirty="0">
              <a:ln>
                <a:noFill/>
              </a:ln>
              <a:solidFill>
                <a:srgbClr val="FF0000"/>
              </a:solidFill>
              <a:effectLst/>
              <a:uLnTx/>
              <a:uFillTx/>
              <a:latin typeface="AR ESSENCE" pitchFamily="2" charset="0"/>
              <a:ea typeface="+mn-ea"/>
              <a:cs typeface="+mn-cs"/>
            </a:endParaRPr>
          </a:p>
        </p:txBody>
      </p:sp>
    </p:spTree>
    <p:extLst>
      <p:ext uri="{BB962C8B-B14F-4D97-AF65-F5344CB8AC3E}">
        <p14:creationId xmlns:p14="http://schemas.microsoft.com/office/powerpoint/2010/main" val="365687758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5170"/>
                                        </p:tgtEl>
                                        <p:attrNameLst>
                                          <p:attrName>style.visibility</p:attrName>
                                        </p:attrNameLst>
                                      </p:cBhvr>
                                      <p:to>
                                        <p:strVal val="visible"/>
                                      </p:to>
                                    </p:set>
                                    <p:animEffect transition="in" filter="fade">
                                      <p:cBhvr>
                                        <p:cTn id="7" dur="2000"/>
                                        <p:tgtEl>
                                          <p:spTgt spid="135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170" grpId="0" animBg="1"/>
    </p:bldLst>
  </p:timing>
</p:sld>
</file>

<file path=ppt/slides/slide1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35170" name="Rectangle 2"/>
          <p:cNvSpPr>
            <a:spLocks noGrp="1" noChangeArrowheads="1"/>
          </p:cNvSpPr>
          <p:nvPr>
            <p:ph type="title"/>
          </p:nvPr>
        </p:nvSpPr>
        <p:spPr>
          <a:xfrm>
            <a:off x="300038" y="142875"/>
            <a:ext cx="8580437" cy="1022350"/>
          </a:xfrm>
        </p:spPr>
        <p:style>
          <a:lnRef idx="0">
            <a:scrgbClr r="0" g="0" b="0"/>
          </a:lnRef>
          <a:fillRef idx="1001">
            <a:schemeClr val="lt2"/>
          </a:fillRef>
          <a:effectRef idx="0">
            <a:scrgbClr r="0" g="0" b="0"/>
          </a:effectRef>
          <a:fontRef idx="major"/>
        </p:style>
        <p:txBody>
          <a:bodyPr>
            <a:normAutofit fontScale="90000"/>
          </a:bodyPr>
          <a:lstStyle/>
          <a:p>
            <a:pPr fontAlgn="auto">
              <a:spcAft>
                <a:spcPts val="0"/>
              </a:spcAft>
              <a:defRPr/>
            </a:pPr>
            <a:r>
              <a:rPr lang="en-US" sz="4000" b="1" dirty="0" smtClean="0">
                <a:solidFill>
                  <a:srgbClr val="33CC33"/>
                </a:solidFill>
                <a:effectLst>
                  <a:outerShdw blurRad="38100" dist="38100" dir="2700000" algn="tl">
                    <a:srgbClr val="000000">
                      <a:alpha val="43137"/>
                    </a:srgbClr>
                  </a:outerShdw>
                </a:effectLst>
                <a:latin typeface="Sitka Display" pitchFamily="2" charset="0"/>
              </a:rPr>
              <a:t>Step4: </a:t>
            </a:r>
            <a:r>
              <a:rPr lang="en-US" sz="4000" b="1" dirty="0" smtClean="0">
                <a:solidFill>
                  <a:srgbClr val="C00000"/>
                </a:solidFill>
                <a:effectLst>
                  <a:outerShdw blurRad="38100" dist="38100" dir="2700000" algn="tl">
                    <a:srgbClr val="000000">
                      <a:alpha val="43137"/>
                    </a:srgbClr>
                  </a:outerShdw>
                </a:effectLst>
                <a:latin typeface="Sitka Display" pitchFamily="2" charset="0"/>
              </a:rPr>
              <a:t>For a metabolic acidosis, Anion gap?</a:t>
            </a:r>
            <a:endParaRPr lang="en-US" sz="4000" b="1" dirty="0">
              <a:solidFill>
                <a:srgbClr val="C00000"/>
              </a:solidFill>
              <a:effectLst>
                <a:outerShdw blurRad="38100" dist="38100" dir="2700000" algn="tl">
                  <a:srgbClr val="000000">
                    <a:alpha val="43137"/>
                  </a:srgbClr>
                </a:outerShdw>
              </a:effectLst>
              <a:latin typeface="Sitka Display" pitchFamily="2" charset="0"/>
            </a:endParaRPr>
          </a:p>
        </p:txBody>
      </p:sp>
      <p:sp>
        <p:nvSpPr>
          <p:cNvPr id="41987" name="Rectangle 3"/>
          <p:cNvSpPr>
            <a:spLocks noGrp="1" noChangeArrowheads="1"/>
          </p:cNvSpPr>
          <p:nvPr>
            <p:ph sz="quarter" idx="1"/>
          </p:nvPr>
        </p:nvSpPr>
        <p:spPr>
          <a:xfrm>
            <a:off x="555625" y="1968500"/>
            <a:ext cx="8229600" cy="4530725"/>
          </a:xfrm>
        </p:spPr>
        <p:txBody>
          <a:bodyPr/>
          <a:lstStyle/>
          <a:p>
            <a:pPr algn="just">
              <a:buFont typeface="Wingdings" pitchFamily="2" charset="2"/>
              <a:buNone/>
            </a:pPr>
            <a:endParaRPr lang="en-US" sz="3200" smtClean="0">
              <a:solidFill>
                <a:srgbClr val="002060"/>
              </a:solidFill>
              <a:latin typeface="Bahnschrift Condensed" pitchFamily="34" charset="0"/>
            </a:endParaRPr>
          </a:p>
          <a:p>
            <a:pPr algn="just">
              <a:buFont typeface="Wingdings" pitchFamily="2" charset="2"/>
              <a:buNone/>
            </a:pPr>
            <a:endParaRPr lang="en-US" sz="3200" smtClean="0">
              <a:solidFill>
                <a:srgbClr val="002060"/>
              </a:solidFill>
              <a:latin typeface="Bahnschrift Condensed" pitchFamily="34" charset="0"/>
            </a:endParaRPr>
          </a:p>
        </p:txBody>
      </p:sp>
      <p:sp>
        <p:nvSpPr>
          <p:cNvPr id="4" name="Rectangle 3"/>
          <p:cNvSpPr txBox="1">
            <a:spLocks noChangeArrowheads="1"/>
          </p:cNvSpPr>
          <p:nvPr/>
        </p:nvSpPr>
        <p:spPr>
          <a:xfrm>
            <a:off x="555625" y="1895475"/>
            <a:ext cx="8229600" cy="1467633"/>
          </a:xfrm>
          <a:prstGeom prst="rect">
            <a:avLst/>
          </a:prstGeom>
        </p:spPr>
        <p:txBody>
          <a:bodyPr>
            <a:normAutofit/>
          </a:bodyPr>
          <a:lstStyle/>
          <a:p>
            <a:pPr marL="320040" marR="0" lvl="0" indent="-320040" algn="just" defTabSz="914400" rtl="0" eaLnBrk="1" fontAlgn="auto" latinLnBrk="0" hangingPunct="1">
              <a:lnSpc>
                <a:spcPct val="100000"/>
              </a:lnSpc>
              <a:spcBef>
                <a:spcPts val="700"/>
              </a:spcBef>
              <a:spcAft>
                <a:spcPts val="0"/>
              </a:spcAft>
              <a:buClr>
                <a:srgbClr val="DD8047"/>
              </a:buClr>
              <a:buSzPct val="60000"/>
              <a:buFont typeface="Wingdings"/>
              <a:buNone/>
              <a:tabLst/>
              <a:defRPr/>
            </a:pPr>
            <a:r>
              <a:rPr kumimoji="0" lang="en-US" sz="2800" b="1" i="0" u="none" strike="noStrike" kern="1200" cap="none" spc="0" normalizeH="0" baseline="0" noProof="0" dirty="0">
                <a:ln>
                  <a:noFill/>
                </a:ln>
                <a:solidFill>
                  <a:srgbClr val="C00000"/>
                </a:solidFill>
                <a:effectLst/>
                <a:uLnTx/>
                <a:uFillTx/>
                <a:latin typeface="Tw Cen MT"/>
                <a:ea typeface="Tahoma" pitchFamily="34" charset="0"/>
                <a:cs typeface="Tahoma" pitchFamily="34" charset="0"/>
              </a:rPr>
              <a:t>Anion Gap = </a:t>
            </a:r>
            <a:r>
              <a:rPr kumimoji="0" lang="en-US" sz="2800" b="1" i="0" u="none" strike="noStrike" kern="1200" cap="none" spc="0" normalizeH="0" baseline="0" noProof="0" dirty="0" smtClean="0">
                <a:ln>
                  <a:noFill/>
                </a:ln>
                <a:solidFill>
                  <a:srgbClr val="C00000"/>
                </a:solidFill>
                <a:effectLst/>
                <a:uLnTx/>
                <a:uFillTx/>
                <a:latin typeface="Tw Cen MT"/>
                <a:ea typeface="Tahoma" pitchFamily="34" charset="0"/>
                <a:cs typeface="Tahoma" pitchFamily="34" charset="0"/>
              </a:rPr>
              <a:t>Na</a:t>
            </a:r>
            <a:r>
              <a:rPr kumimoji="0" lang="en-US" sz="3200" b="1" i="0" u="none" strike="noStrike" kern="1200" cap="none" spc="0" normalizeH="0" baseline="30000" noProof="0" dirty="0" smtClean="0">
                <a:ln>
                  <a:noFill/>
                </a:ln>
                <a:solidFill>
                  <a:srgbClr val="C00000"/>
                </a:solidFill>
                <a:effectLst/>
                <a:uLnTx/>
                <a:uFillTx/>
                <a:latin typeface="Tw Cen MT"/>
                <a:ea typeface="Tahoma" pitchFamily="34" charset="0"/>
                <a:cs typeface="Tahoma" pitchFamily="34" charset="0"/>
              </a:rPr>
              <a:t>+</a:t>
            </a:r>
            <a:r>
              <a:rPr kumimoji="0" lang="en-US" sz="2800" b="1" i="0" u="none" strike="noStrike" kern="1200" cap="none" spc="0" normalizeH="0" baseline="0" noProof="0" dirty="0" smtClean="0">
                <a:ln>
                  <a:noFill/>
                </a:ln>
                <a:solidFill>
                  <a:srgbClr val="C00000"/>
                </a:solidFill>
                <a:effectLst/>
                <a:uLnTx/>
                <a:uFillTx/>
                <a:latin typeface="Tw Cen MT"/>
                <a:ea typeface="Tahoma" pitchFamily="34" charset="0"/>
                <a:cs typeface="Tahoma" pitchFamily="34" charset="0"/>
              </a:rPr>
              <a:t> </a:t>
            </a:r>
            <a:r>
              <a:rPr kumimoji="0" lang="en-US" sz="2800" b="1" i="0" u="none" strike="noStrike" kern="1200" cap="none" spc="0" normalizeH="0" baseline="0" noProof="0" dirty="0">
                <a:ln>
                  <a:noFill/>
                </a:ln>
                <a:solidFill>
                  <a:srgbClr val="C00000"/>
                </a:solidFill>
                <a:effectLst/>
                <a:uLnTx/>
                <a:uFillTx/>
                <a:latin typeface="Tw Cen MT"/>
                <a:ea typeface="Tahoma" pitchFamily="34" charset="0"/>
                <a:cs typeface="Tahoma" pitchFamily="34" charset="0"/>
              </a:rPr>
              <a:t>- (Cl</a:t>
            </a:r>
            <a:r>
              <a:rPr kumimoji="0" lang="en-US" sz="3600" b="1" i="0" u="none" strike="noStrike" kern="1200" cap="none" spc="0" normalizeH="0" baseline="30000" noProof="0" dirty="0">
                <a:ln>
                  <a:noFill/>
                </a:ln>
                <a:solidFill>
                  <a:srgbClr val="C00000"/>
                </a:solidFill>
                <a:effectLst/>
                <a:uLnTx/>
                <a:uFillTx/>
                <a:latin typeface="Tw Cen MT"/>
                <a:ea typeface="Tahoma" pitchFamily="34" charset="0"/>
                <a:cs typeface="Tahoma" pitchFamily="34" charset="0"/>
              </a:rPr>
              <a:t>-</a:t>
            </a:r>
            <a:r>
              <a:rPr kumimoji="0" lang="en-US" sz="2800" b="1" i="0" u="none" strike="noStrike" kern="1200" cap="none" spc="0" normalizeH="0" baseline="0" noProof="0" dirty="0">
                <a:ln>
                  <a:noFill/>
                </a:ln>
                <a:solidFill>
                  <a:srgbClr val="C00000"/>
                </a:solidFill>
                <a:effectLst/>
                <a:uLnTx/>
                <a:uFillTx/>
                <a:latin typeface="Tw Cen MT"/>
                <a:ea typeface="Tahoma" pitchFamily="34" charset="0"/>
                <a:cs typeface="Tahoma" pitchFamily="34" charset="0"/>
              </a:rPr>
              <a:t> + HCO3</a:t>
            </a:r>
            <a:r>
              <a:rPr kumimoji="0" lang="en-US" sz="3600" b="1" i="0" u="none" strike="noStrike" kern="1200" cap="none" spc="0" normalizeH="0" baseline="30000" noProof="0" dirty="0">
                <a:ln>
                  <a:noFill/>
                </a:ln>
                <a:solidFill>
                  <a:srgbClr val="C00000"/>
                </a:solidFill>
                <a:effectLst/>
                <a:uLnTx/>
                <a:uFillTx/>
                <a:latin typeface="Tw Cen MT"/>
                <a:ea typeface="Tahoma" pitchFamily="34" charset="0"/>
                <a:cs typeface="Tahoma" pitchFamily="34" charset="0"/>
              </a:rPr>
              <a:t>-</a:t>
            </a:r>
            <a:r>
              <a:rPr kumimoji="0" lang="en-US" sz="2800" b="1" i="0" u="none" strike="noStrike" kern="1200" cap="none" spc="0" normalizeH="0" baseline="0" noProof="0" dirty="0">
                <a:ln>
                  <a:noFill/>
                </a:ln>
                <a:solidFill>
                  <a:srgbClr val="C00000"/>
                </a:solidFill>
                <a:effectLst/>
                <a:uLnTx/>
                <a:uFillTx/>
                <a:latin typeface="Tw Cen MT"/>
                <a:ea typeface="Tahoma" pitchFamily="34" charset="0"/>
                <a:cs typeface="Tahoma" pitchFamily="34" charset="0"/>
              </a:rPr>
              <a:t>) </a:t>
            </a:r>
          </a:p>
          <a:p>
            <a:pPr marL="320040" marR="0" lvl="0" indent="-320040" algn="just" defTabSz="914400" rtl="0" eaLnBrk="1" fontAlgn="auto" latinLnBrk="0" hangingPunct="1">
              <a:lnSpc>
                <a:spcPct val="100000"/>
              </a:lnSpc>
              <a:spcBef>
                <a:spcPts val="700"/>
              </a:spcBef>
              <a:spcAft>
                <a:spcPts val="0"/>
              </a:spcAft>
              <a:buClr>
                <a:srgbClr val="DD8047"/>
              </a:buClr>
              <a:buSzPct val="60000"/>
              <a:buFont typeface="Wingdings"/>
              <a:buNone/>
              <a:tabLst/>
              <a:defRPr/>
            </a:pPr>
            <a:r>
              <a:rPr kumimoji="0" lang="en-US" sz="2800" b="1" i="0" u="none" strike="noStrike" kern="1200" cap="none" spc="0" normalizeH="0" baseline="0" noProof="0" dirty="0">
                <a:ln>
                  <a:noFill/>
                </a:ln>
                <a:solidFill>
                  <a:srgbClr val="002060"/>
                </a:solidFill>
                <a:effectLst/>
                <a:uLnTx/>
                <a:uFillTx/>
                <a:latin typeface="Tw Cen MT"/>
                <a:ea typeface="Tahoma" pitchFamily="34" charset="0"/>
                <a:cs typeface="Tahoma" pitchFamily="34" charset="0"/>
              </a:rPr>
              <a:t>Normal anion gap is &lt; 12.</a:t>
            </a:r>
          </a:p>
          <a:p>
            <a:pPr marL="320040" marR="0" lvl="0" indent="-320040" algn="just" defTabSz="914400" rtl="0" eaLnBrk="1" fontAlgn="auto" latinLnBrk="0" hangingPunct="1">
              <a:lnSpc>
                <a:spcPct val="100000"/>
              </a:lnSpc>
              <a:spcBef>
                <a:spcPts val="700"/>
              </a:spcBef>
              <a:spcAft>
                <a:spcPts val="0"/>
              </a:spcAft>
              <a:buClr>
                <a:srgbClr val="DD8047"/>
              </a:buClr>
              <a:buSzPct val="60000"/>
              <a:buFont typeface="Wingdings"/>
              <a:buNone/>
              <a:tabLst/>
              <a:defRPr/>
            </a:pPr>
            <a:endParaRPr kumimoji="0" lang="en-US" sz="2400" b="0" i="0" u="none" strike="noStrike" kern="1200" cap="none" spc="0" normalizeH="0" baseline="0" noProof="0" dirty="0">
              <a:ln>
                <a:noFill/>
              </a:ln>
              <a:solidFill>
                <a:srgbClr val="002060"/>
              </a:solidFill>
              <a:effectLst/>
              <a:uLnTx/>
              <a:uFillTx/>
              <a:latin typeface="Tw Cen MT"/>
              <a:ea typeface="Tahoma" pitchFamily="34" charset="0"/>
              <a:cs typeface="Tahoma" pitchFamily="34" charset="0"/>
            </a:endParaRPr>
          </a:p>
        </p:txBody>
      </p:sp>
      <p:pic>
        <p:nvPicPr>
          <p:cNvPr id="2" name="Picture 1"/>
          <p:cNvPicPr>
            <a:picLocks noChangeAspect="1"/>
          </p:cNvPicPr>
          <p:nvPr/>
        </p:nvPicPr>
        <p:blipFill>
          <a:blip r:embed="rId2">
            <a:duotone>
              <a:prstClr val="black"/>
              <a:schemeClr val="accent5">
                <a:tint val="45000"/>
                <a:satMod val="400000"/>
              </a:schemeClr>
            </a:duotone>
            <a:extLst>
              <a:ext uri="{BEBA8EAE-BF5A-486C-A8C5-ECC9F3942E4B}">
                <a14:imgProps xmlns:a14="http://schemas.microsoft.com/office/drawing/2010/main">
                  <a14:imgLayer r:embed="rId3">
                    <a14:imgEffect>
                      <a14:artisticCement/>
                    </a14:imgEffect>
                  </a14:imgLayer>
                </a14:imgProps>
              </a:ext>
            </a:extLst>
          </a:blip>
          <a:stretch>
            <a:fillRect/>
          </a:stretch>
        </p:blipFill>
        <p:spPr>
          <a:xfrm>
            <a:off x="990236" y="3124201"/>
            <a:ext cx="7163164" cy="35052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2837247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5170"/>
                                        </p:tgtEl>
                                        <p:attrNameLst>
                                          <p:attrName>style.visibility</p:attrName>
                                        </p:attrNameLst>
                                      </p:cBhvr>
                                      <p:to>
                                        <p:strVal val="visible"/>
                                      </p:to>
                                    </p:set>
                                    <p:animEffect transition="in" filter="fade">
                                      <p:cBhvr>
                                        <p:cTn id="7" dur="2000"/>
                                        <p:tgtEl>
                                          <p:spTgt spid="135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170" grpId="0" animBg="1"/>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p:cNvPicPr>
            <a:picLocks noChangeAspect="1" noChangeArrowheads="1"/>
          </p:cNvPicPr>
          <p:nvPr/>
        </p:nvPicPr>
        <p:blipFill>
          <a:blip r:embed="rId2"/>
          <a:srcRect/>
          <a:stretch>
            <a:fillRect/>
          </a:stretch>
        </p:blipFill>
        <p:spPr bwMode="auto">
          <a:xfrm>
            <a:off x="228600" y="2286000"/>
            <a:ext cx="8534400" cy="2209800"/>
          </a:xfrm>
          <a:prstGeom prst="rect">
            <a:avLst/>
          </a:prstGeom>
          <a:noFill/>
          <a:ln w="9525">
            <a:noFill/>
            <a:miter lim="800000"/>
            <a:headEnd/>
            <a:tailEnd/>
          </a:ln>
          <a:effectLst/>
        </p:spPr>
      </p:pic>
    </p:spTree>
    <p:extLst>
      <p:ext uri="{BB962C8B-B14F-4D97-AF65-F5344CB8AC3E}">
        <p14:creationId xmlns:p14="http://schemas.microsoft.com/office/powerpoint/2010/main" val="1481084528"/>
      </p:ext>
    </p:extLst>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35170" name="Rectangle 2"/>
          <p:cNvSpPr>
            <a:spLocks noGrp="1" noChangeArrowheads="1"/>
          </p:cNvSpPr>
          <p:nvPr>
            <p:ph type="title"/>
          </p:nvPr>
        </p:nvSpPr>
        <p:spPr>
          <a:xfrm>
            <a:off x="0" y="0"/>
            <a:ext cx="9144000" cy="1131888"/>
          </a:xfrm>
        </p:spPr>
        <p:style>
          <a:lnRef idx="0">
            <a:scrgbClr r="0" g="0" b="0"/>
          </a:lnRef>
          <a:fillRef idx="1001">
            <a:schemeClr val="lt2"/>
          </a:fillRef>
          <a:effectRef idx="0">
            <a:scrgbClr r="0" g="0" b="0"/>
          </a:effectRef>
          <a:fontRef idx="major"/>
        </p:style>
        <p:txBody>
          <a:bodyPr>
            <a:normAutofit fontScale="90000"/>
          </a:bodyPr>
          <a:lstStyle/>
          <a:p>
            <a:pPr fontAlgn="auto">
              <a:spcAft>
                <a:spcPts val="0"/>
              </a:spcAft>
              <a:defRPr/>
            </a:pPr>
            <a:r>
              <a:rPr lang="en-US" sz="4000" b="1" dirty="0" smtClean="0">
                <a:solidFill>
                  <a:srgbClr val="C00000"/>
                </a:solidFill>
                <a:effectLst>
                  <a:outerShdw blurRad="38100" dist="38100" dir="2700000" algn="tl">
                    <a:srgbClr val="000000">
                      <a:alpha val="43137"/>
                    </a:srgbClr>
                  </a:outerShdw>
                </a:effectLst>
                <a:latin typeface="Sitka Display" pitchFamily="2" charset="0"/>
              </a:rPr>
              <a:t/>
            </a:r>
            <a:br>
              <a:rPr lang="en-US" sz="4000" b="1" dirty="0" smtClean="0">
                <a:solidFill>
                  <a:srgbClr val="C00000"/>
                </a:solidFill>
                <a:effectLst>
                  <a:outerShdw blurRad="38100" dist="38100" dir="2700000" algn="tl">
                    <a:srgbClr val="000000">
                      <a:alpha val="43137"/>
                    </a:srgbClr>
                  </a:outerShdw>
                </a:effectLst>
                <a:latin typeface="Sitka Display" pitchFamily="2" charset="0"/>
              </a:rPr>
            </a:br>
            <a:r>
              <a:rPr lang="en-US" sz="4000" b="1" dirty="0" smtClean="0">
                <a:solidFill>
                  <a:srgbClr val="C00000"/>
                </a:solidFill>
                <a:effectLst>
                  <a:outerShdw blurRad="38100" dist="38100" dir="2700000" algn="tl">
                    <a:srgbClr val="000000">
                      <a:alpha val="43137"/>
                    </a:srgbClr>
                  </a:outerShdw>
                </a:effectLst>
                <a:latin typeface="Sitka Display" pitchFamily="2" charset="0"/>
              </a:rPr>
              <a:t/>
            </a:r>
            <a:br>
              <a:rPr lang="en-US" sz="4000" b="1" dirty="0" smtClean="0">
                <a:solidFill>
                  <a:srgbClr val="C00000"/>
                </a:solidFill>
                <a:effectLst>
                  <a:outerShdw blurRad="38100" dist="38100" dir="2700000" algn="tl">
                    <a:srgbClr val="000000">
                      <a:alpha val="43137"/>
                    </a:srgbClr>
                  </a:outerShdw>
                </a:effectLst>
                <a:latin typeface="Sitka Display" pitchFamily="2" charset="0"/>
              </a:rPr>
            </a:br>
            <a:r>
              <a:rPr lang="en-US" sz="4000" b="1" dirty="0" smtClean="0">
                <a:solidFill>
                  <a:srgbClr val="C00000"/>
                </a:solidFill>
                <a:effectLst>
                  <a:outerShdw blurRad="38100" dist="38100" dir="2700000" algn="tl">
                    <a:srgbClr val="000000">
                      <a:alpha val="43137"/>
                    </a:srgbClr>
                  </a:outerShdw>
                </a:effectLst>
                <a:latin typeface="Sitka Display" pitchFamily="2" charset="0"/>
              </a:rPr>
              <a:t> </a:t>
            </a:r>
            <a:r>
              <a:rPr lang="en-US" sz="4000" b="1" dirty="0" smtClean="0">
                <a:solidFill>
                  <a:srgbClr val="33CC33"/>
                </a:solidFill>
                <a:effectLst>
                  <a:outerShdw blurRad="38100" dist="38100" dir="2700000" algn="tl">
                    <a:srgbClr val="000000">
                      <a:alpha val="43137"/>
                    </a:srgbClr>
                  </a:outerShdw>
                </a:effectLst>
                <a:latin typeface="Sitka Display" pitchFamily="2" charset="0"/>
              </a:rPr>
              <a:t>Step 3:</a:t>
            </a:r>
            <a:r>
              <a:rPr lang="en-US" sz="4000" b="1" dirty="0" smtClean="0">
                <a:solidFill>
                  <a:srgbClr val="C00000"/>
                </a:solidFill>
                <a:effectLst>
                  <a:outerShdw blurRad="38100" dist="38100" dir="2700000" algn="tl">
                    <a:srgbClr val="000000">
                      <a:alpha val="43137"/>
                    </a:srgbClr>
                  </a:outerShdw>
                </a:effectLst>
                <a:latin typeface="Sitka Display" pitchFamily="2" charset="0"/>
              </a:rPr>
              <a:t> For Primary Respiratory disturbance, is it acute or chronic? then Compansation</a:t>
            </a:r>
            <a:br>
              <a:rPr lang="en-US" sz="4000" b="1" dirty="0" smtClean="0">
                <a:solidFill>
                  <a:srgbClr val="C00000"/>
                </a:solidFill>
                <a:effectLst>
                  <a:outerShdw blurRad="38100" dist="38100" dir="2700000" algn="tl">
                    <a:srgbClr val="000000">
                      <a:alpha val="43137"/>
                    </a:srgbClr>
                  </a:outerShdw>
                </a:effectLst>
                <a:latin typeface="Sitka Display" pitchFamily="2" charset="0"/>
              </a:rPr>
            </a:br>
            <a:r>
              <a:rPr lang="en-US" sz="4000" b="1" dirty="0" smtClean="0">
                <a:solidFill>
                  <a:srgbClr val="C00000"/>
                </a:solidFill>
                <a:effectLst>
                  <a:outerShdw blurRad="38100" dist="38100" dir="2700000" algn="tl">
                    <a:srgbClr val="000000">
                      <a:alpha val="43137"/>
                    </a:srgbClr>
                  </a:outerShdw>
                </a:effectLst>
                <a:latin typeface="Sitka Display" pitchFamily="2" charset="0"/>
              </a:rPr>
              <a:t/>
            </a:r>
            <a:br>
              <a:rPr lang="en-US" sz="4000" b="1" dirty="0" smtClean="0">
                <a:solidFill>
                  <a:srgbClr val="C00000"/>
                </a:solidFill>
                <a:effectLst>
                  <a:outerShdw blurRad="38100" dist="38100" dir="2700000" algn="tl">
                    <a:srgbClr val="000000">
                      <a:alpha val="43137"/>
                    </a:srgbClr>
                  </a:outerShdw>
                </a:effectLst>
                <a:latin typeface="Sitka Display" pitchFamily="2" charset="0"/>
              </a:rPr>
            </a:br>
            <a:endParaRPr lang="en-US" sz="4000" b="1" dirty="0">
              <a:solidFill>
                <a:srgbClr val="C00000"/>
              </a:solidFill>
              <a:effectLst>
                <a:outerShdw blurRad="38100" dist="38100" dir="2700000" algn="tl">
                  <a:srgbClr val="000000">
                    <a:alpha val="43137"/>
                  </a:srgbClr>
                </a:outerShdw>
              </a:effectLst>
              <a:latin typeface="Sitka Display" pitchFamily="2" charset="0"/>
            </a:endParaRPr>
          </a:p>
        </p:txBody>
      </p:sp>
      <p:sp>
        <p:nvSpPr>
          <p:cNvPr id="6" name="Rectangle 4"/>
          <p:cNvSpPr>
            <a:spLocks noChangeArrowheads="1"/>
          </p:cNvSpPr>
          <p:nvPr/>
        </p:nvSpPr>
        <p:spPr bwMode="auto">
          <a:xfrm>
            <a:off x="381000" y="2057400"/>
            <a:ext cx="8178800" cy="3293209"/>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smtClean="0">
                <a:ln>
                  <a:noFill/>
                </a:ln>
                <a:solidFill>
                  <a:srgbClr val="C00000"/>
                </a:solidFill>
                <a:effectLst>
                  <a:outerShdw blurRad="38100" dist="38100" dir="2700000" algn="tl">
                    <a:srgbClr val="000000">
                      <a:alpha val="43137"/>
                    </a:srgbClr>
                  </a:outerShdw>
                </a:effectLst>
                <a:uLnTx/>
                <a:uFillTx/>
                <a:latin typeface="Sitka Display" pitchFamily="2" charset="0"/>
                <a:ea typeface="+mn-ea"/>
                <a:cs typeface="+mn-cs"/>
              </a:rPr>
              <a:t>Acute or chronic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smtClean="0">
              <a:ln>
                <a:noFill/>
              </a:ln>
              <a:solidFill>
                <a:srgbClr val="C00000"/>
              </a:solidFill>
              <a:effectLst/>
              <a:uLnTx/>
              <a:uFillTx/>
              <a:latin typeface="Tw Cen M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smtClean="0">
                <a:ln>
                  <a:noFill/>
                </a:ln>
                <a:solidFill>
                  <a:srgbClr val="00B050"/>
                </a:solidFill>
                <a:effectLst/>
                <a:uLnTx/>
                <a:uFillTx/>
                <a:latin typeface="Tw Cen MT"/>
                <a:ea typeface="+mn-ea"/>
                <a:cs typeface="+mn-cs"/>
              </a:rPr>
              <a:t>PaCO2 and p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002060"/>
                </a:solidFill>
                <a:effectLst/>
                <a:uLnTx/>
                <a:uFillTx/>
                <a:latin typeface="Tw Cen MT"/>
                <a:ea typeface="+mn-ea"/>
                <a:cs typeface="+mn-cs"/>
              </a:rPr>
              <a:t>Acute condi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002060"/>
                </a:solidFill>
                <a:effectLst/>
                <a:uLnTx/>
                <a:uFillTx/>
                <a:latin typeface="Tw Cen MT"/>
                <a:ea typeface="+mn-ea"/>
                <a:cs typeface="+mn-cs"/>
              </a:rPr>
              <a:t>        for each 1mm Hg PaCO2 </a:t>
            </a:r>
            <a:r>
              <a:rPr kumimoji="0" lang="en-US" sz="2400" b="1" i="0" u="none" strike="noStrike" kern="1200" cap="none" spc="0" normalizeH="0" baseline="0" noProof="0" dirty="0" smtClean="0">
                <a:ln>
                  <a:noFill/>
                </a:ln>
                <a:solidFill>
                  <a:srgbClr val="FF0000"/>
                </a:solidFill>
                <a:effectLst/>
                <a:uLnTx/>
                <a:uFillTx/>
                <a:latin typeface="Lucida Sans Unicode" pitchFamily="34" charset="0"/>
                <a:ea typeface="+mn-ea"/>
                <a:cs typeface="Lucida Sans Unicode" pitchFamily="34" charset="0"/>
              </a:rPr>
              <a:t>⇛ </a:t>
            </a:r>
            <a:r>
              <a:rPr kumimoji="0" lang="en-US" sz="2400" b="0" i="0" u="none" strike="noStrike" kern="1200" cap="none" spc="0" normalizeH="0" baseline="0" noProof="0" dirty="0" smtClean="0">
                <a:ln>
                  <a:noFill/>
                </a:ln>
                <a:solidFill>
                  <a:srgbClr val="002060"/>
                </a:solidFill>
                <a:effectLst/>
                <a:uLnTx/>
                <a:uFillTx/>
                <a:latin typeface="Tw Cen MT"/>
                <a:ea typeface="+mn-ea"/>
                <a:cs typeface="+mn-cs"/>
              </a:rPr>
              <a:t>pH changes 0.008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smtClean="0">
              <a:ln>
                <a:noFill/>
              </a:ln>
              <a:solidFill>
                <a:srgbClr val="002060"/>
              </a:solidFill>
              <a:effectLst/>
              <a:uLnTx/>
              <a:uFillTx/>
              <a:latin typeface="Tw Cen M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002060"/>
                </a:solidFill>
                <a:effectLst/>
                <a:uLnTx/>
                <a:uFillTx/>
                <a:latin typeface="Tw Cen MT"/>
                <a:ea typeface="+mn-ea"/>
                <a:cs typeface="+mn-cs"/>
              </a:rPr>
              <a:t>Chronic condi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002060"/>
                </a:solidFill>
                <a:effectLst/>
                <a:uLnTx/>
                <a:uFillTx/>
                <a:latin typeface="Tw Cen MT"/>
                <a:ea typeface="+mn-ea"/>
                <a:cs typeface="+mn-cs"/>
              </a:rPr>
              <a:t>        for each 1mm Hg PaCO2 </a:t>
            </a:r>
            <a:r>
              <a:rPr kumimoji="0" lang="en-US" sz="2400" b="1" i="0" u="none" strike="noStrike" kern="1200" cap="none" spc="0" normalizeH="0" baseline="0" noProof="0" dirty="0" smtClean="0">
                <a:ln>
                  <a:noFill/>
                </a:ln>
                <a:solidFill>
                  <a:srgbClr val="FF0000"/>
                </a:solidFill>
                <a:effectLst/>
                <a:uLnTx/>
                <a:uFillTx/>
                <a:latin typeface="Lucida Sans Unicode" pitchFamily="34" charset="0"/>
                <a:ea typeface="+mn-ea"/>
                <a:cs typeface="Lucida Sans Unicode" pitchFamily="34" charset="0"/>
              </a:rPr>
              <a:t>⇛ </a:t>
            </a:r>
            <a:r>
              <a:rPr kumimoji="0" lang="en-US" sz="2400" b="0" i="0" u="none" strike="noStrike" kern="1200" cap="none" spc="0" normalizeH="0" baseline="0" noProof="0" dirty="0" smtClean="0">
                <a:ln>
                  <a:noFill/>
                </a:ln>
                <a:solidFill>
                  <a:srgbClr val="002060"/>
                </a:solidFill>
                <a:effectLst/>
                <a:uLnTx/>
                <a:uFillTx/>
                <a:latin typeface="Tw Cen MT"/>
                <a:ea typeface="+mn-ea"/>
                <a:cs typeface="+mn-cs"/>
              </a:rPr>
              <a:t>pH changes 0.003</a:t>
            </a:r>
          </a:p>
        </p:txBody>
      </p:sp>
      <p:sp>
        <p:nvSpPr>
          <p:cNvPr id="7" name="Rectangle 6"/>
          <p:cNvSpPr/>
          <p:nvPr/>
        </p:nvSpPr>
        <p:spPr>
          <a:xfrm>
            <a:off x="2438400" y="5715000"/>
            <a:ext cx="4169731" cy="461665"/>
          </a:xfrm>
          <a:prstGeom prst="rect">
            <a:avLst/>
          </a:prstGeom>
          <a:solidFill>
            <a:schemeClr val="accent2">
              <a:lumMod val="60000"/>
              <a:lumOff val="40000"/>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C00000"/>
                </a:solidFill>
                <a:effectLst/>
                <a:uLnTx/>
                <a:uFillTx/>
                <a:latin typeface="Sitka Display" pitchFamily="2" charset="0"/>
                <a:ea typeface="+mn-ea"/>
                <a:cs typeface="+mn-cs"/>
              </a:rPr>
              <a:t>pH changes </a:t>
            </a:r>
            <a:r>
              <a:rPr kumimoji="0" lang="en-US" sz="2400" b="1" i="0" u="none" strike="noStrike" kern="1200" cap="none" spc="0" normalizeH="0" baseline="0" noProof="0" dirty="0" smtClean="0">
                <a:ln>
                  <a:noFill/>
                </a:ln>
                <a:solidFill>
                  <a:srgbClr val="C00000"/>
                </a:solidFill>
                <a:effectLst/>
                <a:uLnTx/>
                <a:uFillTx/>
                <a:latin typeface="Tw Cen MT"/>
                <a:ea typeface="+mn-ea"/>
                <a:cs typeface="+mn-cs"/>
              </a:rPr>
              <a:t>=  </a:t>
            </a:r>
            <a:r>
              <a:rPr kumimoji="0" lang="en-US" sz="2400" b="1" i="0" u="none" strike="noStrike" kern="1200" cap="none" spc="0" normalizeH="0" baseline="0" noProof="0" dirty="0" smtClean="0">
                <a:ln>
                  <a:noFill/>
                </a:ln>
                <a:solidFill>
                  <a:srgbClr val="C00000"/>
                </a:solidFill>
                <a:effectLst/>
                <a:uLnTx/>
                <a:uFillTx/>
                <a:latin typeface="Times New Roman"/>
                <a:ea typeface="+mn-ea"/>
                <a:cs typeface="Times New Roman"/>
              </a:rPr>
              <a:t>∆ pH / ∆PaCO2</a:t>
            </a:r>
            <a:endParaRPr kumimoji="0" lang="en-US" sz="2400" b="1" i="0" u="none" strike="noStrike" kern="1200" cap="none" spc="0" normalizeH="0" baseline="0" noProof="0" dirty="0">
              <a:ln>
                <a:noFill/>
              </a:ln>
              <a:solidFill>
                <a:srgbClr val="C00000"/>
              </a:solidFill>
              <a:effectLst/>
              <a:uLnTx/>
              <a:uFillTx/>
              <a:latin typeface="Tw Cen MT"/>
              <a:ea typeface="+mn-ea"/>
              <a:cs typeface="+mn-cs"/>
            </a:endParaRPr>
          </a:p>
        </p:txBody>
      </p:sp>
      <p:sp>
        <p:nvSpPr>
          <p:cNvPr id="5" name="Rectangle 4"/>
          <p:cNvSpPr/>
          <p:nvPr/>
        </p:nvSpPr>
        <p:spPr>
          <a:xfrm>
            <a:off x="2438400" y="5715000"/>
            <a:ext cx="5133136" cy="461665"/>
          </a:xfrm>
          <a:prstGeom prst="rect">
            <a:avLst/>
          </a:prstGeom>
          <a:solidFill>
            <a:schemeClr val="accent2">
              <a:lumMod val="60000"/>
              <a:lumOff val="40000"/>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C00000"/>
                </a:solidFill>
                <a:effectLst/>
                <a:uLnTx/>
                <a:uFillTx/>
                <a:latin typeface="Sitka Display" pitchFamily="2" charset="0"/>
                <a:ea typeface="+mn-ea"/>
                <a:cs typeface="+mn-cs"/>
              </a:rPr>
              <a:t>pH changes </a:t>
            </a:r>
            <a:r>
              <a:rPr kumimoji="0" lang="en-US" sz="2400" b="1" i="0" u="none" strike="noStrike" kern="1200" cap="none" spc="0" normalizeH="0" baseline="0" noProof="0" dirty="0" smtClean="0">
                <a:ln>
                  <a:noFill/>
                </a:ln>
                <a:solidFill>
                  <a:srgbClr val="C00000"/>
                </a:solidFill>
                <a:effectLst/>
                <a:uLnTx/>
                <a:uFillTx/>
                <a:latin typeface="Tw Cen MT"/>
                <a:ea typeface="+mn-ea"/>
                <a:cs typeface="+mn-cs"/>
              </a:rPr>
              <a:t>=  </a:t>
            </a:r>
            <a:r>
              <a:rPr kumimoji="0" lang="en-US" sz="2400" b="1" i="0" u="none" strike="noStrike" kern="1200" cap="none" spc="0" normalizeH="0" baseline="0" noProof="0" dirty="0" smtClean="0">
                <a:ln>
                  <a:noFill/>
                </a:ln>
                <a:solidFill>
                  <a:srgbClr val="C00000"/>
                </a:solidFill>
                <a:effectLst/>
                <a:uLnTx/>
                <a:uFillTx/>
                <a:latin typeface="Times New Roman"/>
                <a:ea typeface="+mn-ea"/>
                <a:cs typeface="Times New Roman"/>
              </a:rPr>
              <a:t>∆ pH × 1000 / ∆PaCO2</a:t>
            </a:r>
            <a:endParaRPr kumimoji="0" lang="en-US" sz="2400" b="1" i="0" u="none" strike="noStrike" kern="1200" cap="none" spc="0" normalizeH="0" baseline="0" noProof="0" dirty="0">
              <a:ln>
                <a:noFill/>
              </a:ln>
              <a:solidFill>
                <a:srgbClr val="C00000"/>
              </a:solidFill>
              <a:effectLst/>
              <a:uLnTx/>
              <a:uFillTx/>
              <a:latin typeface="Tw Cen MT"/>
              <a:ea typeface="+mn-ea"/>
              <a:cs typeface="+mn-cs"/>
            </a:endParaRPr>
          </a:p>
        </p:txBody>
      </p:sp>
    </p:spTree>
    <p:extLst>
      <p:ext uri="{BB962C8B-B14F-4D97-AF65-F5344CB8AC3E}">
        <p14:creationId xmlns:p14="http://schemas.microsoft.com/office/powerpoint/2010/main" val="321531309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5170"/>
                                        </p:tgtEl>
                                        <p:attrNameLst>
                                          <p:attrName>style.visibility</p:attrName>
                                        </p:attrNameLst>
                                      </p:cBhvr>
                                      <p:to>
                                        <p:strVal val="visible"/>
                                      </p:to>
                                    </p:set>
                                    <p:animEffect transition="in" filter="fade">
                                      <p:cBhvr>
                                        <p:cTn id="7" dur="2000"/>
                                        <p:tgtEl>
                                          <p:spTgt spid="135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170" grpId="0" animBg="1"/>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2"/>
          <p:cNvSpPr>
            <a:spLocks noGrp="1" noChangeArrowheads="1"/>
          </p:cNvSpPr>
          <p:nvPr>
            <p:ph type="title"/>
          </p:nvPr>
        </p:nvSpPr>
        <p:spPr/>
        <p:txBody>
          <a:bodyPr/>
          <a:lstStyle/>
          <a:p>
            <a:r>
              <a:rPr lang="en-US" sz="4000" dirty="0"/>
              <a:t/>
            </a:r>
            <a:br>
              <a:rPr lang="en-US" sz="4000" dirty="0"/>
            </a:br>
            <a:r>
              <a:rPr lang="en-US" sz="4000" dirty="0"/>
              <a:t/>
            </a:r>
            <a:br>
              <a:rPr lang="en-US" sz="4000" dirty="0"/>
            </a:br>
            <a:r>
              <a:rPr lang="en-US" sz="4000" dirty="0"/>
              <a:t> </a:t>
            </a:r>
          </a:p>
        </p:txBody>
      </p:sp>
      <p:sp>
        <p:nvSpPr>
          <p:cNvPr id="157699" name="Rectangle 3"/>
          <p:cNvSpPr>
            <a:spLocks noChangeArrowheads="1"/>
          </p:cNvSpPr>
          <p:nvPr/>
        </p:nvSpPr>
        <p:spPr bwMode="auto">
          <a:xfrm>
            <a:off x="611188" y="3933825"/>
            <a:ext cx="3132137" cy="457200"/>
          </a:xfrm>
          <a:prstGeom prst="rect">
            <a:avLst/>
          </a:prstGeom>
          <a:noFill/>
          <a:ln w="9525">
            <a:noFill/>
            <a:miter lim="800000"/>
            <a:headEnd/>
            <a:tailEnd/>
          </a:ln>
          <a:effectLst/>
        </p:spPr>
        <p:txBody>
          <a:bodyPr>
            <a:spAutoFit/>
          </a:bodyPr>
          <a:lstStyle/>
          <a:p>
            <a:pPr algn="l"/>
            <a:endParaRPr lang="en-US" sz="2400" b="1">
              <a:solidFill>
                <a:schemeClr val="tx2"/>
              </a:solidFill>
            </a:endParaRPr>
          </a:p>
        </p:txBody>
      </p:sp>
      <p:sp>
        <p:nvSpPr>
          <p:cNvPr id="157701" name="Rectangle 5"/>
          <p:cNvSpPr>
            <a:spLocks noChangeArrowheads="1"/>
          </p:cNvSpPr>
          <p:nvPr/>
        </p:nvSpPr>
        <p:spPr bwMode="auto">
          <a:xfrm>
            <a:off x="838200" y="1944201"/>
            <a:ext cx="4267200" cy="4893647"/>
          </a:xfrm>
          <a:prstGeom prst="rect">
            <a:avLst/>
          </a:prstGeom>
          <a:noFill/>
          <a:ln w="9525">
            <a:noFill/>
            <a:miter lim="800000"/>
            <a:headEnd/>
            <a:tailEnd/>
          </a:ln>
          <a:effectLst/>
        </p:spPr>
        <p:txBody>
          <a:bodyPr wrap="square" anchor="ctr">
            <a:spAutoFit/>
          </a:bodyPr>
          <a:lstStyle/>
          <a:p>
            <a:pPr marL="914400" lvl="1" indent="-457200">
              <a:buFont typeface="Wingdings" panose="05000000000000000000" pitchFamily="2" charset="2"/>
              <a:buChar char="Ø"/>
            </a:pPr>
            <a:r>
              <a:rPr lang="en-US" sz="2800" b="1" dirty="0" smtClean="0">
                <a:solidFill>
                  <a:srgbClr val="FF0000"/>
                </a:solidFill>
                <a:latin typeface="Candara" panose="020E0502030303020204" pitchFamily="34" charset="0"/>
              </a:rPr>
              <a:t>PH          7.2</a:t>
            </a:r>
          </a:p>
          <a:p>
            <a:pPr marL="914400" lvl="1" indent="-457200">
              <a:buFont typeface="Wingdings" panose="05000000000000000000" pitchFamily="2" charset="2"/>
              <a:buChar char="Ø"/>
            </a:pPr>
            <a:r>
              <a:rPr lang="en-US" sz="2800" b="1" dirty="0" smtClean="0">
                <a:solidFill>
                  <a:srgbClr val="FF0000"/>
                </a:solidFill>
                <a:latin typeface="Candara" panose="020E0502030303020204" pitchFamily="34" charset="0"/>
              </a:rPr>
              <a:t>PaCO2   35 mmHg</a:t>
            </a:r>
          </a:p>
          <a:p>
            <a:pPr marL="914400" lvl="1" indent="-457200">
              <a:buFont typeface="Wingdings" panose="05000000000000000000" pitchFamily="2" charset="2"/>
              <a:buChar char="Ø"/>
            </a:pPr>
            <a:r>
              <a:rPr lang="en-US" sz="2800" b="1" dirty="0" smtClean="0">
                <a:solidFill>
                  <a:srgbClr val="FF0000"/>
                </a:solidFill>
                <a:latin typeface="Candara" panose="020E0502030303020204" pitchFamily="34" charset="0"/>
              </a:rPr>
              <a:t>HCO3     10 mEq\L</a:t>
            </a:r>
          </a:p>
          <a:p>
            <a:pPr marL="914400" lvl="1" indent="-457200">
              <a:buFont typeface="Wingdings" panose="05000000000000000000" pitchFamily="2" charset="2"/>
              <a:buChar char="Ø"/>
            </a:pPr>
            <a:endParaRPr lang="en-US" sz="2800" b="1" dirty="0" smtClean="0">
              <a:solidFill>
                <a:srgbClr val="FF0000"/>
              </a:solidFill>
              <a:latin typeface="Candara" panose="020E0502030303020204" pitchFamily="34" charset="0"/>
            </a:endParaRPr>
          </a:p>
          <a:p>
            <a:pPr marL="914400" lvl="1" indent="-457200">
              <a:buFont typeface="Wingdings" panose="05000000000000000000" pitchFamily="2" charset="2"/>
              <a:buChar char="Ø"/>
            </a:pPr>
            <a:r>
              <a:rPr lang="en-US" sz="2800" b="1" dirty="0" smtClean="0">
                <a:solidFill>
                  <a:srgbClr val="0070C0"/>
                </a:solidFill>
                <a:latin typeface="Candara" panose="020E0502030303020204" pitchFamily="34" charset="0"/>
              </a:rPr>
              <a:t>PaO2      90 mmHg</a:t>
            </a:r>
          </a:p>
          <a:p>
            <a:pPr marL="914400" lvl="1" indent="-457200">
              <a:buFont typeface="Wingdings" panose="05000000000000000000" pitchFamily="2" charset="2"/>
              <a:buChar char="Ø"/>
            </a:pPr>
            <a:r>
              <a:rPr lang="en-US" sz="2800" b="1" dirty="0" smtClean="0">
                <a:solidFill>
                  <a:srgbClr val="0070C0"/>
                </a:solidFill>
                <a:latin typeface="Candara" panose="020E0502030303020204" pitchFamily="34" charset="0"/>
              </a:rPr>
              <a:t>SpO2      93 %</a:t>
            </a:r>
          </a:p>
          <a:p>
            <a:pPr marL="914400" lvl="1" indent="-457200">
              <a:buFont typeface="Wingdings" panose="05000000000000000000" pitchFamily="2" charset="2"/>
              <a:buChar char="Ø"/>
            </a:pPr>
            <a:endParaRPr lang="en-US" sz="2800" b="1" dirty="0">
              <a:solidFill>
                <a:srgbClr val="FF0000"/>
              </a:solidFill>
              <a:latin typeface="Candara" panose="020E0502030303020204" pitchFamily="34" charset="0"/>
            </a:endParaRPr>
          </a:p>
          <a:p>
            <a:pPr marL="914400" lvl="1" indent="-457200">
              <a:buFont typeface="Wingdings" panose="05000000000000000000" pitchFamily="2" charset="2"/>
              <a:buChar char="Ø"/>
            </a:pPr>
            <a:r>
              <a:rPr lang="en-US" sz="2800" b="1" dirty="0" smtClean="0">
                <a:solidFill>
                  <a:srgbClr val="FF0000"/>
                </a:solidFill>
                <a:latin typeface="Candara" panose="020E0502030303020204" pitchFamily="34" charset="0"/>
              </a:rPr>
              <a:t>Na</a:t>
            </a:r>
            <a:r>
              <a:rPr lang="en-US" sz="2800" b="1" baseline="30000" dirty="0" smtClean="0">
                <a:solidFill>
                  <a:srgbClr val="FF0000"/>
                </a:solidFill>
                <a:latin typeface="Candara" panose="020E0502030303020204" pitchFamily="34" charset="0"/>
              </a:rPr>
              <a:t>+</a:t>
            </a:r>
            <a:r>
              <a:rPr lang="en-US" sz="2800" b="1" dirty="0" smtClean="0">
                <a:solidFill>
                  <a:srgbClr val="FF0000"/>
                </a:solidFill>
                <a:latin typeface="Candara" panose="020E0502030303020204" pitchFamily="34" charset="0"/>
              </a:rPr>
              <a:t>         130mEq\L</a:t>
            </a:r>
          </a:p>
          <a:p>
            <a:pPr marL="914400" lvl="1" indent="-457200">
              <a:buFont typeface="Wingdings" panose="05000000000000000000" pitchFamily="2" charset="2"/>
              <a:buChar char="Ø"/>
            </a:pPr>
            <a:r>
              <a:rPr lang="en-US" sz="2800" b="1" dirty="0" smtClean="0">
                <a:solidFill>
                  <a:srgbClr val="FF0000"/>
                </a:solidFill>
                <a:latin typeface="Candara" panose="020E0502030303020204" pitchFamily="34" charset="0"/>
              </a:rPr>
              <a:t>Cl</a:t>
            </a:r>
            <a:r>
              <a:rPr lang="en-US" sz="2800" b="1" baseline="40000" dirty="0" smtClean="0">
                <a:solidFill>
                  <a:srgbClr val="FF0000"/>
                </a:solidFill>
                <a:latin typeface="Candara" panose="020E0502030303020204" pitchFamily="34" charset="0"/>
              </a:rPr>
              <a:t>-</a:t>
            </a:r>
            <a:r>
              <a:rPr lang="en-US" sz="2800" b="1" dirty="0" smtClean="0">
                <a:solidFill>
                  <a:srgbClr val="FF0000"/>
                </a:solidFill>
                <a:latin typeface="Candara" panose="020E0502030303020204" pitchFamily="34" charset="0"/>
              </a:rPr>
              <a:t>           110</a:t>
            </a:r>
            <a:r>
              <a:rPr lang="en-US" sz="2800" b="1" dirty="0">
                <a:solidFill>
                  <a:srgbClr val="FF0000"/>
                </a:solidFill>
                <a:latin typeface="Candara" panose="020E0502030303020204" pitchFamily="34" charset="0"/>
              </a:rPr>
              <a:t>mEq\L</a:t>
            </a:r>
          </a:p>
          <a:p>
            <a:pPr lvl="1"/>
            <a:endParaRPr lang="en-US" sz="2800" b="1" dirty="0" smtClean="0">
              <a:solidFill>
                <a:srgbClr val="FF0000"/>
              </a:solidFill>
            </a:endParaRPr>
          </a:p>
          <a:p>
            <a:pPr algn="ctr" rtl="0" eaLnBrk="0" hangingPunct="0"/>
            <a:endParaRPr lang="en-US" sz="3200" dirty="0">
              <a:solidFill>
                <a:srgbClr val="FF0000"/>
              </a:solidFill>
              <a:latin typeface="Arial" charset="0"/>
            </a:endParaRPr>
          </a:p>
        </p:txBody>
      </p:sp>
      <p:graphicFrame>
        <p:nvGraphicFramePr>
          <p:cNvPr id="157703" name="Object 7"/>
          <p:cNvGraphicFramePr>
            <a:graphicFrameLocks noGrp="1" noChangeAspect="1"/>
          </p:cNvGraphicFramePr>
          <p:nvPr>
            <p:ph idx="1"/>
            <p:extLst>
              <p:ext uri="{D42A27DB-BD31-4B8C-83A1-F6EECF244321}">
                <p14:modId xmlns:p14="http://schemas.microsoft.com/office/powerpoint/2010/main" val="4147781681"/>
              </p:ext>
            </p:extLst>
          </p:nvPr>
        </p:nvGraphicFramePr>
        <p:xfrm>
          <a:off x="6197473" y="1828800"/>
          <a:ext cx="2568575" cy="3657600"/>
        </p:xfrm>
        <a:graphic>
          <a:graphicData uri="http://schemas.openxmlformats.org/presentationml/2006/ole">
            <mc:AlternateContent xmlns:mc="http://schemas.openxmlformats.org/markup-compatibility/2006">
              <mc:Choice xmlns:v="urn:schemas-microsoft-com:vml" Requires="v">
                <p:oleObj spid="_x0000_s290828" name="Clip" r:id="rId3" imgW="3848040" imgH="5478120" progId="MS_ClipArt_Gallery.5">
                  <p:embed/>
                </p:oleObj>
              </mc:Choice>
              <mc:Fallback>
                <p:oleObj name="Clip" r:id="rId3" imgW="3848040" imgH="5478120" progId="MS_ClipArt_Gallery.5">
                  <p:embed/>
                  <p:pic>
                    <p:nvPicPr>
                      <p:cNvPr id="157703" name="Object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97473" y="1828800"/>
                        <a:ext cx="2568575" cy="3657600"/>
                      </a:xfrm>
                      <a:prstGeom prst="rect">
                        <a:avLst/>
                      </a:prstGeom>
                      <a:solidFill>
                        <a:schemeClr val="accent1">
                          <a:lumMod val="60000"/>
                          <a:lumOff val="40000"/>
                        </a:schemeClr>
                      </a:solidFill>
                      <a:ln>
                        <a:noFill/>
                      </a:ln>
                      <a:effectLst/>
                      <a:extLst/>
                    </p:spPr>
                  </p:pic>
                </p:oleObj>
              </mc:Fallback>
            </mc:AlternateContent>
          </a:graphicData>
        </a:graphic>
      </p:graphicFrame>
    </p:spTree>
    <p:extLst>
      <p:ext uri="{BB962C8B-B14F-4D97-AF65-F5344CB8AC3E}">
        <p14:creationId xmlns:p14="http://schemas.microsoft.com/office/powerpoint/2010/main" val="3577315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nodePh="1">
                                  <p:stCondLst>
                                    <p:cond delay="0"/>
                                  </p:stCondLst>
                                  <p:endCondLst>
                                    <p:cond evt="begin" delay="0">
                                      <p:tn val="5"/>
                                    </p:cond>
                                  </p:endCondLst>
                                  <p:childTnLst>
                                    <p:set>
                                      <p:cBhvr>
                                        <p:cTn id="6" dur="1" fill="hold">
                                          <p:stCondLst>
                                            <p:cond delay="0"/>
                                          </p:stCondLst>
                                        </p:cTn>
                                        <p:tgtEl>
                                          <p:spTgt spid="157699"/>
                                        </p:tgtEl>
                                        <p:attrNameLst>
                                          <p:attrName>style.visibility</p:attrName>
                                        </p:attrNameLst>
                                      </p:cBhvr>
                                      <p:to>
                                        <p:strVal val="visible"/>
                                      </p:to>
                                    </p:set>
                                    <p:anim calcmode="lin" valueType="num">
                                      <p:cBhvr additive="base">
                                        <p:cTn id="7" dur="500" fill="hold"/>
                                        <p:tgtEl>
                                          <p:spTgt spid="157699"/>
                                        </p:tgtEl>
                                        <p:attrNameLst>
                                          <p:attrName>ppt_x</p:attrName>
                                        </p:attrNameLst>
                                      </p:cBhvr>
                                      <p:tavLst>
                                        <p:tav tm="0">
                                          <p:val>
                                            <p:strVal val="#ppt_x"/>
                                          </p:val>
                                        </p:tav>
                                        <p:tav tm="100000">
                                          <p:val>
                                            <p:strVal val="#ppt_x"/>
                                          </p:val>
                                        </p:tav>
                                      </p:tavLst>
                                    </p:anim>
                                    <p:anim calcmode="lin" valueType="num">
                                      <p:cBhvr additive="base">
                                        <p:cTn id="8" dur="500" fill="hold"/>
                                        <p:tgtEl>
                                          <p:spTgt spid="15769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7699" grpId="0"/>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4932"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17805" y="192088"/>
            <a:ext cx="7708389" cy="6550025"/>
          </a:xfrm>
          <a:prstGeom prst="rect">
            <a:avLst/>
          </a:prstGeom>
          <a:noFill/>
          <a:ln w="9525">
            <a:noFill/>
            <a:miter lim="800000"/>
            <a:headEnd/>
            <a:tailEnd/>
          </a:ln>
          <a:effectLst/>
        </p:spPr>
      </p:pic>
    </p:spTree>
    <p:extLst>
      <p:ext uri="{BB962C8B-B14F-4D97-AF65-F5344CB8AC3E}">
        <p14:creationId xmlns:p14="http://schemas.microsoft.com/office/powerpoint/2010/main" val="517471092"/>
      </p:ext>
    </p:extLst>
  </p:cSld>
  <p:clrMapOvr>
    <a:masterClrMapping/>
  </p:clrMapOvr>
  <p:transition>
    <p:dissolve/>
    <p:sndAc>
      <p:stSnd>
        <p:snd r:embed="rId2" name="chimes.wav"/>
      </p:stSnd>
    </p:sndAc>
  </p:transition>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2226" name="Title 1"/>
          <p:cNvSpPr>
            <a:spLocks noGrp="1"/>
          </p:cNvSpPr>
          <p:nvPr>
            <p:ph type="title"/>
          </p:nvPr>
        </p:nvSpPr>
        <p:spPr>
          <a:solidFill>
            <a:schemeClr val="accent1"/>
          </a:solidFill>
        </p:spPr>
        <p:txBody>
          <a:bodyPr/>
          <a:lstStyle/>
          <a:p>
            <a:r>
              <a:rPr lang="en-US" smtClean="0"/>
              <a:t>How to comment???????</a:t>
            </a:r>
          </a:p>
        </p:txBody>
      </p:sp>
      <p:sp>
        <p:nvSpPr>
          <p:cNvPr id="3" name="Content Placeholder 2"/>
          <p:cNvSpPr>
            <a:spLocks noGrp="1"/>
          </p:cNvSpPr>
          <p:nvPr>
            <p:ph idx="1"/>
          </p:nvPr>
        </p:nvSpPr>
        <p:spPr>
          <a:solidFill>
            <a:schemeClr val="accent1">
              <a:lumMod val="20000"/>
              <a:lumOff val="80000"/>
            </a:schemeClr>
          </a:solidFill>
        </p:spPr>
        <p:txBody>
          <a:bodyPr/>
          <a:lstStyle/>
          <a:p>
            <a:pPr>
              <a:defRPr/>
            </a:pPr>
            <a:r>
              <a:rPr lang="en-US" dirty="0" smtClean="0"/>
              <a:t>Plain x-Ray P-A view</a:t>
            </a:r>
          </a:p>
          <a:p>
            <a:pPr>
              <a:defRPr/>
            </a:pPr>
            <a:r>
              <a:rPr lang="en-US" dirty="0" smtClean="0"/>
              <a:t>Site of the lesion</a:t>
            </a:r>
          </a:p>
          <a:p>
            <a:pPr>
              <a:defRPr/>
            </a:pPr>
            <a:r>
              <a:rPr lang="en-US" dirty="0" smtClean="0"/>
              <a:t>Description</a:t>
            </a:r>
          </a:p>
          <a:p>
            <a:pPr>
              <a:defRPr/>
            </a:pPr>
            <a:r>
              <a:rPr lang="en-US" dirty="0" smtClean="0"/>
              <a:t>Diagnosis or DD</a:t>
            </a:r>
            <a:endParaRPr lang="en-US" dirty="0"/>
          </a:p>
        </p:txBody>
      </p:sp>
    </p:spTree>
    <p:extLst>
      <p:ext uri="{BB962C8B-B14F-4D97-AF65-F5344CB8AC3E}">
        <p14:creationId xmlns:p14="http://schemas.microsoft.com/office/powerpoint/2010/main" val="4122145047"/>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3250" name="Text Box 3"/>
          <p:cNvSpPr txBox="1">
            <a:spLocks noChangeArrowheads="1"/>
          </p:cNvSpPr>
          <p:nvPr/>
        </p:nvSpPr>
        <p:spPr bwMode="auto">
          <a:xfrm>
            <a:off x="5943600" y="2971800"/>
            <a:ext cx="19050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6000">
                <a:solidFill>
                  <a:schemeClr val="tx1"/>
                </a:solidFill>
                <a:latin typeface="Arial" charset="0"/>
              </a:defRPr>
            </a:lvl1pPr>
            <a:lvl2pPr marL="742950" indent="-285750" eaLnBrk="0" hangingPunct="0">
              <a:defRPr sz="6000">
                <a:solidFill>
                  <a:schemeClr val="tx1"/>
                </a:solidFill>
                <a:latin typeface="Arial" charset="0"/>
              </a:defRPr>
            </a:lvl2pPr>
            <a:lvl3pPr marL="1143000" indent="-228600" eaLnBrk="0" hangingPunct="0">
              <a:defRPr sz="6000">
                <a:solidFill>
                  <a:schemeClr val="tx1"/>
                </a:solidFill>
                <a:latin typeface="Arial" charset="0"/>
              </a:defRPr>
            </a:lvl3pPr>
            <a:lvl4pPr marL="1600200" indent="-228600" eaLnBrk="0" hangingPunct="0">
              <a:defRPr sz="6000">
                <a:solidFill>
                  <a:schemeClr val="tx1"/>
                </a:solidFill>
                <a:latin typeface="Arial" charset="0"/>
              </a:defRPr>
            </a:lvl4pPr>
            <a:lvl5pPr marL="2057400" indent="-228600" eaLnBrk="0" hangingPunct="0">
              <a:defRPr sz="6000">
                <a:solidFill>
                  <a:schemeClr val="tx1"/>
                </a:solidFill>
                <a:latin typeface="Arial" charset="0"/>
              </a:defRPr>
            </a:lvl5pPr>
            <a:lvl6pPr marL="2514600" indent="-228600" eaLnBrk="0" fontAlgn="base" hangingPunct="0">
              <a:spcBef>
                <a:spcPct val="0"/>
              </a:spcBef>
              <a:spcAft>
                <a:spcPct val="0"/>
              </a:spcAft>
              <a:defRPr sz="6000">
                <a:solidFill>
                  <a:schemeClr val="tx1"/>
                </a:solidFill>
                <a:latin typeface="Arial" charset="0"/>
              </a:defRPr>
            </a:lvl6pPr>
            <a:lvl7pPr marL="2971800" indent="-228600" eaLnBrk="0" fontAlgn="base" hangingPunct="0">
              <a:spcBef>
                <a:spcPct val="0"/>
              </a:spcBef>
              <a:spcAft>
                <a:spcPct val="0"/>
              </a:spcAft>
              <a:defRPr sz="6000">
                <a:solidFill>
                  <a:schemeClr val="tx1"/>
                </a:solidFill>
                <a:latin typeface="Arial" charset="0"/>
              </a:defRPr>
            </a:lvl7pPr>
            <a:lvl8pPr marL="3429000" indent="-228600" eaLnBrk="0" fontAlgn="base" hangingPunct="0">
              <a:spcBef>
                <a:spcPct val="0"/>
              </a:spcBef>
              <a:spcAft>
                <a:spcPct val="0"/>
              </a:spcAft>
              <a:defRPr sz="6000">
                <a:solidFill>
                  <a:schemeClr val="tx1"/>
                </a:solidFill>
                <a:latin typeface="Arial" charset="0"/>
              </a:defRPr>
            </a:lvl8pPr>
            <a:lvl9pPr marL="3886200" indent="-228600" eaLnBrk="0" fontAlgn="base" hangingPunct="0">
              <a:spcBef>
                <a:spcPct val="0"/>
              </a:spcBef>
              <a:spcAft>
                <a:spcPct val="0"/>
              </a:spcAft>
              <a:defRPr sz="6000">
                <a:solidFill>
                  <a:schemeClr val="tx1"/>
                </a:solidFill>
                <a:latin typeface="Arial"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3600" b="1" i="0" u="none" strike="noStrike" kern="1200" cap="none" spc="0" normalizeH="0" baseline="0" noProof="0" smtClean="0">
                <a:ln>
                  <a:noFill/>
                </a:ln>
                <a:solidFill>
                  <a:srgbClr val="00CC99"/>
                </a:solidFill>
                <a:effectLst/>
                <a:uLnTx/>
                <a:uFillTx/>
                <a:latin typeface="Verdana" pitchFamily="34" charset="0"/>
                <a:ea typeface="+mn-ea"/>
                <a:cs typeface="+mn-cs"/>
              </a:rPr>
              <a:t>LUNG</a:t>
            </a:r>
          </a:p>
        </p:txBody>
      </p:sp>
      <p:pic>
        <p:nvPicPr>
          <p:cNvPr id="53251" name="Picture 29" descr="C:\Users\Dr-Yasser\Desktop\Dr Fatma\1 anatomy 5 .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304800"/>
            <a:ext cx="7146925" cy="638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0286552"/>
      </p:ext>
    </p:extLst>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3"/>
          <p:cNvGraphicFramePr>
            <a:graphicFrameLocks noChangeAspect="1"/>
          </p:cNvGraphicFramePr>
          <p:nvPr>
            <p:extLst/>
          </p:nvPr>
        </p:nvGraphicFramePr>
        <p:xfrm>
          <a:off x="382588" y="762000"/>
          <a:ext cx="8380412" cy="5543550"/>
        </p:xfrm>
        <a:graphic>
          <a:graphicData uri="http://schemas.openxmlformats.org/presentationml/2006/ole">
            <mc:AlternateContent xmlns:mc="http://schemas.openxmlformats.org/markup-compatibility/2006">
              <mc:Choice xmlns:v="urn:schemas-microsoft-com:vml" Requires="v">
                <p:oleObj spid="_x0000_s291850" name="Image" r:id="rId3" imgW="9066667" imgH="5142857" progId="">
                  <p:embed/>
                </p:oleObj>
              </mc:Choice>
              <mc:Fallback>
                <p:oleObj name="Image" r:id="rId3" imgW="9066667" imgH="5142857" progId="">
                  <p:embed/>
                  <p:pic>
                    <p:nvPicPr>
                      <p:cNvPr id="4098" name="Object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588" y="762000"/>
                        <a:ext cx="8380412" cy="5543550"/>
                      </a:xfrm>
                      <a:prstGeom prst="rect">
                        <a:avLst/>
                      </a:prstGeom>
                      <a:noFill/>
                      <a:ln>
                        <a:noFill/>
                      </a:ln>
                      <a:effectLst/>
                      <a:extLst/>
                    </p:spPr>
                  </p:pic>
                </p:oleObj>
              </mc:Fallback>
            </mc:AlternateContent>
          </a:graphicData>
        </a:graphic>
      </p:graphicFrame>
      <p:sp>
        <p:nvSpPr>
          <p:cNvPr id="4099" name="Text Box 4"/>
          <p:cNvSpPr txBox="1">
            <a:spLocks noChangeArrowheads="1"/>
          </p:cNvSpPr>
          <p:nvPr/>
        </p:nvSpPr>
        <p:spPr bwMode="auto">
          <a:xfrm>
            <a:off x="1093788" y="2133600"/>
            <a:ext cx="81121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6000">
                <a:solidFill>
                  <a:schemeClr val="tx1"/>
                </a:solidFill>
                <a:latin typeface="Arial" charset="0"/>
              </a:defRPr>
            </a:lvl1pPr>
            <a:lvl2pPr marL="742950" indent="-285750" eaLnBrk="0" hangingPunct="0">
              <a:defRPr sz="6000">
                <a:solidFill>
                  <a:schemeClr val="tx1"/>
                </a:solidFill>
                <a:latin typeface="Arial" charset="0"/>
              </a:defRPr>
            </a:lvl2pPr>
            <a:lvl3pPr marL="1143000" indent="-228600" eaLnBrk="0" hangingPunct="0">
              <a:defRPr sz="6000">
                <a:solidFill>
                  <a:schemeClr val="tx1"/>
                </a:solidFill>
                <a:latin typeface="Arial" charset="0"/>
              </a:defRPr>
            </a:lvl3pPr>
            <a:lvl4pPr marL="1600200" indent="-228600" eaLnBrk="0" hangingPunct="0">
              <a:defRPr sz="6000">
                <a:solidFill>
                  <a:schemeClr val="tx1"/>
                </a:solidFill>
                <a:latin typeface="Arial" charset="0"/>
              </a:defRPr>
            </a:lvl4pPr>
            <a:lvl5pPr marL="2057400" indent="-228600" eaLnBrk="0" hangingPunct="0">
              <a:defRPr sz="6000">
                <a:solidFill>
                  <a:schemeClr val="tx1"/>
                </a:solidFill>
                <a:latin typeface="Arial" charset="0"/>
              </a:defRPr>
            </a:lvl5pPr>
            <a:lvl6pPr marL="2514600" indent="-228600" eaLnBrk="0" fontAlgn="base" hangingPunct="0">
              <a:spcBef>
                <a:spcPct val="0"/>
              </a:spcBef>
              <a:spcAft>
                <a:spcPct val="0"/>
              </a:spcAft>
              <a:defRPr sz="6000">
                <a:solidFill>
                  <a:schemeClr val="tx1"/>
                </a:solidFill>
                <a:latin typeface="Arial" charset="0"/>
              </a:defRPr>
            </a:lvl6pPr>
            <a:lvl7pPr marL="2971800" indent="-228600" eaLnBrk="0" fontAlgn="base" hangingPunct="0">
              <a:spcBef>
                <a:spcPct val="0"/>
              </a:spcBef>
              <a:spcAft>
                <a:spcPct val="0"/>
              </a:spcAft>
              <a:defRPr sz="6000">
                <a:solidFill>
                  <a:schemeClr val="tx1"/>
                </a:solidFill>
                <a:latin typeface="Arial" charset="0"/>
              </a:defRPr>
            </a:lvl7pPr>
            <a:lvl8pPr marL="3429000" indent="-228600" eaLnBrk="0" fontAlgn="base" hangingPunct="0">
              <a:spcBef>
                <a:spcPct val="0"/>
              </a:spcBef>
              <a:spcAft>
                <a:spcPct val="0"/>
              </a:spcAft>
              <a:defRPr sz="6000">
                <a:solidFill>
                  <a:schemeClr val="tx1"/>
                </a:solidFill>
                <a:latin typeface="Arial" charset="0"/>
              </a:defRPr>
            </a:lvl8pPr>
            <a:lvl9pPr marL="3886200" indent="-228600" eaLnBrk="0" fontAlgn="base" hangingPunct="0">
              <a:spcBef>
                <a:spcPct val="0"/>
              </a:spcBef>
              <a:spcAft>
                <a:spcPct val="0"/>
              </a:spcAft>
              <a:defRPr sz="6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smtClean="0">
                <a:ln>
                  <a:noFill/>
                </a:ln>
                <a:solidFill>
                  <a:srgbClr val="FFFFFF"/>
                </a:solidFill>
                <a:effectLst/>
                <a:uLnTx/>
                <a:uFillTx/>
                <a:latin typeface="Arial" charset="0"/>
                <a:ea typeface="+mn-ea"/>
                <a:cs typeface="+mn-cs"/>
              </a:rPr>
              <a:t>RUL</a:t>
            </a:r>
          </a:p>
        </p:txBody>
      </p:sp>
      <p:sp>
        <p:nvSpPr>
          <p:cNvPr id="4100" name="Text Box 5"/>
          <p:cNvSpPr txBox="1">
            <a:spLocks noChangeArrowheads="1"/>
          </p:cNvSpPr>
          <p:nvPr/>
        </p:nvSpPr>
        <p:spPr bwMode="auto">
          <a:xfrm>
            <a:off x="984250" y="3733800"/>
            <a:ext cx="8445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6000">
                <a:solidFill>
                  <a:schemeClr val="tx1"/>
                </a:solidFill>
                <a:latin typeface="Arial" charset="0"/>
              </a:defRPr>
            </a:lvl1pPr>
            <a:lvl2pPr marL="742950" indent="-285750" eaLnBrk="0" hangingPunct="0">
              <a:defRPr sz="6000">
                <a:solidFill>
                  <a:schemeClr val="tx1"/>
                </a:solidFill>
                <a:latin typeface="Arial" charset="0"/>
              </a:defRPr>
            </a:lvl2pPr>
            <a:lvl3pPr marL="1143000" indent="-228600" eaLnBrk="0" hangingPunct="0">
              <a:defRPr sz="6000">
                <a:solidFill>
                  <a:schemeClr val="tx1"/>
                </a:solidFill>
                <a:latin typeface="Arial" charset="0"/>
              </a:defRPr>
            </a:lvl3pPr>
            <a:lvl4pPr marL="1600200" indent="-228600" eaLnBrk="0" hangingPunct="0">
              <a:defRPr sz="6000">
                <a:solidFill>
                  <a:schemeClr val="tx1"/>
                </a:solidFill>
                <a:latin typeface="Arial" charset="0"/>
              </a:defRPr>
            </a:lvl4pPr>
            <a:lvl5pPr marL="2057400" indent="-228600" eaLnBrk="0" hangingPunct="0">
              <a:defRPr sz="6000">
                <a:solidFill>
                  <a:schemeClr val="tx1"/>
                </a:solidFill>
                <a:latin typeface="Arial" charset="0"/>
              </a:defRPr>
            </a:lvl5pPr>
            <a:lvl6pPr marL="2514600" indent="-228600" eaLnBrk="0" fontAlgn="base" hangingPunct="0">
              <a:spcBef>
                <a:spcPct val="0"/>
              </a:spcBef>
              <a:spcAft>
                <a:spcPct val="0"/>
              </a:spcAft>
              <a:defRPr sz="6000">
                <a:solidFill>
                  <a:schemeClr val="tx1"/>
                </a:solidFill>
                <a:latin typeface="Arial" charset="0"/>
              </a:defRPr>
            </a:lvl6pPr>
            <a:lvl7pPr marL="2971800" indent="-228600" eaLnBrk="0" fontAlgn="base" hangingPunct="0">
              <a:spcBef>
                <a:spcPct val="0"/>
              </a:spcBef>
              <a:spcAft>
                <a:spcPct val="0"/>
              </a:spcAft>
              <a:defRPr sz="6000">
                <a:solidFill>
                  <a:schemeClr val="tx1"/>
                </a:solidFill>
                <a:latin typeface="Arial" charset="0"/>
              </a:defRPr>
            </a:lvl7pPr>
            <a:lvl8pPr marL="3429000" indent="-228600" eaLnBrk="0" fontAlgn="base" hangingPunct="0">
              <a:spcBef>
                <a:spcPct val="0"/>
              </a:spcBef>
              <a:spcAft>
                <a:spcPct val="0"/>
              </a:spcAft>
              <a:defRPr sz="6000">
                <a:solidFill>
                  <a:schemeClr val="tx1"/>
                </a:solidFill>
                <a:latin typeface="Arial" charset="0"/>
              </a:defRPr>
            </a:lvl8pPr>
            <a:lvl9pPr marL="3886200" indent="-228600" eaLnBrk="0" fontAlgn="base" hangingPunct="0">
              <a:spcBef>
                <a:spcPct val="0"/>
              </a:spcBef>
              <a:spcAft>
                <a:spcPct val="0"/>
              </a:spcAft>
              <a:defRPr sz="6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smtClean="0">
                <a:ln>
                  <a:noFill/>
                </a:ln>
                <a:solidFill>
                  <a:srgbClr val="FFFFFF"/>
                </a:solidFill>
                <a:effectLst/>
                <a:uLnTx/>
                <a:uFillTx/>
                <a:latin typeface="Arial" charset="0"/>
                <a:ea typeface="+mn-ea"/>
                <a:cs typeface="+mn-cs"/>
              </a:rPr>
              <a:t>RML</a:t>
            </a:r>
          </a:p>
        </p:txBody>
      </p:sp>
      <p:sp>
        <p:nvSpPr>
          <p:cNvPr id="4101" name="Text Box 6"/>
          <p:cNvSpPr txBox="1">
            <a:spLocks noChangeArrowheads="1"/>
          </p:cNvSpPr>
          <p:nvPr/>
        </p:nvSpPr>
        <p:spPr bwMode="auto">
          <a:xfrm>
            <a:off x="290513" y="4267200"/>
            <a:ext cx="77628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6000">
                <a:solidFill>
                  <a:schemeClr val="tx1"/>
                </a:solidFill>
                <a:latin typeface="Arial" charset="0"/>
              </a:defRPr>
            </a:lvl1pPr>
            <a:lvl2pPr marL="742950" indent="-285750" eaLnBrk="0" hangingPunct="0">
              <a:defRPr sz="6000">
                <a:solidFill>
                  <a:schemeClr val="tx1"/>
                </a:solidFill>
                <a:latin typeface="Arial" charset="0"/>
              </a:defRPr>
            </a:lvl2pPr>
            <a:lvl3pPr marL="1143000" indent="-228600" eaLnBrk="0" hangingPunct="0">
              <a:defRPr sz="6000">
                <a:solidFill>
                  <a:schemeClr val="tx1"/>
                </a:solidFill>
                <a:latin typeface="Arial" charset="0"/>
              </a:defRPr>
            </a:lvl3pPr>
            <a:lvl4pPr marL="1600200" indent="-228600" eaLnBrk="0" hangingPunct="0">
              <a:defRPr sz="6000">
                <a:solidFill>
                  <a:schemeClr val="tx1"/>
                </a:solidFill>
                <a:latin typeface="Arial" charset="0"/>
              </a:defRPr>
            </a:lvl4pPr>
            <a:lvl5pPr marL="2057400" indent="-228600" eaLnBrk="0" hangingPunct="0">
              <a:defRPr sz="6000">
                <a:solidFill>
                  <a:schemeClr val="tx1"/>
                </a:solidFill>
                <a:latin typeface="Arial" charset="0"/>
              </a:defRPr>
            </a:lvl5pPr>
            <a:lvl6pPr marL="2514600" indent="-228600" eaLnBrk="0" fontAlgn="base" hangingPunct="0">
              <a:spcBef>
                <a:spcPct val="0"/>
              </a:spcBef>
              <a:spcAft>
                <a:spcPct val="0"/>
              </a:spcAft>
              <a:defRPr sz="6000">
                <a:solidFill>
                  <a:schemeClr val="tx1"/>
                </a:solidFill>
                <a:latin typeface="Arial" charset="0"/>
              </a:defRPr>
            </a:lvl6pPr>
            <a:lvl7pPr marL="2971800" indent="-228600" eaLnBrk="0" fontAlgn="base" hangingPunct="0">
              <a:spcBef>
                <a:spcPct val="0"/>
              </a:spcBef>
              <a:spcAft>
                <a:spcPct val="0"/>
              </a:spcAft>
              <a:defRPr sz="6000">
                <a:solidFill>
                  <a:schemeClr val="tx1"/>
                </a:solidFill>
                <a:latin typeface="Arial" charset="0"/>
              </a:defRPr>
            </a:lvl7pPr>
            <a:lvl8pPr marL="3429000" indent="-228600" eaLnBrk="0" fontAlgn="base" hangingPunct="0">
              <a:spcBef>
                <a:spcPct val="0"/>
              </a:spcBef>
              <a:spcAft>
                <a:spcPct val="0"/>
              </a:spcAft>
              <a:defRPr sz="6000">
                <a:solidFill>
                  <a:schemeClr val="tx1"/>
                </a:solidFill>
                <a:latin typeface="Arial" charset="0"/>
              </a:defRPr>
            </a:lvl8pPr>
            <a:lvl9pPr marL="3886200" indent="-228600" eaLnBrk="0" fontAlgn="base" hangingPunct="0">
              <a:spcBef>
                <a:spcPct val="0"/>
              </a:spcBef>
              <a:spcAft>
                <a:spcPct val="0"/>
              </a:spcAft>
              <a:defRPr sz="6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smtClean="0">
                <a:ln>
                  <a:noFill/>
                </a:ln>
                <a:solidFill>
                  <a:srgbClr val="FFFFFF"/>
                </a:solidFill>
                <a:effectLst/>
                <a:uLnTx/>
                <a:uFillTx/>
                <a:latin typeface="Arial" charset="0"/>
                <a:ea typeface="+mn-ea"/>
                <a:cs typeface="+mn-cs"/>
              </a:rPr>
              <a:t>RLL</a:t>
            </a:r>
          </a:p>
        </p:txBody>
      </p:sp>
      <p:sp>
        <p:nvSpPr>
          <p:cNvPr id="4102" name="Text Box 7"/>
          <p:cNvSpPr txBox="1">
            <a:spLocks noChangeArrowheads="1"/>
          </p:cNvSpPr>
          <p:nvPr/>
        </p:nvSpPr>
        <p:spPr bwMode="auto">
          <a:xfrm>
            <a:off x="3338513" y="2590800"/>
            <a:ext cx="77628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6000">
                <a:solidFill>
                  <a:schemeClr val="tx1"/>
                </a:solidFill>
                <a:latin typeface="Arial" charset="0"/>
              </a:defRPr>
            </a:lvl1pPr>
            <a:lvl2pPr marL="742950" indent="-285750" eaLnBrk="0" hangingPunct="0">
              <a:defRPr sz="6000">
                <a:solidFill>
                  <a:schemeClr val="tx1"/>
                </a:solidFill>
                <a:latin typeface="Arial" charset="0"/>
              </a:defRPr>
            </a:lvl2pPr>
            <a:lvl3pPr marL="1143000" indent="-228600" eaLnBrk="0" hangingPunct="0">
              <a:defRPr sz="6000">
                <a:solidFill>
                  <a:schemeClr val="tx1"/>
                </a:solidFill>
                <a:latin typeface="Arial" charset="0"/>
              </a:defRPr>
            </a:lvl3pPr>
            <a:lvl4pPr marL="1600200" indent="-228600" eaLnBrk="0" hangingPunct="0">
              <a:defRPr sz="6000">
                <a:solidFill>
                  <a:schemeClr val="tx1"/>
                </a:solidFill>
                <a:latin typeface="Arial" charset="0"/>
              </a:defRPr>
            </a:lvl4pPr>
            <a:lvl5pPr marL="2057400" indent="-228600" eaLnBrk="0" hangingPunct="0">
              <a:defRPr sz="6000">
                <a:solidFill>
                  <a:schemeClr val="tx1"/>
                </a:solidFill>
                <a:latin typeface="Arial" charset="0"/>
              </a:defRPr>
            </a:lvl5pPr>
            <a:lvl6pPr marL="2514600" indent="-228600" eaLnBrk="0" fontAlgn="base" hangingPunct="0">
              <a:spcBef>
                <a:spcPct val="0"/>
              </a:spcBef>
              <a:spcAft>
                <a:spcPct val="0"/>
              </a:spcAft>
              <a:defRPr sz="6000">
                <a:solidFill>
                  <a:schemeClr val="tx1"/>
                </a:solidFill>
                <a:latin typeface="Arial" charset="0"/>
              </a:defRPr>
            </a:lvl6pPr>
            <a:lvl7pPr marL="2971800" indent="-228600" eaLnBrk="0" fontAlgn="base" hangingPunct="0">
              <a:spcBef>
                <a:spcPct val="0"/>
              </a:spcBef>
              <a:spcAft>
                <a:spcPct val="0"/>
              </a:spcAft>
              <a:defRPr sz="6000">
                <a:solidFill>
                  <a:schemeClr val="tx1"/>
                </a:solidFill>
                <a:latin typeface="Arial" charset="0"/>
              </a:defRPr>
            </a:lvl7pPr>
            <a:lvl8pPr marL="3429000" indent="-228600" eaLnBrk="0" fontAlgn="base" hangingPunct="0">
              <a:spcBef>
                <a:spcPct val="0"/>
              </a:spcBef>
              <a:spcAft>
                <a:spcPct val="0"/>
              </a:spcAft>
              <a:defRPr sz="6000">
                <a:solidFill>
                  <a:schemeClr val="tx1"/>
                </a:solidFill>
                <a:latin typeface="Arial" charset="0"/>
              </a:defRPr>
            </a:lvl8pPr>
            <a:lvl9pPr marL="3886200" indent="-228600" eaLnBrk="0" fontAlgn="base" hangingPunct="0">
              <a:spcBef>
                <a:spcPct val="0"/>
              </a:spcBef>
              <a:spcAft>
                <a:spcPct val="0"/>
              </a:spcAft>
              <a:defRPr sz="6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smtClean="0">
                <a:ln>
                  <a:noFill/>
                </a:ln>
                <a:solidFill>
                  <a:srgbClr val="FFFFFF"/>
                </a:solidFill>
                <a:effectLst/>
                <a:uLnTx/>
                <a:uFillTx/>
                <a:latin typeface="Arial" charset="0"/>
                <a:ea typeface="+mn-ea"/>
                <a:cs typeface="+mn-cs"/>
              </a:rPr>
              <a:t>LUL</a:t>
            </a:r>
          </a:p>
        </p:txBody>
      </p:sp>
      <p:sp>
        <p:nvSpPr>
          <p:cNvPr id="4103" name="Text Box 8"/>
          <p:cNvSpPr txBox="1">
            <a:spLocks noChangeArrowheads="1"/>
          </p:cNvSpPr>
          <p:nvPr/>
        </p:nvSpPr>
        <p:spPr bwMode="auto">
          <a:xfrm>
            <a:off x="4038600" y="4419600"/>
            <a:ext cx="7413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6000">
                <a:solidFill>
                  <a:schemeClr val="tx1"/>
                </a:solidFill>
                <a:latin typeface="Arial" charset="0"/>
              </a:defRPr>
            </a:lvl1pPr>
            <a:lvl2pPr marL="742950" indent="-285750" eaLnBrk="0" hangingPunct="0">
              <a:defRPr sz="6000">
                <a:solidFill>
                  <a:schemeClr val="tx1"/>
                </a:solidFill>
                <a:latin typeface="Arial" charset="0"/>
              </a:defRPr>
            </a:lvl2pPr>
            <a:lvl3pPr marL="1143000" indent="-228600" eaLnBrk="0" hangingPunct="0">
              <a:defRPr sz="6000">
                <a:solidFill>
                  <a:schemeClr val="tx1"/>
                </a:solidFill>
                <a:latin typeface="Arial" charset="0"/>
              </a:defRPr>
            </a:lvl3pPr>
            <a:lvl4pPr marL="1600200" indent="-228600" eaLnBrk="0" hangingPunct="0">
              <a:defRPr sz="6000">
                <a:solidFill>
                  <a:schemeClr val="tx1"/>
                </a:solidFill>
                <a:latin typeface="Arial" charset="0"/>
              </a:defRPr>
            </a:lvl4pPr>
            <a:lvl5pPr marL="2057400" indent="-228600" eaLnBrk="0" hangingPunct="0">
              <a:defRPr sz="6000">
                <a:solidFill>
                  <a:schemeClr val="tx1"/>
                </a:solidFill>
                <a:latin typeface="Arial" charset="0"/>
              </a:defRPr>
            </a:lvl5pPr>
            <a:lvl6pPr marL="2514600" indent="-228600" eaLnBrk="0" fontAlgn="base" hangingPunct="0">
              <a:spcBef>
                <a:spcPct val="0"/>
              </a:spcBef>
              <a:spcAft>
                <a:spcPct val="0"/>
              </a:spcAft>
              <a:defRPr sz="6000">
                <a:solidFill>
                  <a:schemeClr val="tx1"/>
                </a:solidFill>
                <a:latin typeface="Arial" charset="0"/>
              </a:defRPr>
            </a:lvl6pPr>
            <a:lvl7pPr marL="2971800" indent="-228600" eaLnBrk="0" fontAlgn="base" hangingPunct="0">
              <a:spcBef>
                <a:spcPct val="0"/>
              </a:spcBef>
              <a:spcAft>
                <a:spcPct val="0"/>
              </a:spcAft>
              <a:defRPr sz="6000">
                <a:solidFill>
                  <a:schemeClr val="tx1"/>
                </a:solidFill>
                <a:latin typeface="Arial" charset="0"/>
              </a:defRPr>
            </a:lvl7pPr>
            <a:lvl8pPr marL="3429000" indent="-228600" eaLnBrk="0" fontAlgn="base" hangingPunct="0">
              <a:spcBef>
                <a:spcPct val="0"/>
              </a:spcBef>
              <a:spcAft>
                <a:spcPct val="0"/>
              </a:spcAft>
              <a:defRPr sz="6000">
                <a:solidFill>
                  <a:schemeClr val="tx1"/>
                </a:solidFill>
                <a:latin typeface="Arial" charset="0"/>
              </a:defRPr>
            </a:lvl8pPr>
            <a:lvl9pPr marL="3886200" indent="-228600" eaLnBrk="0" fontAlgn="base" hangingPunct="0">
              <a:spcBef>
                <a:spcPct val="0"/>
              </a:spcBef>
              <a:spcAft>
                <a:spcPct val="0"/>
              </a:spcAft>
              <a:defRPr sz="6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smtClean="0">
                <a:ln>
                  <a:noFill/>
                </a:ln>
                <a:solidFill>
                  <a:srgbClr val="FFFFFF"/>
                </a:solidFill>
                <a:effectLst/>
                <a:uLnTx/>
                <a:uFillTx/>
                <a:latin typeface="Arial" charset="0"/>
                <a:ea typeface="+mn-ea"/>
                <a:cs typeface="+mn-cs"/>
              </a:rPr>
              <a:t>LLL</a:t>
            </a:r>
          </a:p>
        </p:txBody>
      </p:sp>
      <p:sp>
        <p:nvSpPr>
          <p:cNvPr id="4104" name="Text Box 9"/>
          <p:cNvSpPr txBox="1">
            <a:spLocks noChangeArrowheads="1"/>
          </p:cNvSpPr>
          <p:nvPr/>
        </p:nvSpPr>
        <p:spPr bwMode="auto">
          <a:xfrm>
            <a:off x="6580188" y="1981200"/>
            <a:ext cx="81121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6000">
                <a:solidFill>
                  <a:schemeClr val="tx1"/>
                </a:solidFill>
                <a:latin typeface="Arial" charset="0"/>
              </a:defRPr>
            </a:lvl1pPr>
            <a:lvl2pPr marL="742950" indent="-285750" eaLnBrk="0" hangingPunct="0">
              <a:defRPr sz="6000">
                <a:solidFill>
                  <a:schemeClr val="tx1"/>
                </a:solidFill>
                <a:latin typeface="Arial" charset="0"/>
              </a:defRPr>
            </a:lvl2pPr>
            <a:lvl3pPr marL="1143000" indent="-228600" eaLnBrk="0" hangingPunct="0">
              <a:defRPr sz="6000">
                <a:solidFill>
                  <a:schemeClr val="tx1"/>
                </a:solidFill>
                <a:latin typeface="Arial" charset="0"/>
              </a:defRPr>
            </a:lvl3pPr>
            <a:lvl4pPr marL="1600200" indent="-228600" eaLnBrk="0" hangingPunct="0">
              <a:defRPr sz="6000">
                <a:solidFill>
                  <a:schemeClr val="tx1"/>
                </a:solidFill>
                <a:latin typeface="Arial" charset="0"/>
              </a:defRPr>
            </a:lvl4pPr>
            <a:lvl5pPr marL="2057400" indent="-228600" eaLnBrk="0" hangingPunct="0">
              <a:defRPr sz="6000">
                <a:solidFill>
                  <a:schemeClr val="tx1"/>
                </a:solidFill>
                <a:latin typeface="Arial" charset="0"/>
              </a:defRPr>
            </a:lvl5pPr>
            <a:lvl6pPr marL="2514600" indent="-228600" eaLnBrk="0" fontAlgn="base" hangingPunct="0">
              <a:spcBef>
                <a:spcPct val="0"/>
              </a:spcBef>
              <a:spcAft>
                <a:spcPct val="0"/>
              </a:spcAft>
              <a:defRPr sz="6000">
                <a:solidFill>
                  <a:schemeClr val="tx1"/>
                </a:solidFill>
                <a:latin typeface="Arial" charset="0"/>
              </a:defRPr>
            </a:lvl6pPr>
            <a:lvl7pPr marL="2971800" indent="-228600" eaLnBrk="0" fontAlgn="base" hangingPunct="0">
              <a:spcBef>
                <a:spcPct val="0"/>
              </a:spcBef>
              <a:spcAft>
                <a:spcPct val="0"/>
              </a:spcAft>
              <a:defRPr sz="6000">
                <a:solidFill>
                  <a:schemeClr val="tx1"/>
                </a:solidFill>
                <a:latin typeface="Arial" charset="0"/>
              </a:defRPr>
            </a:lvl7pPr>
            <a:lvl8pPr marL="3429000" indent="-228600" eaLnBrk="0" fontAlgn="base" hangingPunct="0">
              <a:spcBef>
                <a:spcPct val="0"/>
              </a:spcBef>
              <a:spcAft>
                <a:spcPct val="0"/>
              </a:spcAft>
              <a:defRPr sz="6000">
                <a:solidFill>
                  <a:schemeClr val="tx1"/>
                </a:solidFill>
                <a:latin typeface="Arial" charset="0"/>
              </a:defRPr>
            </a:lvl8pPr>
            <a:lvl9pPr marL="3886200" indent="-228600" eaLnBrk="0" fontAlgn="base" hangingPunct="0">
              <a:spcBef>
                <a:spcPct val="0"/>
              </a:spcBef>
              <a:spcAft>
                <a:spcPct val="0"/>
              </a:spcAft>
              <a:defRPr sz="6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smtClean="0">
                <a:ln>
                  <a:noFill/>
                </a:ln>
                <a:solidFill>
                  <a:srgbClr val="000000"/>
                </a:solidFill>
                <a:effectLst/>
                <a:uLnTx/>
                <a:uFillTx/>
                <a:latin typeface="Arial" charset="0"/>
                <a:ea typeface="+mn-ea"/>
                <a:cs typeface="+mn-cs"/>
              </a:rPr>
              <a:t>RUL</a:t>
            </a:r>
          </a:p>
        </p:txBody>
      </p:sp>
      <p:sp>
        <p:nvSpPr>
          <p:cNvPr id="4105" name="Rectangle 10"/>
          <p:cNvSpPr>
            <a:spLocks noChangeArrowheads="1"/>
          </p:cNvSpPr>
          <p:nvPr/>
        </p:nvSpPr>
        <p:spPr bwMode="auto">
          <a:xfrm>
            <a:off x="5715000" y="3048000"/>
            <a:ext cx="8445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smtClean="0">
                <a:ln>
                  <a:noFill/>
                </a:ln>
                <a:solidFill>
                  <a:srgbClr val="000000"/>
                </a:solidFill>
                <a:effectLst/>
                <a:uLnTx/>
                <a:uFillTx/>
                <a:latin typeface="Arial" charset="0"/>
                <a:ea typeface="+mn-ea"/>
                <a:cs typeface="+mn-cs"/>
              </a:rPr>
              <a:t>RML</a:t>
            </a:r>
          </a:p>
        </p:txBody>
      </p:sp>
      <p:sp>
        <p:nvSpPr>
          <p:cNvPr id="4106" name="Rectangle 11"/>
          <p:cNvSpPr>
            <a:spLocks noChangeArrowheads="1"/>
          </p:cNvSpPr>
          <p:nvPr/>
        </p:nvSpPr>
        <p:spPr bwMode="auto">
          <a:xfrm>
            <a:off x="6961188" y="3657600"/>
            <a:ext cx="77628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smtClean="0">
                <a:ln>
                  <a:noFill/>
                </a:ln>
                <a:solidFill>
                  <a:srgbClr val="000000"/>
                </a:solidFill>
                <a:effectLst/>
                <a:uLnTx/>
                <a:uFillTx/>
                <a:latin typeface="Arial" charset="0"/>
                <a:ea typeface="+mn-ea"/>
                <a:cs typeface="+mn-cs"/>
              </a:rPr>
              <a:t>RLL</a:t>
            </a:r>
          </a:p>
        </p:txBody>
      </p:sp>
    </p:spTree>
    <p:extLst>
      <p:ext uri="{BB962C8B-B14F-4D97-AF65-F5344CB8AC3E}">
        <p14:creationId xmlns:p14="http://schemas.microsoft.com/office/powerpoint/2010/main" val="2008967173"/>
      </p:ext>
    </p:extLst>
  </p:cSld>
  <p:clrMapOvr>
    <a:masterClrMapping/>
  </p:clrMapOvr>
  <p:transition/>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64" name="Line 20"/>
          <p:cNvSpPr>
            <a:spLocks noChangeShapeType="1"/>
          </p:cNvSpPr>
          <p:nvPr/>
        </p:nvSpPr>
        <p:spPr bwMode="auto">
          <a:xfrm flipH="1">
            <a:off x="2914650" y="5445125"/>
            <a:ext cx="720725" cy="288925"/>
          </a:xfrm>
          <a:prstGeom prst="line">
            <a:avLst/>
          </a:prstGeom>
          <a:noFill/>
          <a:ln w="9525">
            <a:solidFill>
              <a:schemeClr val="tx1"/>
            </a:solidFill>
            <a:round/>
            <a:headEnd/>
            <a:tailEnd/>
          </a:ln>
          <a:effectLst/>
        </p:spPr>
        <p:txBody>
          <a:bodyPr/>
          <a:lstStyle/>
          <a:p>
            <a:endParaRPr lang="en-US"/>
          </a:p>
        </p:txBody>
      </p:sp>
      <p:sp>
        <p:nvSpPr>
          <p:cNvPr id="57365" name="Line 21"/>
          <p:cNvSpPr>
            <a:spLocks noChangeShapeType="1"/>
          </p:cNvSpPr>
          <p:nvPr/>
        </p:nvSpPr>
        <p:spPr bwMode="auto">
          <a:xfrm>
            <a:off x="3132138" y="5516563"/>
            <a:ext cx="71437" cy="73025"/>
          </a:xfrm>
          <a:prstGeom prst="line">
            <a:avLst/>
          </a:prstGeom>
          <a:noFill/>
          <a:ln w="9525">
            <a:solidFill>
              <a:schemeClr val="tx1"/>
            </a:solidFill>
            <a:round/>
            <a:headEnd/>
            <a:tailEnd/>
          </a:ln>
          <a:effectLst/>
        </p:spPr>
        <p:txBody>
          <a:bodyPr/>
          <a:lstStyle/>
          <a:p>
            <a:endParaRPr lang="en-US"/>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00200" y="228600"/>
            <a:ext cx="6019800" cy="6477000"/>
          </a:xfrm>
          <a:prstGeom prst="rect">
            <a:avLst/>
          </a:prstGeom>
        </p:spPr>
      </p:pic>
    </p:spTree>
    <p:extLst>
      <p:ext uri="{BB962C8B-B14F-4D97-AF65-F5344CB8AC3E}">
        <p14:creationId xmlns:p14="http://schemas.microsoft.com/office/powerpoint/2010/main" val="259897242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9" name="Rectangle 5">
            <a:extLst>
              <a:ext uri="{FF2B5EF4-FFF2-40B4-BE49-F238E27FC236}">
                <a16:creationId xmlns:a16="http://schemas.microsoft.com/office/drawing/2014/main" id="{8689F7C1-A8F7-4AE6-8982-12AF94A18DCD}"/>
              </a:ext>
            </a:extLst>
          </p:cNvPr>
          <p:cNvSpPr>
            <a:spLocks noChangeArrowheads="1"/>
          </p:cNvSpPr>
          <p:nvPr/>
        </p:nvSpPr>
        <p:spPr bwMode="auto">
          <a:xfrm>
            <a:off x="838200" y="4968875"/>
            <a:ext cx="191270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Times New Roman" panose="02020603050405020304" pitchFamily="18" charset="0"/>
              </a:defRPr>
            </a:lvl1pPr>
            <a:lvl2pPr marL="742950" indent="-285750" eaLnBrk="0" hangingPunct="0">
              <a:defRPr sz="1400">
                <a:solidFill>
                  <a:schemeClr val="tx1"/>
                </a:solidFill>
                <a:latin typeface="Times New Roman" panose="02020603050405020304" pitchFamily="18" charset="0"/>
              </a:defRPr>
            </a:lvl2pPr>
            <a:lvl3pPr marL="1143000" indent="-228600" eaLnBrk="0" hangingPunct="0">
              <a:defRPr sz="1400">
                <a:solidFill>
                  <a:schemeClr val="tx1"/>
                </a:solidFill>
                <a:latin typeface="Times New Roman" panose="02020603050405020304" pitchFamily="18" charset="0"/>
              </a:defRPr>
            </a:lvl3pPr>
            <a:lvl4pPr marL="1600200" indent="-228600" eaLnBrk="0" hangingPunct="0">
              <a:defRPr sz="1400">
                <a:solidFill>
                  <a:schemeClr val="tx1"/>
                </a:solidFill>
                <a:latin typeface="Times New Roman" panose="02020603050405020304" pitchFamily="18" charset="0"/>
              </a:defRPr>
            </a:lvl4pPr>
            <a:lvl5pPr marL="2057400" indent="-228600" eaLnBrk="0" hangingPunct="0">
              <a:defRPr sz="1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a:solidFill>
                  <a:schemeClr val="tx1"/>
                </a:solidFill>
                <a:latin typeface="Times New Roman" panose="02020603050405020304" pitchFamily="18"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2400" b="1" i="0" u="none" strike="noStrike" kern="1200" cap="none" spc="0" normalizeH="0" baseline="0" noProof="0" dirty="0" smtClean="0">
                <a:ln>
                  <a:noFill/>
                </a:ln>
                <a:solidFill>
                  <a:srgbClr val="FF0000"/>
                </a:solidFill>
                <a:effectLst/>
                <a:uLnTx/>
                <a:uFillTx/>
                <a:latin typeface="Times New Roman" panose="02020603050405020304" pitchFamily="18" charset="0"/>
                <a:ea typeface="+mn-ea"/>
                <a:cs typeface="+mn-cs"/>
              </a:rPr>
              <a:t>Consolidated</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2400" b="1" i="0" u="none" strike="noStrike" kern="1200" cap="none" spc="0" normalizeH="0" baseline="0" noProof="0" dirty="0" smtClean="0">
                <a:ln>
                  <a:noFill/>
                </a:ln>
                <a:solidFill>
                  <a:srgbClr val="FF0000"/>
                </a:solidFill>
                <a:effectLst/>
                <a:uLnTx/>
                <a:uFillTx/>
                <a:latin typeface="Times New Roman" panose="02020603050405020304" pitchFamily="18" charset="0"/>
                <a:ea typeface="+mn-ea"/>
                <a:cs typeface="+mn-cs"/>
              </a:rPr>
              <a:t>Pneumonia</a:t>
            </a:r>
            <a:endParaRPr kumimoji="0" lang="en-US" altLang="en-US" sz="24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endParaRPr>
          </a:p>
        </p:txBody>
      </p:sp>
      <p:sp>
        <p:nvSpPr>
          <p:cNvPr id="72710" name="Rectangle 6">
            <a:extLst>
              <a:ext uri="{FF2B5EF4-FFF2-40B4-BE49-F238E27FC236}">
                <a16:creationId xmlns:a16="http://schemas.microsoft.com/office/drawing/2014/main" id="{99CCE826-9ACB-4A2D-9A66-B6EB68E992D9}"/>
              </a:ext>
            </a:extLst>
          </p:cNvPr>
          <p:cNvSpPr>
            <a:spLocks noChangeArrowheads="1"/>
          </p:cNvSpPr>
          <p:nvPr/>
        </p:nvSpPr>
        <p:spPr bwMode="auto">
          <a:xfrm>
            <a:off x="4129310" y="4953000"/>
            <a:ext cx="158569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Times New Roman" panose="02020603050405020304" pitchFamily="18" charset="0"/>
              </a:defRPr>
            </a:lvl1pPr>
            <a:lvl2pPr marL="742950" indent="-285750" eaLnBrk="0" hangingPunct="0">
              <a:defRPr sz="1400">
                <a:solidFill>
                  <a:schemeClr val="tx1"/>
                </a:solidFill>
                <a:latin typeface="Times New Roman" panose="02020603050405020304" pitchFamily="18" charset="0"/>
              </a:defRPr>
            </a:lvl2pPr>
            <a:lvl3pPr marL="1143000" indent="-228600" eaLnBrk="0" hangingPunct="0">
              <a:defRPr sz="1400">
                <a:solidFill>
                  <a:schemeClr val="tx1"/>
                </a:solidFill>
                <a:latin typeface="Times New Roman" panose="02020603050405020304" pitchFamily="18" charset="0"/>
              </a:defRPr>
            </a:lvl3pPr>
            <a:lvl4pPr marL="1600200" indent="-228600" eaLnBrk="0" hangingPunct="0">
              <a:defRPr sz="1400">
                <a:solidFill>
                  <a:schemeClr val="tx1"/>
                </a:solidFill>
                <a:latin typeface="Times New Roman" panose="02020603050405020304" pitchFamily="18" charset="0"/>
              </a:defRPr>
            </a:lvl4pPr>
            <a:lvl5pPr marL="2057400" indent="-228600" eaLnBrk="0" hangingPunct="0">
              <a:defRPr sz="1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a:solidFill>
                  <a:schemeClr val="tx1"/>
                </a:solidFill>
                <a:latin typeface="Times New Roman" panose="02020603050405020304" pitchFamily="18"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2400" b="1" i="0" u="none" strike="noStrike" kern="1200" cap="none" spc="0" normalizeH="0" baseline="0" noProof="0" dirty="0" smtClean="0">
                <a:ln>
                  <a:noFill/>
                </a:ln>
                <a:solidFill>
                  <a:srgbClr val="FF0000"/>
                </a:solidFill>
                <a:effectLst/>
                <a:uLnTx/>
                <a:uFillTx/>
                <a:latin typeface="Times New Roman" panose="02020603050405020304" pitchFamily="18" charset="0"/>
                <a:ea typeface="+mn-ea"/>
                <a:cs typeface="+mn-cs"/>
              </a:rPr>
              <a:t>Massive</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2400" b="1" i="0" u="none" strike="noStrike" kern="1200" cap="none" spc="0" normalizeH="0" baseline="0" noProof="0" dirty="0" smtClean="0">
                <a:ln>
                  <a:noFill/>
                </a:ln>
                <a:solidFill>
                  <a:srgbClr val="FF0000"/>
                </a:solidFill>
                <a:effectLst/>
                <a:uLnTx/>
                <a:uFillTx/>
                <a:latin typeface="Times New Roman" panose="02020603050405020304" pitchFamily="18" charset="0"/>
                <a:ea typeface="+mn-ea"/>
                <a:cs typeface="+mn-cs"/>
              </a:rPr>
              <a:t>Atelectasis</a:t>
            </a:r>
            <a:endParaRPr kumimoji="0" lang="en-US" altLang="en-US" sz="24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endParaRPr>
          </a:p>
        </p:txBody>
      </p:sp>
      <p:sp>
        <p:nvSpPr>
          <p:cNvPr id="72711" name="Rectangle 7">
            <a:extLst>
              <a:ext uri="{FF2B5EF4-FFF2-40B4-BE49-F238E27FC236}">
                <a16:creationId xmlns:a16="http://schemas.microsoft.com/office/drawing/2014/main" id="{B5720173-58E7-4393-B299-BBC8D5E4767E}"/>
              </a:ext>
            </a:extLst>
          </p:cNvPr>
          <p:cNvSpPr>
            <a:spLocks noChangeArrowheads="1"/>
          </p:cNvSpPr>
          <p:nvPr/>
        </p:nvSpPr>
        <p:spPr bwMode="auto">
          <a:xfrm>
            <a:off x="6553200" y="4908550"/>
            <a:ext cx="23622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Times New Roman" panose="02020603050405020304" pitchFamily="18" charset="0"/>
              </a:defRPr>
            </a:lvl1pPr>
            <a:lvl2pPr marL="742950" indent="-285750" eaLnBrk="0" hangingPunct="0">
              <a:defRPr sz="1400">
                <a:solidFill>
                  <a:schemeClr val="tx1"/>
                </a:solidFill>
                <a:latin typeface="Times New Roman" panose="02020603050405020304" pitchFamily="18" charset="0"/>
              </a:defRPr>
            </a:lvl2pPr>
            <a:lvl3pPr marL="1143000" indent="-228600" eaLnBrk="0" hangingPunct="0">
              <a:defRPr sz="1400">
                <a:solidFill>
                  <a:schemeClr val="tx1"/>
                </a:solidFill>
                <a:latin typeface="Times New Roman" panose="02020603050405020304" pitchFamily="18" charset="0"/>
              </a:defRPr>
            </a:lvl3pPr>
            <a:lvl4pPr marL="1600200" indent="-228600" eaLnBrk="0" hangingPunct="0">
              <a:defRPr sz="1400">
                <a:solidFill>
                  <a:schemeClr val="tx1"/>
                </a:solidFill>
                <a:latin typeface="Times New Roman" panose="02020603050405020304" pitchFamily="18" charset="0"/>
              </a:defRPr>
            </a:lvl4pPr>
            <a:lvl5pPr marL="2057400" indent="-228600" eaLnBrk="0" hangingPunct="0">
              <a:defRPr sz="1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a:solidFill>
                  <a:schemeClr val="tx1"/>
                </a:solidFill>
                <a:latin typeface="Times New Roman" panose="02020603050405020304" pitchFamily="18"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2400" b="1" i="0" u="none" strike="noStrike" kern="1200" cap="none" spc="0" normalizeH="0" baseline="0" noProof="0" dirty="0" smtClean="0">
                <a:ln>
                  <a:noFill/>
                </a:ln>
                <a:solidFill>
                  <a:srgbClr val="FF0000"/>
                </a:solidFill>
                <a:effectLst/>
                <a:uLnTx/>
                <a:uFillTx/>
                <a:latin typeface="Times New Roman" panose="02020603050405020304" pitchFamily="18" charset="0"/>
                <a:ea typeface="+mn-ea"/>
                <a:cs typeface="+mn-cs"/>
              </a:rPr>
              <a:t>Massive Pleural</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2400" b="1" i="0" u="none" strike="noStrike" kern="1200" cap="none" spc="0" normalizeH="0" baseline="0" noProof="0" dirty="0" smtClean="0">
                <a:ln>
                  <a:noFill/>
                </a:ln>
                <a:solidFill>
                  <a:srgbClr val="FF0000"/>
                </a:solidFill>
                <a:effectLst/>
                <a:uLnTx/>
                <a:uFillTx/>
                <a:latin typeface="Times New Roman" panose="02020603050405020304" pitchFamily="18" charset="0"/>
                <a:ea typeface="+mn-ea"/>
                <a:cs typeface="+mn-cs"/>
              </a:rPr>
              <a:t>Effusion</a:t>
            </a:r>
            <a:endParaRPr kumimoji="0" lang="en-US" altLang="en-US" sz="24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mn-cs"/>
            </a:endParaRPr>
          </a:p>
        </p:txBody>
      </p:sp>
      <p:graphicFrame>
        <p:nvGraphicFramePr>
          <p:cNvPr id="13317" name="Object 8">
            <a:extLst>
              <a:ext uri="{FF2B5EF4-FFF2-40B4-BE49-F238E27FC236}">
                <a16:creationId xmlns:a16="http://schemas.microsoft.com/office/drawing/2014/main" id="{674EE7F2-59EF-4487-BE2F-C607C207BE0B}"/>
              </a:ext>
            </a:extLst>
          </p:cNvPr>
          <p:cNvGraphicFramePr>
            <a:graphicFrameLocks noChangeAspect="1"/>
          </p:cNvGraphicFramePr>
          <p:nvPr/>
        </p:nvGraphicFramePr>
        <p:xfrm>
          <a:off x="214313" y="990600"/>
          <a:ext cx="3062287" cy="3810000"/>
        </p:xfrm>
        <a:graphic>
          <a:graphicData uri="http://schemas.openxmlformats.org/presentationml/2006/ole">
            <mc:AlternateContent xmlns:mc="http://schemas.openxmlformats.org/markup-compatibility/2006">
              <mc:Choice xmlns:v="urn:schemas-microsoft-com:vml" Requires="v">
                <p:oleObj spid="_x0000_s293908" name="Image" r:id="rId4" imgW="5841270" imgH="4965079" progId="">
                  <p:embed/>
                </p:oleObj>
              </mc:Choice>
              <mc:Fallback>
                <p:oleObj name="Image" r:id="rId4" imgW="5841270" imgH="4965079" progId="">
                  <p:embed/>
                  <p:pic>
                    <p:nvPicPr>
                      <p:cNvPr id="13317" name="Object 8">
                        <a:extLst>
                          <a:ext uri="{FF2B5EF4-FFF2-40B4-BE49-F238E27FC236}">
                            <a16:creationId xmlns:a16="http://schemas.microsoft.com/office/drawing/2014/main" id="{674EE7F2-59EF-4487-BE2F-C607C207BE0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313" y="990600"/>
                        <a:ext cx="3062287" cy="381000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3318" name="Object 9">
            <a:extLst>
              <a:ext uri="{FF2B5EF4-FFF2-40B4-BE49-F238E27FC236}">
                <a16:creationId xmlns:a16="http://schemas.microsoft.com/office/drawing/2014/main" id="{ADFD10D1-AF17-459C-8CD7-3C92E4C5EF22}"/>
              </a:ext>
            </a:extLst>
          </p:cNvPr>
          <p:cNvGraphicFramePr>
            <a:graphicFrameLocks noChangeAspect="1"/>
          </p:cNvGraphicFramePr>
          <p:nvPr/>
        </p:nvGraphicFramePr>
        <p:xfrm>
          <a:off x="3560763" y="990600"/>
          <a:ext cx="2687637" cy="3810000"/>
        </p:xfrm>
        <a:graphic>
          <a:graphicData uri="http://schemas.openxmlformats.org/presentationml/2006/ole">
            <mc:AlternateContent xmlns:mc="http://schemas.openxmlformats.org/markup-compatibility/2006">
              <mc:Choice xmlns:v="urn:schemas-microsoft-com:vml" Requires="v">
                <p:oleObj spid="_x0000_s293909" name="Image" r:id="rId6" imgW="7657143" imgH="8419048" progId="">
                  <p:embed/>
                </p:oleObj>
              </mc:Choice>
              <mc:Fallback>
                <p:oleObj name="Image" r:id="rId6" imgW="7657143" imgH="8419048" progId="">
                  <p:embed/>
                  <p:pic>
                    <p:nvPicPr>
                      <p:cNvPr id="13318" name="Object 9">
                        <a:extLst>
                          <a:ext uri="{FF2B5EF4-FFF2-40B4-BE49-F238E27FC236}">
                            <a16:creationId xmlns:a16="http://schemas.microsoft.com/office/drawing/2014/main" id="{ADFD10D1-AF17-459C-8CD7-3C92E4C5EF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60763" y="990600"/>
                        <a:ext cx="2687637" cy="381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3319" name="Object 10">
            <a:extLst>
              <a:ext uri="{FF2B5EF4-FFF2-40B4-BE49-F238E27FC236}">
                <a16:creationId xmlns:a16="http://schemas.microsoft.com/office/drawing/2014/main" id="{F8F522AE-EBAE-4F5B-8F00-EE0F44B06EE7}"/>
              </a:ext>
            </a:extLst>
          </p:cNvPr>
          <p:cNvGraphicFramePr>
            <a:graphicFrameLocks noChangeAspect="1"/>
          </p:cNvGraphicFramePr>
          <p:nvPr/>
        </p:nvGraphicFramePr>
        <p:xfrm>
          <a:off x="6477000" y="990600"/>
          <a:ext cx="2541588" cy="3810000"/>
        </p:xfrm>
        <a:graphic>
          <a:graphicData uri="http://schemas.openxmlformats.org/presentationml/2006/ole">
            <mc:AlternateContent xmlns:mc="http://schemas.openxmlformats.org/markup-compatibility/2006">
              <mc:Choice xmlns:v="urn:schemas-microsoft-com:vml" Requires="v">
                <p:oleObj spid="_x0000_s293910" name="Image" r:id="rId8" imgW="8126984" imgH="8076190" progId="">
                  <p:embed/>
                </p:oleObj>
              </mc:Choice>
              <mc:Fallback>
                <p:oleObj name="Image" r:id="rId8" imgW="8126984" imgH="8076190" progId="">
                  <p:embed/>
                  <p:pic>
                    <p:nvPicPr>
                      <p:cNvPr id="13319" name="Object 10">
                        <a:extLst>
                          <a:ext uri="{FF2B5EF4-FFF2-40B4-BE49-F238E27FC236}">
                            <a16:creationId xmlns:a16="http://schemas.microsoft.com/office/drawing/2014/main" id="{F8F522AE-EBAE-4F5B-8F00-EE0F44B06EE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77000" y="990600"/>
                        <a:ext cx="2541588" cy="381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2716" name="Line 12">
            <a:extLst>
              <a:ext uri="{FF2B5EF4-FFF2-40B4-BE49-F238E27FC236}">
                <a16:creationId xmlns:a16="http://schemas.microsoft.com/office/drawing/2014/main" id="{BDDFDE7F-433F-4D70-AE90-74577C7DF552}"/>
              </a:ext>
            </a:extLst>
          </p:cNvPr>
          <p:cNvSpPr>
            <a:spLocks noChangeShapeType="1"/>
          </p:cNvSpPr>
          <p:nvPr/>
        </p:nvSpPr>
        <p:spPr bwMode="auto">
          <a:xfrm>
            <a:off x="3962400" y="3505200"/>
            <a:ext cx="685800" cy="0"/>
          </a:xfrm>
          <a:prstGeom prst="line">
            <a:avLst/>
          </a:prstGeom>
          <a:noFill/>
          <a:ln w="76200">
            <a:solidFill>
              <a:srgbClr val="FFFF00"/>
            </a:solidFill>
            <a:round/>
            <a:headEnd/>
            <a:tailEnd type="triangle" w="med" len="med"/>
          </a:ln>
          <a:effectLst>
            <a:outerShdw dist="107763" dir="8100000" algn="ctr" rotWithShape="0">
              <a:schemeClr val="tx1"/>
            </a:outerShdw>
          </a:effectLst>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erpetua"/>
              <a:ea typeface="+mn-ea"/>
              <a:cs typeface="+mn-cs"/>
            </a:endParaRPr>
          </a:p>
        </p:txBody>
      </p:sp>
      <p:sp>
        <p:nvSpPr>
          <p:cNvPr id="72718" name="Line 14">
            <a:extLst>
              <a:ext uri="{FF2B5EF4-FFF2-40B4-BE49-F238E27FC236}">
                <a16:creationId xmlns:a16="http://schemas.microsoft.com/office/drawing/2014/main" id="{4319C609-F195-46D9-B91F-0B864B91D3CB}"/>
              </a:ext>
            </a:extLst>
          </p:cNvPr>
          <p:cNvSpPr>
            <a:spLocks noChangeShapeType="1"/>
          </p:cNvSpPr>
          <p:nvPr/>
        </p:nvSpPr>
        <p:spPr bwMode="auto">
          <a:xfrm flipH="1" flipV="1">
            <a:off x="7620000" y="3352800"/>
            <a:ext cx="914400" cy="0"/>
          </a:xfrm>
          <a:prstGeom prst="line">
            <a:avLst/>
          </a:prstGeom>
          <a:noFill/>
          <a:ln w="76200">
            <a:solidFill>
              <a:schemeClr val="accent2"/>
            </a:solidFill>
            <a:round/>
            <a:headEnd/>
            <a:tailEnd type="triangle" w="med" len="med"/>
          </a:ln>
          <a:effectLst>
            <a:outerShdw dist="107763" dir="2700000" algn="ctr" rotWithShape="0">
              <a:schemeClr val="tx2"/>
            </a:outerShdw>
          </a:effectLst>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erpetua"/>
              <a:ea typeface="+mn-ea"/>
              <a:cs typeface="+mn-cs"/>
            </a:endParaRPr>
          </a:p>
        </p:txBody>
      </p:sp>
    </p:spTree>
    <p:extLst>
      <p:ext uri="{BB962C8B-B14F-4D97-AF65-F5344CB8AC3E}">
        <p14:creationId xmlns:p14="http://schemas.microsoft.com/office/powerpoint/2010/main" val="4162409346"/>
      </p:ext>
    </p:extLst>
  </p:cSld>
  <p:clrMapOvr>
    <a:masterClrMapping/>
  </p:clrMapOvr>
  <p:transition>
    <p:dissolve/>
    <p:sndAc>
      <p:stSnd>
        <p:snd r:embed="rId3" name="chimes.wav"/>
      </p:stSnd>
    </p:sndAc>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72709"/>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72710"/>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499"/>
                                          </p:stCondLst>
                                        </p:cTn>
                                        <p:tgtEl>
                                          <p:spTgt spid="72716"/>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72711"/>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499"/>
                                          </p:stCondLst>
                                        </p:cTn>
                                        <p:tgtEl>
                                          <p:spTgt spid="727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709" grpId="0" autoUpdateAnimBg="0"/>
      <p:bldP spid="72710" grpId="0" autoUpdateAnimBg="0"/>
      <p:bldP spid="72711" grpId="0" autoUpdateAnimBg="0"/>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4">
            <a:extLst>
              <a:ext uri="{FF2B5EF4-FFF2-40B4-BE49-F238E27FC236}">
                <a16:creationId xmlns:a16="http://schemas.microsoft.com/office/drawing/2014/main" id="{4A7C7B33-4C1C-4535-8B22-9C8B2A7B461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57200" y="739774"/>
            <a:ext cx="8001000" cy="581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98871171"/>
      </p:ext>
    </p:extLst>
  </p:cSld>
  <p:clrMapOvr>
    <a:masterClrMapping/>
  </p:clrMapOvr>
  <p:transition>
    <p:dissolve/>
    <p:sndAc>
      <p:stSnd>
        <p:snd r:embed="rId3" name="chimes.wav"/>
      </p:stSnd>
    </p:sndAc>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6" name="Picture 6" descr="Picture52"/>
          <p:cNvPicPr>
            <a:picLocks noChangeAspect="1" noChangeArrowheads="1"/>
          </p:cNvPicPr>
          <p:nvPr/>
        </p:nvPicPr>
        <p:blipFill>
          <a:blip r:embed="rId2"/>
          <a:srcRect/>
          <a:stretch>
            <a:fillRect/>
          </a:stretch>
        </p:blipFill>
        <p:spPr bwMode="auto">
          <a:xfrm>
            <a:off x="1371600" y="188913"/>
            <a:ext cx="6400800" cy="6553417"/>
          </a:xfrm>
          <a:prstGeom prst="rect">
            <a:avLst/>
          </a:prstGeom>
          <a:noFill/>
        </p:spPr>
      </p:pic>
    </p:spTree>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8" name="Picture 8" descr="Consolidation1_big"/>
          <p:cNvPicPr>
            <a:picLocks noChangeAspect="1" noChangeArrowheads="1"/>
          </p:cNvPicPr>
          <p:nvPr/>
        </p:nvPicPr>
        <p:blipFill>
          <a:blip r:embed="rId2"/>
          <a:srcRect/>
          <a:stretch>
            <a:fillRect/>
          </a:stretch>
        </p:blipFill>
        <p:spPr bwMode="auto">
          <a:xfrm>
            <a:off x="1233488" y="192088"/>
            <a:ext cx="6767512" cy="6513512"/>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iterate type="lt">
                                    <p:tmPct val="5000"/>
                                  </p:iterate>
                                  <p:childTnLst>
                                    <p:set>
                                      <p:cBhvr>
                                        <p:cTn id="6" dur="1" fill="hold">
                                          <p:stCondLst>
                                            <p:cond delay="0"/>
                                          </p:stCondLst>
                                        </p:cTn>
                                        <p:tgtEl>
                                          <p:spTgt spid="51208"/>
                                        </p:tgtEl>
                                        <p:attrNameLst>
                                          <p:attrName>style.visibility</p:attrName>
                                        </p:attrNameLst>
                                      </p:cBhvr>
                                      <p:to>
                                        <p:strVal val="visible"/>
                                      </p:to>
                                    </p:set>
                                    <p:anim calcmode="lin" valueType="num">
                                      <p:cBhvr>
                                        <p:cTn id="7" dur="1000" fill="hold"/>
                                        <p:tgtEl>
                                          <p:spTgt spid="51208"/>
                                        </p:tgtEl>
                                        <p:attrNameLst>
                                          <p:attrName>ppt_w</p:attrName>
                                        </p:attrNameLst>
                                      </p:cBhvr>
                                      <p:tavLst>
                                        <p:tav tm="0">
                                          <p:val>
                                            <p:fltVal val="0"/>
                                          </p:val>
                                        </p:tav>
                                        <p:tav tm="100000">
                                          <p:val>
                                            <p:strVal val="#ppt_w"/>
                                          </p:val>
                                        </p:tav>
                                      </p:tavLst>
                                    </p:anim>
                                    <p:anim calcmode="lin" valueType="num">
                                      <p:cBhvr>
                                        <p:cTn id="8" dur="1000" fill="hold"/>
                                        <p:tgtEl>
                                          <p:spTgt spid="51208"/>
                                        </p:tgtEl>
                                        <p:attrNameLst>
                                          <p:attrName>ppt_h</p:attrName>
                                        </p:attrNameLst>
                                      </p:cBhvr>
                                      <p:tavLst>
                                        <p:tav tm="0">
                                          <p:val>
                                            <p:fltVal val="0"/>
                                          </p:val>
                                        </p:tav>
                                        <p:tav tm="100000">
                                          <p:val>
                                            <p:strVal val="#ppt_h"/>
                                          </p:val>
                                        </p:tav>
                                      </p:tavLst>
                                    </p:anim>
                                    <p:anim calcmode="lin" valueType="num">
                                      <p:cBhvr>
                                        <p:cTn id="9" dur="1000" fill="hold"/>
                                        <p:tgtEl>
                                          <p:spTgt spid="51208"/>
                                        </p:tgtEl>
                                        <p:attrNameLst>
                                          <p:attrName>style.rotation</p:attrName>
                                        </p:attrNameLst>
                                      </p:cBhvr>
                                      <p:tavLst>
                                        <p:tav tm="0">
                                          <p:val>
                                            <p:fltVal val="90"/>
                                          </p:val>
                                        </p:tav>
                                        <p:tav tm="100000">
                                          <p:val>
                                            <p:fltVal val="0"/>
                                          </p:val>
                                        </p:tav>
                                      </p:tavLst>
                                    </p:anim>
                                    <p:animEffect transition="in" filter="fade">
                                      <p:cBhvr>
                                        <p:cTn id="10" dur="1000"/>
                                        <p:tgtEl>
                                          <p:spTgt spid="512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3796" name="Picture 4" descr="br carc"/>
          <p:cNvPicPr>
            <a:picLocks noGrp="1" noChangeAspect="1" noChangeArrowheads="1"/>
          </p:cNvPicPr>
          <p:nvPr>
            <p:ph sz="half" idx="1"/>
          </p:nvPr>
        </p:nvPicPr>
        <p:blipFill>
          <a:blip r:embed="rId3"/>
          <a:srcRect/>
          <a:stretch>
            <a:fillRect/>
          </a:stretch>
        </p:blipFill>
        <p:spPr>
          <a:xfrm>
            <a:off x="856928" y="381000"/>
            <a:ext cx="7448872" cy="6324600"/>
          </a:xfr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iterate type="lt">
                                    <p:tmPct val="5000"/>
                                  </p:iterate>
                                  <p:childTnLst>
                                    <p:set>
                                      <p:cBhvr>
                                        <p:cTn id="6" dur="1" fill="hold">
                                          <p:stCondLst>
                                            <p:cond delay="0"/>
                                          </p:stCondLst>
                                        </p:cTn>
                                        <p:tgtEl>
                                          <p:spTgt spid="33796"/>
                                        </p:tgtEl>
                                        <p:attrNameLst>
                                          <p:attrName>style.visibility</p:attrName>
                                        </p:attrNameLst>
                                      </p:cBhvr>
                                      <p:to>
                                        <p:strVal val="visible"/>
                                      </p:to>
                                    </p:set>
                                    <p:anim calcmode="lin" valueType="num">
                                      <p:cBhvr>
                                        <p:cTn id="7" dur="1000" fill="hold"/>
                                        <p:tgtEl>
                                          <p:spTgt spid="33796"/>
                                        </p:tgtEl>
                                        <p:attrNameLst>
                                          <p:attrName>ppt_w</p:attrName>
                                        </p:attrNameLst>
                                      </p:cBhvr>
                                      <p:tavLst>
                                        <p:tav tm="0">
                                          <p:val>
                                            <p:fltVal val="0"/>
                                          </p:val>
                                        </p:tav>
                                        <p:tav tm="100000">
                                          <p:val>
                                            <p:strVal val="#ppt_w"/>
                                          </p:val>
                                        </p:tav>
                                      </p:tavLst>
                                    </p:anim>
                                    <p:anim calcmode="lin" valueType="num">
                                      <p:cBhvr>
                                        <p:cTn id="8" dur="1000" fill="hold"/>
                                        <p:tgtEl>
                                          <p:spTgt spid="33796"/>
                                        </p:tgtEl>
                                        <p:attrNameLst>
                                          <p:attrName>ppt_h</p:attrName>
                                        </p:attrNameLst>
                                      </p:cBhvr>
                                      <p:tavLst>
                                        <p:tav tm="0">
                                          <p:val>
                                            <p:fltVal val="0"/>
                                          </p:val>
                                        </p:tav>
                                        <p:tav tm="100000">
                                          <p:val>
                                            <p:strVal val="#ppt_h"/>
                                          </p:val>
                                        </p:tav>
                                      </p:tavLst>
                                    </p:anim>
                                    <p:anim calcmode="lin" valueType="num">
                                      <p:cBhvr>
                                        <p:cTn id="9" dur="1000" fill="hold"/>
                                        <p:tgtEl>
                                          <p:spTgt spid="33796"/>
                                        </p:tgtEl>
                                        <p:attrNameLst>
                                          <p:attrName>style.rotation</p:attrName>
                                        </p:attrNameLst>
                                      </p:cBhvr>
                                      <p:tavLst>
                                        <p:tav tm="0">
                                          <p:val>
                                            <p:fltVal val="90"/>
                                          </p:val>
                                        </p:tav>
                                        <p:tav tm="100000">
                                          <p:val>
                                            <p:fltVal val="0"/>
                                          </p:val>
                                        </p:tav>
                                      </p:tavLst>
                                    </p:anim>
                                    <p:animEffect transition="in" filter="fade">
                                      <p:cBhvr>
                                        <p:cTn id="10" dur="1000"/>
                                        <p:tgtEl>
                                          <p:spTgt spid="337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486" name="Picture 6" descr="Tb_milKind"/>
          <p:cNvPicPr>
            <a:picLocks noGrp="1" noChangeAspect="1" noChangeArrowheads="1"/>
          </p:cNvPicPr>
          <p:nvPr>
            <p:ph sz="quarter" idx="3"/>
          </p:nvPr>
        </p:nvPicPr>
        <p:blipFill>
          <a:blip r:embed="rId2"/>
          <a:srcRect/>
          <a:stretch>
            <a:fillRect/>
          </a:stretch>
        </p:blipFill>
        <p:spPr>
          <a:xfrm>
            <a:off x="533400" y="222409"/>
            <a:ext cx="8153400" cy="6483191"/>
          </a:xfr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486"/>
                                        </p:tgtEl>
                                        <p:attrNameLst>
                                          <p:attrName>style.visibility</p:attrName>
                                        </p:attrNameLst>
                                      </p:cBhvr>
                                      <p:to>
                                        <p:strVal val="visible"/>
                                      </p:to>
                                    </p:set>
                                    <p:anim calcmode="lin" valueType="num">
                                      <p:cBhvr additive="base">
                                        <p:cTn id="7" dur="500" fill="hold"/>
                                        <p:tgtEl>
                                          <p:spTgt spid="20486"/>
                                        </p:tgtEl>
                                        <p:attrNameLst>
                                          <p:attrName>ppt_x</p:attrName>
                                        </p:attrNameLst>
                                      </p:cBhvr>
                                      <p:tavLst>
                                        <p:tav tm="0">
                                          <p:val>
                                            <p:strVal val="#ppt_x"/>
                                          </p:val>
                                        </p:tav>
                                        <p:tav tm="100000">
                                          <p:val>
                                            <p:strVal val="#ppt_x"/>
                                          </p:val>
                                        </p:tav>
                                      </p:tavLst>
                                    </p:anim>
                                    <p:anim calcmode="lin" valueType="num">
                                      <p:cBhvr additive="base">
                                        <p:cTn id="8" dur="500" fill="hold"/>
                                        <p:tgtEl>
                                          <p:spTgt spid="2048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8" name="Picture 4" descr="Picture104"/>
          <p:cNvPicPr>
            <a:picLocks noChangeAspect="1" noChangeArrowheads="1"/>
          </p:cNvPicPr>
          <p:nvPr/>
        </p:nvPicPr>
        <p:blipFill>
          <a:blip r:embed="rId2"/>
          <a:srcRect/>
          <a:stretch>
            <a:fillRect/>
          </a:stretch>
        </p:blipFill>
        <p:spPr bwMode="auto">
          <a:xfrm>
            <a:off x="152400" y="381000"/>
            <a:ext cx="8839200" cy="6172200"/>
          </a:xfrm>
          <a:prstGeom prst="rect">
            <a:avLst/>
          </a:prstGeom>
          <a:noFill/>
        </p:spPr>
      </p:pic>
    </p:spTree>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563" name="Content Placeholder 8"/>
          <p:cNvSpPr>
            <a:spLocks noGrp="1"/>
          </p:cNvSpPr>
          <p:nvPr>
            <p:ph sz="quarter" idx="2"/>
          </p:nvPr>
        </p:nvSpPr>
        <p:spPr/>
        <p:txBody>
          <a:bodyPr/>
          <a:lstStyle/>
          <a:p>
            <a:endParaRPr lang="en-US" smtClean="0"/>
          </a:p>
        </p:txBody>
      </p:sp>
      <p:pic>
        <p:nvPicPr>
          <p:cNvPr id="66564" name="Picture 10" descr="C:\Users\Dr-Yasser\Desktop\Dr Fatma\2 pneumonia 3 .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52400"/>
            <a:ext cx="8382000" cy="659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26344009"/>
      </p:ext>
    </p:extLst>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7" name="Picture 13" descr="rad2"/>
          <p:cNvPicPr>
            <a:picLocks noGrp="1" noChangeAspect="1" noChangeArrowheads="1"/>
          </p:cNvPicPr>
          <p:nvPr>
            <p:ph idx="1"/>
          </p:nvPr>
        </p:nvPicPr>
        <p:blipFill>
          <a:blip r:embed="rId2"/>
          <a:srcRect/>
          <a:stretch>
            <a:fillRect/>
          </a:stretch>
        </p:blipFill>
        <p:spPr>
          <a:xfrm>
            <a:off x="990600" y="13607"/>
            <a:ext cx="7239000" cy="6858000"/>
          </a:xfrm>
          <a:noFill/>
        </p:spPr>
      </p:pic>
    </p:spTree>
    <p:extLst>
      <p:ext uri="{BB962C8B-B14F-4D97-AF65-F5344CB8AC3E}">
        <p14:creationId xmlns:p14="http://schemas.microsoft.com/office/powerpoint/2010/main" val="3226689523"/>
      </p:ext>
    </p:extLst>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963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152400"/>
            <a:ext cx="7620000" cy="655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92870881"/>
      </p:ext>
    </p:extLst>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065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228600"/>
            <a:ext cx="7632700" cy="640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08209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l="24901" t="31534" r="20999" b="13867"/>
          <a:stretch>
            <a:fillRect/>
          </a:stretch>
        </p:blipFill>
        <p:spPr bwMode="auto">
          <a:xfrm>
            <a:off x="0" y="-63500"/>
            <a:ext cx="9144000" cy="6921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18211164"/>
      </p:ext>
    </p:extLst>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0" name="Picture 7"/>
          <p:cNvPicPr>
            <a:picLocks noChangeAspect="1" noChangeArrowheads="1"/>
          </p:cNvPicPr>
          <p:nvPr/>
        </p:nvPicPr>
        <p:blipFill>
          <a:blip r:embed="rId3"/>
          <a:srcRect t="8975" r="63187" b="55267"/>
          <a:stretch>
            <a:fillRect/>
          </a:stretch>
        </p:blipFill>
        <p:spPr bwMode="auto">
          <a:xfrm>
            <a:off x="381000" y="457201"/>
            <a:ext cx="8229600" cy="6267450"/>
          </a:xfrm>
          <a:prstGeom prst="rect">
            <a:avLst/>
          </a:prstGeom>
          <a:noFill/>
          <a:ln w="9525">
            <a:noFill/>
            <a:miter lim="800000"/>
            <a:headEnd/>
            <a:tailEnd/>
          </a:ln>
        </p:spPr>
      </p:pic>
    </p:spTree>
    <p:extLst>
      <p:ext uri="{BB962C8B-B14F-4D97-AF65-F5344CB8AC3E}">
        <p14:creationId xmlns:p14="http://schemas.microsoft.com/office/powerpoint/2010/main" val="2138728"/>
      </p:ext>
    </p:extLst>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srcRect/>
          <a:stretch>
            <a:fillRect/>
          </a:stretch>
        </p:blipFill>
        <p:spPr bwMode="auto">
          <a:xfrm>
            <a:off x="838200" y="228600"/>
            <a:ext cx="7467600" cy="6400800"/>
          </a:xfrm>
          <a:prstGeom prst="rect">
            <a:avLst/>
          </a:prstGeom>
          <a:noFill/>
          <a:ln w="9525">
            <a:noFill/>
            <a:miter lim="800000"/>
            <a:headEnd/>
            <a:tailEnd/>
          </a:ln>
          <a:effectLst/>
        </p:spPr>
      </p:pic>
    </p:spTree>
  </p:cSld>
  <p:clrMapOvr>
    <a:masterClrMapping/>
  </p:clrMapOvr>
  <p:transition>
    <p:dissolve/>
    <p:sndAc>
      <p:stSnd>
        <p:snd r:embed="rId2" name="chimes.wav"/>
      </p:stSnd>
    </p:sndAc>
  </p:transition>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99" name="Picture 3"/>
          <p:cNvPicPr>
            <a:picLocks noChangeAspect="1" noChangeArrowheads="1"/>
          </p:cNvPicPr>
          <p:nvPr/>
        </p:nvPicPr>
        <p:blipFill>
          <a:blip r:embed="rId3"/>
          <a:srcRect/>
          <a:stretch>
            <a:fillRect/>
          </a:stretch>
        </p:blipFill>
        <p:spPr bwMode="auto">
          <a:xfrm>
            <a:off x="1676400" y="152400"/>
            <a:ext cx="5791200" cy="6477000"/>
          </a:xfrm>
          <a:prstGeom prst="rect">
            <a:avLst/>
          </a:prstGeom>
          <a:noFill/>
          <a:ln w="9525">
            <a:noFill/>
            <a:miter lim="800000"/>
            <a:headEnd/>
            <a:tailEnd/>
          </a:ln>
          <a:effectLst/>
        </p:spPr>
      </p:pic>
    </p:spTree>
  </p:cSld>
  <p:clrMapOvr>
    <a:masterClrMapping/>
  </p:clrMapOvr>
  <p:transition>
    <p:dissolve/>
    <p:sndAc>
      <p:stSnd>
        <p:snd r:embed="rId2" name="chimes.wav"/>
      </p:stSnd>
    </p:sndAc>
  </p:transition>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219200" y="152400"/>
            <a:ext cx="6629400" cy="6553200"/>
          </a:xfrm>
          <a:prstGeom prst="rect">
            <a:avLst/>
          </a:prstGeom>
        </p:spPr>
      </p:pic>
    </p:spTree>
    <p:extLst>
      <p:ext uri="{BB962C8B-B14F-4D97-AF65-F5344CB8AC3E}">
        <p14:creationId xmlns:p14="http://schemas.microsoft.com/office/powerpoint/2010/main" val="3332109381"/>
      </p:ext>
    </p:extLst>
  </p:cSld>
  <p:clrMapOvr>
    <a:masterClrMapping/>
  </p:clrMapOvr>
  <p:transition>
    <p:dissolve/>
    <p:sndAc>
      <p:stSnd>
        <p:snd r:embed="rId2" name="chimes.wav"/>
      </p:stSnd>
    </p:sndAc>
  </p:transition>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8" name="Picture 7">
            <a:extLst>
              <a:ext uri="{FF2B5EF4-FFF2-40B4-BE49-F238E27FC236}">
                <a16:creationId xmlns:a16="http://schemas.microsoft.com/office/drawing/2014/main" id="{9AC0748A-51D1-7187-31BF-38D9FA10B25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927789" y="231205"/>
            <a:ext cx="7288420" cy="6395589"/>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spTree>
    <p:extLst>
      <p:ext uri="{BB962C8B-B14F-4D97-AF65-F5344CB8AC3E}">
        <p14:creationId xmlns:p14="http://schemas.microsoft.com/office/powerpoint/2010/main" val="430068197"/>
      </p:ext>
    </p:extLst>
  </p:cSld>
  <p:clrMapOvr>
    <a:masterClrMapping/>
  </p:clrMapOvr>
  <p:transition>
    <p:dissolve/>
    <p:sndAc>
      <p:stSnd>
        <p:snd r:embed="rId2" name="chimes.wav"/>
      </p:stSnd>
    </p:sndAc>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8" name="Picture 7">
            <a:extLst>
              <a:ext uri="{FF2B5EF4-FFF2-40B4-BE49-F238E27FC236}">
                <a16:creationId xmlns:a16="http://schemas.microsoft.com/office/drawing/2014/main" id="{9AC0748A-51D1-7187-31BF-38D9FA10B25A}"/>
              </a:ext>
            </a:extLst>
          </p:cNvPr>
          <p:cNvPicPr>
            <a:picLocks noChangeAspect="1" noChangeArrowheads="1"/>
          </p:cNvPicPr>
          <p:nvPr/>
        </p:nvPicPr>
        <p:blipFill>
          <a:blip r:embed="rId3"/>
          <a:stretch>
            <a:fillRect/>
          </a:stretch>
        </p:blipFill>
        <p:spPr bwMode="auto">
          <a:xfrm>
            <a:off x="0" y="231205"/>
            <a:ext cx="9143999" cy="6395589"/>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spTree>
    <p:extLst>
      <p:ext uri="{BB962C8B-B14F-4D97-AF65-F5344CB8AC3E}">
        <p14:creationId xmlns:p14="http://schemas.microsoft.com/office/powerpoint/2010/main" val="344334360"/>
      </p:ext>
    </p:extLst>
  </p:cSld>
  <p:clrMapOvr>
    <a:masterClrMapping/>
  </p:clrMapOvr>
  <p:transition>
    <p:dissolve/>
    <p:sndAc>
      <p:stSnd>
        <p:snd r:embed="rId2" name="chimes.wav"/>
      </p:stSnd>
    </p:sndAc>
  </p:transition>
</p:sld>
</file>

<file path=ppt/slides/slide1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srcRect/>
          <a:stretch>
            <a:fillRect/>
          </a:stretch>
        </p:blipFill>
        <p:spPr bwMode="auto">
          <a:xfrm>
            <a:off x="990600" y="228600"/>
            <a:ext cx="7239000" cy="6372225"/>
          </a:xfrm>
          <a:prstGeom prst="rect">
            <a:avLst/>
          </a:prstGeom>
          <a:noFill/>
          <a:ln w="9525">
            <a:noFill/>
            <a:miter lim="800000"/>
            <a:headEnd/>
            <a:tailEnd/>
          </a:ln>
          <a:effectLst/>
        </p:spPr>
      </p:pic>
    </p:spTree>
  </p:cSld>
  <p:clrMapOvr>
    <a:masterClrMapping/>
  </p:clrMapOvr>
  <p:transition>
    <p:dissolve/>
    <p:sndAc>
      <p:stSnd>
        <p:snd r:embed="rId2" name="chimes.wav"/>
      </p:stSnd>
    </p:sndAc>
  </p:transition>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6386" name="Picture 2"/>
          <p:cNvPicPr>
            <a:picLocks noChangeAspect="1" noChangeArrowheads="1"/>
          </p:cNvPicPr>
          <p:nvPr/>
        </p:nvPicPr>
        <p:blipFill>
          <a:blip r:embed="rId3"/>
          <a:srcRect/>
          <a:stretch>
            <a:fillRect/>
          </a:stretch>
        </p:blipFill>
        <p:spPr bwMode="auto">
          <a:xfrm>
            <a:off x="304800" y="152400"/>
            <a:ext cx="6324600" cy="6553200"/>
          </a:xfrm>
          <a:prstGeom prst="rect">
            <a:avLst/>
          </a:prstGeom>
          <a:noFill/>
          <a:ln w="9525">
            <a:noFill/>
            <a:miter lim="800000"/>
            <a:headEnd/>
            <a:tailEnd/>
          </a:ln>
          <a:effectLst/>
        </p:spPr>
      </p:pic>
      <p:sp>
        <p:nvSpPr>
          <p:cNvPr id="3" name="Rectangle 2"/>
          <p:cNvSpPr/>
          <p:nvPr/>
        </p:nvSpPr>
        <p:spPr>
          <a:xfrm>
            <a:off x="6858000" y="3233678"/>
            <a:ext cx="2133600" cy="2862322"/>
          </a:xfrm>
          <a:prstGeom prst="rect">
            <a:avLst/>
          </a:prstGeom>
        </p:spPr>
        <p:txBody>
          <a:bodyPr wrap="square">
            <a:spAutoFit/>
          </a:bodyPr>
          <a:lstStyle/>
          <a:p>
            <a:r>
              <a:rPr lang="en-US" b="1" dirty="0" smtClean="0">
                <a:solidFill>
                  <a:srgbClr val="FF0000"/>
                </a:solidFill>
                <a:latin typeface="Candara" pitchFamily="34" charset="0"/>
                <a:cs typeface="Times New Roman" pitchFamily="18" charset="0"/>
              </a:rPr>
              <a:t>homogenous opacification of the left hemithorax. </a:t>
            </a:r>
            <a:endParaRPr lang="en-US" b="1" dirty="0">
              <a:solidFill>
                <a:srgbClr val="FF0000"/>
              </a:solidFill>
              <a:latin typeface="Candara" pitchFamily="34" charset="0"/>
              <a:cs typeface="Times New Roman" pitchFamily="18" charset="0"/>
            </a:endParaRPr>
          </a:p>
          <a:p>
            <a:pPr algn="just"/>
            <a:r>
              <a:rPr lang="en-US" b="1" u="sng" dirty="0" smtClean="0">
                <a:solidFill>
                  <a:srgbClr val="FF0000"/>
                </a:solidFill>
                <a:latin typeface="Candara" pitchFamily="34" charset="0"/>
                <a:cs typeface="Times New Roman" pitchFamily="18" charset="0"/>
              </a:rPr>
              <a:t>DD:</a:t>
            </a:r>
            <a:r>
              <a:rPr lang="en-US" b="1" dirty="0" smtClean="0">
                <a:solidFill>
                  <a:srgbClr val="FF0000"/>
                </a:solidFill>
                <a:latin typeface="Candara" pitchFamily="34" charset="0"/>
                <a:cs typeface="Times New Roman" pitchFamily="18" charset="0"/>
              </a:rPr>
              <a:t> </a:t>
            </a:r>
          </a:p>
          <a:p>
            <a:pPr algn="just"/>
            <a:r>
              <a:rPr lang="en-US" b="1" dirty="0" smtClean="0">
                <a:solidFill>
                  <a:srgbClr val="FF0000"/>
                </a:solidFill>
                <a:latin typeface="Candara" pitchFamily="34" charset="0"/>
                <a:cs typeface="Times New Roman" pitchFamily="18" charset="0"/>
              </a:rPr>
              <a:t>1. Collapse</a:t>
            </a:r>
          </a:p>
          <a:p>
            <a:r>
              <a:rPr lang="en-US" b="1" dirty="0" smtClean="0">
                <a:solidFill>
                  <a:srgbClr val="FF0000"/>
                </a:solidFill>
                <a:latin typeface="Candara" pitchFamily="34" charset="0"/>
                <a:cs typeface="Times New Roman" pitchFamily="18" charset="0"/>
              </a:rPr>
              <a:t>2. Fibrosis  </a:t>
            </a:r>
          </a:p>
          <a:p>
            <a:r>
              <a:rPr lang="en-US" b="1" dirty="0" smtClean="0">
                <a:solidFill>
                  <a:srgbClr val="FF0000"/>
                </a:solidFill>
                <a:latin typeface="Candara" pitchFamily="34" charset="0"/>
                <a:cs typeface="Times New Roman" pitchFamily="18" charset="0"/>
              </a:rPr>
              <a:t>3. Pneumonectomy</a:t>
            </a:r>
          </a:p>
          <a:p>
            <a:r>
              <a:rPr lang="en-US" b="1" dirty="0" smtClean="0">
                <a:solidFill>
                  <a:srgbClr val="FF0000"/>
                </a:solidFill>
                <a:latin typeface="Candara" pitchFamily="34" charset="0"/>
                <a:cs typeface="Times New Roman" pitchFamily="18" charset="0"/>
              </a:rPr>
              <a:t>3. Consolidation</a:t>
            </a:r>
          </a:p>
          <a:p>
            <a:r>
              <a:rPr lang="en-US" b="1" dirty="0" smtClean="0">
                <a:solidFill>
                  <a:srgbClr val="FF0000"/>
                </a:solidFill>
                <a:latin typeface="Candara" pitchFamily="34" charset="0"/>
                <a:cs typeface="Times New Roman" pitchFamily="18" charset="0"/>
              </a:rPr>
              <a:t>4.Effusion </a:t>
            </a:r>
          </a:p>
          <a:p>
            <a:r>
              <a:rPr lang="en-US" b="1" dirty="0" smtClean="0">
                <a:solidFill>
                  <a:srgbClr val="FF0000"/>
                </a:solidFill>
                <a:latin typeface="Candara" pitchFamily="34" charset="0"/>
                <a:cs typeface="Times New Roman" pitchFamily="18" charset="0"/>
              </a:rPr>
              <a:t>5.Mass </a:t>
            </a:r>
          </a:p>
        </p:txBody>
      </p:sp>
    </p:spTree>
  </p:cSld>
  <p:clrMapOvr>
    <a:masterClrMapping/>
  </p:clrMapOvr>
  <p:transition>
    <p:dissolve/>
    <p:sndAc>
      <p:stSnd>
        <p:snd r:embed="rId2" name="chimes.wav"/>
      </p:stSnd>
    </p:sndAc>
  </p:transition>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7" name="Object 8">
            <a:extLst>
              <a:ext uri="{FF2B5EF4-FFF2-40B4-BE49-F238E27FC236}">
                <a16:creationId xmlns:a16="http://schemas.microsoft.com/office/drawing/2014/main" id="{674EE7F2-59EF-4487-BE2F-C607C207BE0B}"/>
              </a:ext>
            </a:extLst>
          </p:cNvPr>
          <p:cNvGraphicFramePr>
            <a:graphicFrameLocks noChangeAspect="1"/>
          </p:cNvGraphicFramePr>
          <p:nvPr/>
        </p:nvGraphicFramePr>
        <p:xfrm>
          <a:off x="214313" y="990600"/>
          <a:ext cx="3062287" cy="3810000"/>
        </p:xfrm>
        <a:graphic>
          <a:graphicData uri="http://schemas.openxmlformats.org/presentationml/2006/ole">
            <mc:AlternateContent xmlns:mc="http://schemas.openxmlformats.org/markup-compatibility/2006">
              <mc:Choice xmlns:v="urn:schemas-microsoft-com:vml" Requires="v">
                <p:oleObj spid="_x0000_s286788" name="Image" r:id="rId4" imgW="5841270" imgH="4965079" progId="">
                  <p:embed/>
                </p:oleObj>
              </mc:Choice>
              <mc:Fallback>
                <p:oleObj name="Image" r:id="rId4" imgW="5841270" imgH="4965079"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313" y="990600"/>
                        <a:ext cx="3062287" cy="381000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3318" name="Object 9">
            <a:extLst>
              <a:ext uri="{FF2B5EF4-FFF2-40B4-BE49-F238E27FC236}">
                <a16:creationId xmlns:a16="http://schemas.microsoft.com/office/drawing/2014/main" id="{ADFD10D1-AF17-459C-8CD7-3C92E4C5EF22}"/>
              </a:ext>
            </a:extLst>
          </p:cNvPr>
          <p:cNvGraphicFramePr>
            <a:graphicFrameLocks noChangeAspect="1"/>
          </p:cNvGraphicFramePr>
          <p:nvPr/>
        </p:nvGraphicFramePr>
        <p:xfrm>
          <a:off x="3560763" y="990600"/>
          <a:ext cx="2687637" cy="3810000"/>
        </p:xfrm>
        <a:graphic>
          <a:graphicData uri="http://schemas.openxmlformats.org/presentationml/2006/ole">
            <mc:AlternateContent xmlns:mc="http://schemas.openxmlformats.org/markup-compatibility/2006">
              <mc:Choice xmlns:v="urn:schemas-microsoft-com:vml" Requires="v">
                <p:oleObj spid="_x0000_s286789" name="Image" r:id="rId6" imgW="7657143" imgH="8419048" progId="">
                  <p:embed/>
                </p:oleObj>
              </mc:Choice>
              <mc:Fallback>
                <p:oleObj name="Image" r:id="rId6" imgW="7657143" imgH="8419048" progId="">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60763" y="990600"/>
                        <a:ext cx="2687637" cy="381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3319" name="Object 10">
            <a:extLst>
              <a:ext uri="{FF2B5EF4-FFF2-40B4-BE49-F238E27FC236}">
                <a16:creationId xmlns:a16="http://schemas.microsoft.com/office/drawing/2014/main" id="{F8F522AE-EBAE-4F5B-8F00-EE0F44B06EE7}"/>
              </a:ext>
            </a:extLst>
          </p:cNvPr>
          <p:cNvGraphicFramePr>
            <a:graphicFrameLocks noChangeAspect="1"/>
          </p:cNvGraphicFramePr>
          <p:nvPr/>
        </p:nvGraphicFramePr>
        <p:xfrm>
          <a:off x="6477000" y="990600"/>
          <a:ext cx="2541588" cy="3810000"/>
        </p:xfrm>
        <a:graphic>
          <a:graphicData uri="http://schemas.openxmlformats.org/presentationml/2006/ole">
            <mc:AlternateContent xmlns:mc="http://schemas.openxmlformats.org/markup-compatibility/2006">
              <mc:Choice xmlns:v="urn:schemas-microsoft-com:vml" Requires="v">
                <p:oleObj spid="_x0000_s286790" name="Image" r:id="rId8" imgW="8126984" imgH="8076190" progId="">
                  <p:embed/>
                </p:oleObj>
              </mc:Choice>
              <mc:Fallback>
                <p:oleObj name="Image" r:id="rId8" imgW="8126984" imgH="8076190" progId="">
                  <p:embed/>
                  <p:pic>
                    <p:nvPicPr>
                      <p:cNvPr id="0"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77000" y="990600"/>
                        <a:ext cx="2541588" cy="381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2716" name="Line 12">
            <a:extLst>
              <a:ext uri="{FF2B5EF4-FFF2-40B4-BE49-F238E27FC236}">
                <a16:creationId xmlns:a16="http://schemas.microsoft.com/office/drawing/2014/main" id="{BDDFDE7F-433F-4D70-AE90-74577C7DF552}"/>
              </a:ext>
            </a:extLst>
          </p:cNvPr>
          <p:cNvSpPr>
            <a:spLocks noChangeShapeType="1"/>
          </p:cNvSpPr>
          <p:nvPr/>
        </p:nvSpPr>
        <p:spPr bwMode="auto">
          <a:xfrm>
            <a:off x="3962400" y="3505200"/>
            <a:ext cx="685800" cy="0"/>
          </a:xfrm>
          <a:prstGeom prst="line">
            <a:avLst/>
          </a:prstGeom>
          <a:noFill/>
          <a:ln w="76200">
            <a:solidFill>
              <a:srgbClr val="FFFF00"/>
            </a:solidFill>
            <a:round/>
            <a:headEnd/>
            <a:tailEnd type="triangle" w="med" len="med"/>
          </a:ln>
          <a:effectLst>
            <a:outerShdw dist="107763" dir="8100000" algn="ctr" rotWithShape="0">
              <a:schemeClr val="tx1"/>
            </a:outerShdw>
          </a:effectLst>
          <a:extLst>
            <a:ext uri="{909E8E84-426E-40DD-AFC4-6F175D3DCCD1}">
              <a14:hiddenFill xmlns:a14="http://schemas.microsoft.com/office/drawing/2010/main">
                <a:noFill/>
              </a14:hiddenFill>
            </a:ext>
          </a:extLst>
        </p:spPr>
        <p:txBody>
          <a:bodyPr/>
          <a:lstStyle/>
          <a:p>
            <a:endParaRPr lang="en-US"/>
          </a:p>
        </p:txBody>
      </p:sp>
      <p:sp>
        <p:nvSpPr>
          <p:cNvPr id="72718" name="Line 14">
            <a:extLst>
              <a:ext uri="{FF2B5EF4-FFF2-40B4-BE49-F238E27FC236}">
                <a16:creationId xmlns:a16="http://schemas.microsoft.com/office/drawing/2014/main" id="{4319C609-F195-46D9-B91F-0B864B91D3CB}"/>
              </a:ext>
            </a:extLst>
          </p:cNvPr>
          <p:cNvSpPr>
            <a:spLocks noChangeShapeType="1"/>
          </p:cNvSpPr>
          <p:nvPr/>
        </p:nvSpPr>
        <p:spPr bwMode="auto">
          <a:xfrm flipH="1" flipV="1">
            <a:off x="7620000" y="3352800"/>
            <a:ext cx="914400" cy="0"/>
          </a:xfrm>
          <a:prstGeom prst="line">
            <a:avLst/>
          </a:prstGeom>
          <a:noFill/>
          <a:ln w="76200">
            <a:solidFill>
              <a:schemeClr val="accent2"/>
            </a:solidFill>
            <a:round/>
            <a:headEnd/>
            <a:tailEnd type="triangle" w="med" len="med"/>
          </a:ln>
          <a:effectLst>
            <a:outerShdw dist="107763" dir="2700000" algn="ctr" rotWithShape="0">
              <a:schemeClr val="tx2"/>
            </a:outerShdw>
          </a:effectLst>
          <a:extLst>
            <a:ext uri="{909E8E84-426E-40DD-AFC4-6F175D3DCCD1}">
              <a14:hiddenFill xmlns:a14="http://schemas.microsoft.com/office/drawing/2010/main">
                <a:noFill/>
              </a14:hiddenFill>
            </a:ext>
          </a:extLst>
        </p:spPr>
        <p:txBody>
          <a:bodyPr/>
          <a:lstStyle/>
          <a:p>
            <a:endParaRPr lang="en-US"/>
          </a:p>
        </p:txBody>
      </p:sp>
    </p:spTree>
  </p:cSld>
  <p:clrMapOvr>
    <a:masterClrMapping/>
  </p:clrMapOvr>
  <p:transition>
    <p:dissolve/>
    <p:sndAc>
      <p:stSnd>
        <p:snd r:embed="rId3" name="chimes.wav"/>
      </p:stSnd>
    </p:sndAc>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7271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499"/>
                                          </p:stCondLst>
                                        </p:cTn>
                                        <p:tgtEl>
                                          <p:spTgt spid="727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srcRect/>
          <a:stretch>
            <a:fillRect/>
          </a:stretch>
        </p:blipFill>
        <p:spPr bwMode="auto">
          <a:xfrm>
            <a:off x="609600" y="228600"/>
            <a:ext cx="7848600" cy="6477000"/>
          </a:xfrm>
          <a:prstGeom prst="rect">
            <a:avLst/>
          </a:prstGeom>
          <a:noFill/>
          <a:ln w="9525">
            <a:noFill/>
            <a:miter lim="800000"/>
            <a:headEnd/>
            <a:tailEnd/>
          </a:ln>
          <a:effectLst/>
        </p:spPr>
      </p:pic>
    </p:spTree>
  </p:cSld>
  <p:clrMapOvr>
    <a:masterClrMapping/>
  </p:clrMapOvr>
  <p:transition>
    <p:dissolve/>
    <p:sndAc>
      <p:stSnd>
        <p:snd r:embed="rId2" name="chimes.wav"/>
      </p:stSnd>
    </p:sndAc>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8" name="Picture 7">
            <a:extLst>
              <a:ext uri="{FF2B5EF4-FFF2-40B4-BE49-F238E27FC236}">
                <a16:creationId xmlns:a16="http://schemas.microsoft.com/office/drawing/2014/main" id="{9AC0748A-51D1-7187-31BF-38D9FA10B25A}"/>
              </a:ext>
            </a:extLst>
          </p:cNvPr>
          <p:cNvPicPr>
            <a:picLocks noChangeAspect="1" noChangeArrowheads="1"/>
          </p:cNvPicPr>
          <p:nvPr/>
        </p:nvPicPr>
        <p:blipFill>
          <a:blip r:embed="rId2"/>
          <a:stretch>
            <a:fillRect/>
          </a:stretch>
        </p:blipFill>
        <p:spPr bwMode="auto">
          <a:xfrm>
            <a:off x="0" y="0"/>
            <a:ext cx="9143999" cy="685800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spTree>
    <p:extLst>
      <p:ext uri="{BB962C8B-B14F-4D97-AF65-F5344CB8AC3E}">
        <p14:creationId xmlns:p14="http://schemas.microsoft.com/office/powerpoint/2010/main" val="3085705073"/>
      </p:ext>
    </p:extLst>
  </p:cSld>
  <p:clrMapOvr>
    <a:masterClrMapping/>
  </p:clrMapOvr>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3"/>
          <a:srcRect/>
          <a:stretch>
            <a:fillRect/>
          </a:stretch>
        </p:blipFill>
        <p:spPr bwMode="auto">
          <a:xfrm>
            <a:off x="838200" y="228600"/>
            <a:ext cx="7620000" cy="6477000"/>
          </a:xfrm>
          <a:prstGeom prst="rect">
            <a:avLst/>
          </a:prstGeom>
          <a:noFill/>
          <a:ln w="9525">
            <a:noFill/>
            <a:miter lim="800000"/>
            <a:headEnd/>
            <a:tailEnd/>
          </a:ln>
          <a:effectLst/>
        </p:spPr>
      </p:pic>
    </p:spTree>
  </p:cSld>
  <p:clrMapOvr>
    <a:masterClrMapping/>
  </p:clrMapOvr>
  <p:transition>
    <p:dissolve/>
    <p:sndAc>
      <p:stSnd>
        <p:snd r:embed="rId2" name="chimes.wav"/>
      </p:stSnd>
    </p:sndAc>
  </p:transition>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4338" name="Picture 2"/>
          <p:cNvPicPr>
            <a:picLocks noChangeAspect="1" noChangeArrowheads="1"/>
          </p:cNvPicPr>
          <p:nvPr/>
        </p:nvPicPr>
        <p:blipFill>
          <a:blip r:embed="rId3"/>
          <a:srcRect/>
          <a:stretch>
            <a:fillRect/>
          </a:stretch>
        </p:blipFill>
        <p:spPr bwMode="auto">
          <a:xfrm>
            <a:off x="1676400" y="152400"/>
            <a:ext cx="5943600" cy="6553200"/>
          </a:xfrm>
          <a:prstGeom prst="rect">
            <a:avLst/>
          </a:prstGeom>
          <a:noFill/>
          <a:ln w="9525">
            <a:noFill/>
            <a:miter lim="800000"/>
            <a:headEnd/>
            <a:tailEnd/>
          </a:ln>
          <a:effectLst/>
        </p:spPr>
      </p:pic>
    </p:spTree>
  </p:cSld>
  <p:clrMapOvr>
    <a:masterClrMapping/>
  </p:clrMapOvr>
  <p:transition>
    <p:dissolve/>
    <p:sndAc>
      <p:stSnd>
        <p:snd r:embed="rId2" name="chimes.wav"/>
      </p:stSnd>
    </p:sndAc>
  </p:transition>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8" name="Picture 7">
            <a:extLst>
              <a:ext uri="{FF2B5EF4-FFF2-40B4-BE49-F238E27FC236}">
                <a16:creationId xmlns:a16="http://schemas.microsoft.com/office/drawing/2014/main" id="{9AC0748A-51D1-7187-31BF-38D9FA10B25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215199" y="231205"/>
            <a:ext cx="6713601" cy="6395589"/>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spTree>
    <p:extLst>
      <p:ext uri="{BB962C8B-B14F-4D97-AF65-F5344CB8AC3E}">
        <p14:creationId xmlns:p14="http://schemas.microsoft.com/office/powerpoint/2010/main" val="854916531"/>
      </p:ext>
    </p:extLst>
  </p:cSld>
  <p:clrMapOvr>
    <a:masterClrMapping/>
  </p:clrMapOvr>
  <p:transition>
    <p:dissolve/>
    <p:sndAc>
      <p:stSnd>
        <p:snd r:embed="rId2" name="chimes.wav"/>
      </p:stSnd>
    </p:sndAc>
  </p:transition>
</p:sld>
</file>

<file path=ppt/slides/slide1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srcRect/>
          <a:stretch>
            <a:fillRect/>
          </a:stretch>
        </p:blipFill>
        <p:spPr bwMode="auto">
          <a:xfrm>
            <a:off x="1295400" y="228600"/>
            <a:ext cx="6553200" cy="6477000"/>
          </a:xfrm>
          <a:prstGeom prst="rect">
            <a:avLst/>
          </a:prstGeom>
          <a:noFill/>
          <a:ln w="9525">
            <a:noFill/>
            <a:miter lim="800000"/>
            <a:headEnd/>
            <a:tailEnd/>
          </a:ln>
          <a:effectLst/>
        </p:spPr>
      </p:pic>
    </p:spTree>
  </p:cSld>
  <p:clrMapOvr>
    <a:masterClrMapping/>
  </p:clrMapOvr>
  <p:transition>
    <p:dissolve/>
    <p:sndAc>
      <p:stSnd>
        <p:snd r:embed="rId2" name="chimes.wav"/>
      </p:stSnd>
    </p:sndAc>
  </p:transition>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srcRect/>
          <a:stretch>
            <a:fillRect/>
          </a:stretch>
        </p:blipFill>
        <p:spPr bwMode="auto">
          <a:xfrm>
            <a:off x="1676400" y="228600"/>
            <a:ext cx="5791200" cy="6477000"/>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dissolve/>
    <p:sndAc>
      <p:stSnd>
        <p:snd r:embed="rId2" name="chimes.wav"/>
      </p:stSnd>
    </p:sndAc>
  </p:transition>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1796" name="Picture 4"/>
          <p:cNvPicPr>
            <a:picLocks noChangeAspect="1" noChangeArrowheads="1"/>
          </p:cNvPicPr>
          <p:nvPr/>
        </p:nvPicPr>
        <p:blipFill>
          <a:blip r:embed="rId3"/>
          <a:srcRect/>
          <a:stretch>
            <a:fillRect/>
          </a:stretch>
        </p:blipFill>
        <p:spPr bwMode="auto">
          <a:xfrm>
            <a:off x="1127125" y="0"/>
            <a:ext cx="7102475" cy="6858000"/>
          </a:xfrm>
          <a:prstGeom prst="rect">
            <a:avLst/>
          </a:prstGeom>
          <a:noFill/>
          <a:ln w="9525">
            <a:noFill/>
            <a:miter lim="800000"/>
            <a:headEnd/>
            <a:tailEnd/>
          </a:ln>
          <a:effectLst/>
        </p:spPr>
      </p:pic>
    </p:spTree>
  </p:cSld>
  <p:clrMapOvr>
    <a:masterClrMapping/>
  </p:clrMapOvr>
  <p:transition>
    <p:dissolve/>
    <p:sndAc>
      <p:stSnd>
        <p:snd r:embed="rId2" name="chimes.wav"/>
      </p:stSnd>
    </p:sndAc>
  </p:transition>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8834" name="Picture 2"/>
          <p:cNvPicPr>
            <a:picLocks noChangeAspect="1" noChangeArrowheads="1"/>
          </p:cNvPicPr>
          <p:nvPr/>
        </p:nvPicPr>
        <p:blipFill>
          <a:blip r:embed="rId2"/>
          <a:srcRect/>
          <a:stretch>
            <a:fillRect/>
          </a:stretch>
        </p:blipFill>
        <p:spPr bwMode="auto">
          <a:xfrm>
            <a:off x="762000" y="228599"/>
            <a:ext cx="7734300" cy="6400801"/>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4" name="Picture 2" descr="21"/>
          <p:cNvPicPr>
            <a:picLocks noGrp="1" noChangeAspect="1" noChangeArrowheads="1"/>
          </p:cNvPicPr>
          <p:nvPr>
            <p:ph idx="1"/>
          </p:nvPr>
        </p:nvPicPr>
        <p:blipFill>
          <a:blip r:embed="rId2"/>
          <a:srcRect/>
          <a:stretch>
            <a:fillRect/>
          </a:stretch>
        </p:blipFill>
        <p:spPr>
          <a:xfrm>
            <a:off x="1219200" y="228600"/>
            <a:ext cx="6686550" cy="6400800"/>
          </a:xfrm>
          <a:noFill/>
          <a:ln/>
        </p:spPr>
      </p:pic>
    </p:spTree>
    <p:extLst>
      <p:ext uri="{BB962C8B-B14F-4D97-AF65-F5344CB8AC3E}">
        <p14:creationId xmlns:p14="http://schemas.microsoft.com/office/powerpoint/2010/main" val="3572443623"/>
      </p:ext>
    </p:extLst>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7" name="Picture 3"/>
          <p:cNvPicPr>
            <a:picLocks noChangeAspect="1" noChangeArrowheads="1"/>
          </p:cNvPicPr>
          <p:nvPr/>
        </p:nvPicPr>
        <p:blipFill>
          <a:blip r:embed="rId3">
            <a:lum contrast="30000"/>
          </a:blip>
          <a:srcRect/>
          <a:stretch>
            <a:fillRect/>
          </a:stretch>
        </p:blipFill>
        <p:spPr bwMode="auto">
          <a:xfrm>
            <a:off x="762000" y="304800"/>
            <a:ext cx="7620000" cy="6248400"/>
          </a:xfrm>
          <a:prstGeom prst="rect">
            <a:avLst/>
          </a:prstGeom>
          <a:noFill/>
        </p:spPr>
      </p:pic>
    </p:spTree>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ext Box 2"/>
          <p:cNvSpPr txBox="1">
            <a:spLocks noChangeArrowheads="1"/>
          </p:cNvSpPr>
          <p:nvPr/>
        </p:nvSpPr>
        <p:spPr bwMode="auto">
          <a:xfrm>
            <a:off x="762000" y="96838"/>
            <a:ext cx="7556500" cy="609600"/>
          </a:xfrm>
          <a:prstGeom prst="rect">
            <a:avLst/>
          </a:prstGeom>
          <a:noFill/>
          <a:ln w="50800">
            <a:noFill/>
            <a:miter lim="800000"/>
            <a:headEnd/>
            <a:tailEnd/>
          </a:ln>
          <a:effectLst/>
        </p:spPr>
        <p:txBody>
          <a:bodyPr>
            <a:spAutoFit/>
          </a:bodyPr>
          <a:lstStyle/>
          <a:p>
            <a:pPr algn="ctr" rtl="0" eaLnBrk="0" hangingPunct="0">
              <a:lnSpc>
                <a:spcPct val="85000"/>
              </a:lnSpc>
            </a:pPr>
            <a:r>
              <a:rPr lang="en-US" sz="4000" b="1" dirty="0">
                <a:solidFill>
                  <a:srgbClr val="EFAA18"/>
                </a:solidFill>
              </a:rPr>
              <a:t>UIP: Traction Bronchiectasis</a:t>
            </a:r>
          </a:p>
        </p:txBody>
      </p:sp>
      <p:pic>
        <p:nvPicPr>
          <p:cNvPr id="13315" name="Picture 3"/>
          <p:cNvPicPr>
            <a:picLocks noChangeAspect="1" noChangeArrowheads="1"/>
          </p:cNvPicPr>
          <p:nvPr/>
        </p:nvPicPr>
        <p:blipFill>
          <a:blip r:embed="rId3">
            <a:lum bright="-6000"/>
          </a:blip>
          <a:srcRect/>
          <a:stretch>
            <a:fillRect/>
          </a:stretch>
        </p:blipFill>
        <p:spPr bwMode="auto">
          <a:xfrm>
            <a:off x="1066800" y="762000"/>
            <a:ext cx="6934200" cy="5867400"/>
          </a:xfrm>
          <a:prstGeom prst="rect">
            <a:avLst/>
          </a:prstGeom>
          <a:noFill/>
        </p:spPr>
      </p:pic>
      <p:sp>
        <p:nvSpPr>
          <p:cNvPr id="13316" name="Line 4"/>
          <p:cNvSpPr>
            <a:spLocks noChangeShapeType="1"/>
          </p:cNvSpPr>
          <p:nvPr/>
        </p:nvSpPr>
        <p:spPr bwMode="auto">
          <a:xfrm flipH="1" flipV="1">
            <a:off x="2144713" y="1447800"/>
            <a:ext cx="1208087" cy="1588"/>
          </a:xfrm>
          <a:prstGeom prst="line">
            <a:avLst/>
          </a:prstGeom>
          <a:noFill/>
          <a:ln w="76200">
            <a:solidFill>
              <a:srgbClr val="FF0000"/>
            </a:solidFill>
            <a:round/>
            <a:headEnd type="triangle" w="med" len="med"/>
            <a:tailEnd/>
          </a:ln>
          <a:effectLst/>
        </p:spPr>
        <p:txBody>
          <a:bodyPr wrap="none" anchor="ctr"/>
          <a:lstStyle/>
          <a:p>
            <a:endParaRPr lang="en-US"/>
          </a:p>
        </p:txBody>
      </p:sp>
      <p:sp>
        <p:nvSpPr>
          <p:cNvPr id="13317" name="Line 5"/>
          <p:cNvSpPr>
            <a:spLocks noChangeShapeType="1"/>
          </p:cNvSpPr>
          <p:nvPr/>
        </p:nvSpPr>
        <p:spPr bwMode="auto">
          <a:xfrm flipV="1">
            <a:off x="7315200" y="2209800"/>
            <a:ext cx="23813" cy="665163"/>
          </a:xfrm>
          <a:prstGeom prst="line">
            <a:avLst/>
          </a:prstGeom>
          <a:noFill/>
          <a:ln w="76200">
            <a:solidFill>
              <a:srgbClr val="FF0000"/>
            </a:solidFill>
            <a:round/>
            <a:headEnd type="triangle" w="med" len="med"/>
            <a:tailEnd/>
          </a:ln>
          <a:effectLst/>
        </p:spPr>
        <p:txBody>
          <a:bodyPr wrap="none" anchor="ctr"/>
          <a:lstStyle/>
          <a:p>
            <a:endParaRPr lang="en-US"/>
          </a:p>
        </p:txBody>
      </p:sp>
      <p:sp>
        <p:nvSpPr>
          <p:cNvPr id="13318" name="Line 6"/>
          <p:cNvSpPr>
            <a:spLocks noChangeShapeType="1"/>
          </p:cNvSpPr>
          <p:nvPr/>
        </p:nvSpPr>
        <p:spPr bwMode="auto">
          <a:xfrm>
            <a:off x="6616700" y="4114800"/>
            <a:ext cx="241300" cy="766763"/>
          </a:xfrm>
          <a:prstGeom prst="line">
            <a:avLst/>
          </a:prstGeom>
          <a:noFill/>
          <a:ln w="76200">
            <a:solidFill>
              <a:srgbClr val="FF0000"/>
            </a:solidFill>
            <a:round/>
            <a:headEnd type="triangle" w="med" len="med"/>
            <a:tailEnd/>
          </a:ln>
          <a:effectLst/>
        </p:spPr>
        <p:txBody>
          <a:bodyPr wrap="none" anchor="ct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3316"/>
                                        </p:tgtEl>
                                        <p:attrNameLst>
                                          <p:attrName>style.visibility</p:attrName>
                                        </p:attrNameLst>
                                      </p:cBhvr>
                                      <p:to>
                                        <p:strVal val="visible"/>
                                      </p:to>
                                    </p:set>
                                    <p:animEffect transition="in" filter="dissolve">
                                      <p:cBhvr>
                                        <p:cTn id="7" dur="500"/>
                                        <p:tgtEl>
                                          <p:spTgt spid="13316"/>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13317"/>
                                        </p:tgtEl>
                                        <p:attrNameLst>
                                          <p:attrName>style.visibility</p:attrName>
                                        </p:attrNameLst>
                                      </p:cBhvr>
                                      <p:to>
                                        <p:strVal val="visible"/>
                                      </p:to>
                                    </p:set>
                                    <p:animEffect transition="in" filter="dissolve">
                                      <p:cBhvr>
                                        <p:cTn id="11" dur="500"/>
                                        <p:tgtEl>
                                          <p:spTgt spid="13317"/>
                                        </p:tgtEl>
                                      </p:cBhvr>
                                    </p:animEffect>
                                  </p:childTnLst>
                                </p:cTn>
                              </p:par>
                            </p:childTnLst>
                          </p:cTn>
                        </p:par>
                        <p:par>
                          <p:cTn id="12" fill="hold">
                            <p:stCondLst>
                              <p:cond delay="1000"/>
                            </p:stCondLst>
                            <p:childTnLst>
                              <p:par>
                                <p:cTn id="13" presetID="9" presetClass="entr" presetSubtype="0" fill="hold" grpId="0" nodeType="afterEffect">
                                  <p:stCondLst>
                                    <p:cond delay="0"/>
                                  </p:stCondLst>
                                  <p:childTnLst>
                                    <p:set>
                                      <p:cBhvr>
                                        <p:cTn id="14" dur="1" fill="hold">
                                          <p:stCondLst>
                                            <p:cond delay="0"/>
                                          </p:stCondLst>
                                        </p:cTn>
                                        <p:tgtEl>
                                          <p:spTgt spid="13318"/>
                                        </p:tgtEl>
                                        <p:attrNameLst>
                                          <p:attrName>style.visibility</p:attrName>
                                        </p:attrNameLst>
                                      </p:cBhvr>
                                      <p:to>
                                        <p:strVal val="visible"/>
                                      </p:to>
                                    </p:set>
                                    <p:animEffect transition="in" filter="dissolve">
                                      <p:cBhvr>
                                        <p:cTn id="15" dur="500"/>
                                        <p:tgtEl>
                                          <p:spTgt spid="133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16" grpId="0" animBg="1"/>
      <p:bldP spid="13317" grpId="0" animBg="1"/>
      <p:bldP spid="13318" grpId="0" animBg="1"/>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0050" name="Rectangle 2"/>
          <p:cNvSpPr>
            <a:spLocks noChangeArrowheads="1"/>
          </p:cNvSpPr>
          <p:nvPr/>
        </p:nvSpPr>
        <p:spPr bwMode="auto">
          <a:xfrm>
            <a:off x="1524000" y="152400"/>
            <a:ext cx="5575565" cy="769441"/>
          </a:xfrm>
          <a:prstGeom prst="rect">
            <a:avLst/>
          </a:prstGeom>
          <a:noFill/>
          <a:ln w="9525">
            <a:noFill/>
            <a:miter lim="800000"/>
            <a:headEnd/>
            <a:tailEnd/>
          </a:ln>
          <a:effectLst>
            <a:outerShdw dist="35921" dir="2700000" algn="ctr" rotWithShape="0">
              <a:srgbClr val="FFFF66">
                <a:alpha val="50000"/>
              </a:srgbClr>
            </a:outerShdw>
          </a:effectLst>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4400" b="1" i="0" u="none" strike="noStrike" kern="1200" cap="none" spc="0" normalizeH="0" baseline="0" noProof="0" dirty="0" smtClean="0">
                <a:ln>
                  <a:noFill/>
                </a:ln>
                <a:solidFill>
                  <a:srgbClr val="C00000"/>
                </a:solidFill>
                <a:effectLst/>
                <a:uLnTx/>
                <a:uFillTx/>
                <a:latin typeface="Candara" pitchFamily="34" charset="0"/>
                <a:ea typeface="+mn-ea"/>
                <a:cs typeface="+mn-cs"/>
              </a:rPr>
              <a:t>Air-Bronchogram Sign</a:t>
            </a:r>
            <a:endParaRPr kumimoji="0" lang="en-US" sz="4400" b="1" i="0" u="none" strike="noStrike" kern="1200" cap="none" spc="0" normalizeH="0" baseline="0" noProof="0" dirty="0">
              <a:ln>
                <a:noFill/>
              </a:ln>
              <a:solidFill>
                <a:srgbClr val="C00000"/>
              </a:solidFill>
              <a:effectLst/>
              <a:uLnTx/>
              <a:uFillTx/>
              <a:latin typeface="Candara" pitchFamily="34" charset="0"/>
              <a:ea typeface="+mn-ea"/>
              <a:cs typeface="+mn-cs"/>
            </a:endParaRPr>
          </a:p>
        </p:txBody>
      </p:sp>
      <p:sp>
        <p:nvSpPr>
          <p:cNvPr id="66563" name="Content Placeholder 8"/>
          <p:cNvSpPr>
            <a:spLocks noGrp="1"/>
          </p:cNvSpPr>
          <p:nvPr>
            <p:ph sz="quarter" idx="2"/>
          </p:nvPr>
        </p:nvSpPr>
        <p:spPr/>
        <p:txBody>
          <a:bodyPr/>
          <a:lstStyle/>
          <a:p>
            <a:endParaRPr lang="en-US" smtClean="0"/>
          </a:p>
        </p:txBody>
      </p:sp>
      <p:pic>
        <p:nvPicPr>
          <p:cNvPr id="66564" name="Picture 10" descr="C:\Users\Dr-Yasser\Desktop\Dr Fatma\2 pneumonia 3 .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1143000"/>
            <a:ext cx="8382000" cy="556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23286234"/>
      </p:ext>
    </p:extLst>
  </p:cSld>
  <p:clrMapOvr>
    <a:masterClrMapping/>
  </p:clrMapOvr>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descr="Figure 7A"/>
          <p:cNvPicPr>
            <a:picLocks noChangeAspect="1" noChangeArrowheads="1"/>
          </p:cNvPicPr>
          <p:nvPr/>
        </p:nvPicPr>
        <p:blipFill>
          <a:blip r:embed="rId2"/>
          <a:srcRect/>
          <a:stretch>
            <a:fillRect/>
          </a:stretch>
        </p:blipFill>
        <p:spPr bwMode="auto">
          <a:xfrm>
            <a:off x="1219200" y="228600"/>
            <a:ext cx="6934200" cy="5486400"/>
          </a:xfrm>
          <a:prstGeom prst="rect">
            <a:avLst/>
          </a:prstGeom>
          <a:noFill/>
          <a:ln w="9525">
            <a:noFill/>
            <a:miter lim="800000"/>
            <a:headEnd/>
            <a:tailEnd/>
          </a:ln>
        </p:spPr>
      </p:pic>
      <p:sp>
        <p:nvSpPr>
          <p:cNvPr id="21507" name="Rectangle 3"/>
          <p:cNvSpPr>
            <a:spLocks noChangeArrowheads="1"/>
          </p:cNvSpPr>
          <p:nvPr/>
        </p:nvSpPr>
        <p:spPr bwMode="auto">
          <a:xfrm>
            <a:off x="1295400" y="5791200"/>
            <a:ext cx="6705600" cy="915988"/>
          </a:xfrm>
          <a:prstGeom prst="rect">
            <a:avLst/>
          </a:prstGeom>
          <a:noFill/>
          <a:ln w="9525">
            <a:noFill/>
            <a:miter lim="800000"/>
            <a:headEnd/>
            <a:tailEnd/>
          </a:ln>
          <a:effectLst/>
        </p:spPr>
        <p:txBody>
          <a:bodyPr anchor="ctr">
            <a:spAutoFit/>
          </a:bodyPr>
          <a:lstStyle/>
          <a:p>
            <a:pPr algn="l" rtl="0"/>
            <a:r>
              <a:rPr lang="en-US" b="1" i="1" dirty="0">
                <a:latin typeface="Times New Roman" pitchFamily="18" charset="0"/>
                <a:cs typeface="Times New Roman" pitchFamily="18" charset="0"/>
              </a:rPr>
              <a:t>Chest radiograph shows airspace consolidation confined mainly to the peripheral lung (photographic negative shadow of pulmonary edema).</a:t>
            </a:r>
          </a:p>
        </p:txBody>
      </p:sp>
    </p:spTree>
  </p:cSld>
  <p:clrMapOvr>
    <a:masterClrMapping/>
  </p:clrMapOvr>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330" name="Picture 2"/>
          <p:cNvPicPr>
            <a:picLocks noChangeAspect="1" noChangeArrowheads="1"/>
          </p:cNvPicPr>
          <p:nvPr/>
        </p:nvPicPr>
        <p:blipFill>
          <a:blip r:embed="rId2"/>
          <a:srcRect/>
          <a:stretch>
            <a:fillRect/>
          </a:stretch>
        </p:blipFill>
        <p:spPr bwMode="auto">
          <a:xfrm>
            <a:off x="304800" y="0"/>
            <a:ext cx="8229600" cy="6757988"/>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450" name="Picture 2" descr="DSC00396"/>
          <p:cNvPicPr>
            <a:picLocks noChangeAspect="1" noChangeArrowheads="1"/>
          </p:cNvPicPr>
          <p:nvPr/>
        </p:nvPicPr>
        <p:blipFill>
          <a:blip r:embed="rId3">
            <a:lum contrast="30000"/>
            <a:grayscl/>
          </a:blip>
          <a:srcRect r="15306"/>
          <a:stretch>
            <a:fillRect/>
          </a:stretch>
        </p:blipFill>
        <p:spPr bwMode="auto">
          <a:xfrm>
            <a:off x="1143000" y="228600"/>
            <a:ext cx="6705600" cy="5791200"/>
          </a:xfrm>
          <a:prstGeom prst="rect">
            <a:avLst/>
          </a:prstGeom>
          <a:noFill/>
          <a:ln w="9525">
            <a:noFill/>
            <a:miter lim="800000"/>
            <a:headEnd/>
            <a:tailEnd/>
          </a:ln>
        </p:spPr>
      </p:pic>
      <p:sp>
        <p:nvSpPr>
          <p:cNvPr id="498694" name="Text Box 6"/>
          <p:cNvSpPr txBox="1">
            <a:spLocks noChangeArrowheads="1"/>
          </p:cNvSpPr>
          <p:nvPr/>
        </p:nvSpPr>
        <p:spPr bwMode="auto">
          <a:xfrm>
            <a:off x="2057400" y="6324600"/>
            <a:ext cx="4038600" cy="366713"/>
          </a:xfrm>
          <a:prstGeom prst="rect">
            <a:avLst/>
          </a:prstGeom>
          <a:gradFill rotWithShape="1">
            <a:gsLst>
              <a:gs pos="0">
                <a:srgbClr val="5E8018"/>
              </a:gs>
              <a:gs pos="100000">
                <a:srgbClr val="2C3B0B"/>
              </a:gs>
            </a:gsLst>
            <a:lin ang="5400000" scaled="1"/>
          </a:gradFill>
          <a:ln w="9525">
            <a:noFill/>
            <a:miter lim="800000"/>
            <a:headEnd/>
            <a:tailEnd/>
          </a:ln>
          <a:effectLst/>
        </p:spPr>
        <p:txBody>
          <a:bodyPr>
            <a:spAutoFit/>
          </a:bodyPr>
          <a:lstStyle/>
          <a:p>
            <a:pPr algn="ctr">
              <a:spcBef>
                <a:spcPct val="50000"/>
              </a:spcBef>
            </a:pPr>
            <a:r>
              <a:rPr lang="en-US" dirty="0">
                <a:solidFill>
                  <a:schemeClr val="bg1"/>
                </a:solidFill>
              </a:rPr>
              <a:t> </a:t>
            </a:r>
            <a:r>
              <a:rPr lang="en-US" dirty="0">
                <a:solidFill>
                  <a:srgbClr val="FFFF00"/>
                </a:solidFill>
              </a:rPr>
              <a:t>Air in the wall – </a:t>
            </a:r>
            <a:r>
              <a:rPr lang="en-US" dirty="0" smtClean="0">
                <a:solidFill>
                  <a:srgbClr val="FFFF00"/>
                </a:solidFill>
              </a:rPr>
              <a:t>air crescent </a:t>
            </a:r>
            <a:endParaRPr lang="en-US" dirty="0">
              <a:solidFill>
                <a:srgbClr val="FFFF00"/>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98694"/>
                                        </p:tgtEl>
                                        <p:attrNameLst>
                                          <p:attrName>style.visibility</p:attrName>
                                        </p:attrNameLst>
                                      </p:cBhvr>
                                      <p:to>
                                        <p:strVal val="visible"/>
                                      </p:to>
                                    </p:set>
                                    <p:animEffect transition="in" filter="blinds(horizontal)">
                                      <p:cBhvr>
                                        <p:cTn id="7" dur="500"/>
                                        <p:tgtEl>
                                          <p:spTgt spid="4986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8694" grpId="0" animBg="1"/>
    </p:bld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9" descr="Eff2">
            <a:extLst>
              <a:ext uri="{FF2B5EF4-FFF2-40B4-BE49-F238E27FC236}">
                <a16:creationId xmlns:a16="http://schemas.microsoft.com/office/drawing/2014/main" id="{AF4C7BFA-760D-4C5B-B13E-7B77B5E58AB4}"/>
              </a:ext>
            </a:extLst>
          </p:cNvPr>
          <p:cNvPicPr>
            <a:picLocks noChangeAspect="1" noChangeArrowheads="1"/>
          </p:cNvPicPr>
          <p:nvPr/>
        </p:nvPicPr>
        <p:blipFill>
          <a:blip r:embed="rId2">
            <a:lum bright="-6000" contrast="12000"/>
            <a:extLst>
              <a:ext uri="{28A0092B-C50C-407E-A947-70E740481C1C}">
                <a14:useLocalDpi xmlns:a14="http://schemas.microsoft.com/office/drawing/2010/main" val="0"/>
              </a:ext>
            </a:extLst>
          </a:blip>
          <a:srcRect/>
          <a:stretch>
            <a:fillRect/>
          </a:stretch>
        </p:blipFill>
        <p:spPr bwMode="auto">
          <a:xfrm>
            <a:off x="1371600" y="152400"/>
            <a:ext cx="6629400" cy="6506937"/>
          </a:xfrm>
          <a:prstGeom prst="rect">
            <a:avLst/>
          </a:prstGeom>
          <a:noFill/>
          <a:ln w="38100">
            <a:solidFill>
              <a:schemeClr val="bg1"/>
            </a:solid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2" name="Picture 11" descr="EFF2">
            <a:extLst>
              <a:ext uri="{FF2B5EF4-FFF2-40B4-BE49-F238E27FC236}">
                <a16:creationId xmlns:a16="http://schemas.microsoft.com/office/drawing/2014/main" id="{B1311624-0FB5-4F27-8046-2B35BB1D010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0" y="255814"/>
            <a:ext cx="6858000" cy="6449786"/>
          </a:xfrm>
          <a:prstGeom prst="rect">
            <a:avLst/>
          </a:prstGeom>
          <a:noFill/>
          <a:ln w="38100">
            <a:solidFill>
              <a:schemeClr val="bg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914342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3" descr="http://medes3.med.umontreal.ca/MedWeb/Cours/module2130/RX-29.JPEG">
            <a:extLst>
              <a:ext uri="{FF2B5EF4-FFF2-40B4-BE49-F238E27FC236}">
                <a16:creationId xmlns:a16="http://schemas.microsoft.com/office/drawing/2014/main" id="{F7027B97-EF7B-44D6-9896-CF1828BFB2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7265"/>
          <a:stretch>
            <a:fillRect/>
          </a:stretch>
        </p:blipFill>
        <p:spPr bwMode="auto">
          <a:xfrm>
            <a:off x="1663700" y="85725"/>
            <a:ext cx="6194425" cy="660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3" descr="C:\My Documents\My Pictures\Medical pictures\Abscess1.gif">
            <a:extLst>
              <a:ext uri="{FF2B5EF4-FFF2-40B4-BE49-F238E27FC236}">
                <a16:creationId xmlns:a16="http://schemas.microsoft.com/office/drawing/2014/main" id="{A98D8FAF-9542-4AB8-AE09-DFA12F9A1B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304800"/>
            <a:ext cx="8686800" cy="570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4">
            <a:extLst>
              <a:ext uri="{FF2B5EF4-FFF2-40B4-BE49-F238E27FC236}">
                <a16:creationId xmlns:a16="http://schemas.microsoft.com/office/drawing/2014/main" id="{4A7C7B33-4C1C-4535-8B22-9C8B2A7B461E}"/>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03792" y="142875"/>
            <a:ext cx="7593541" cy="650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95309227"/>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4">
            <a:extLst>
              <a:ext uri="{FF2B5EF4-FFF2-40B4-BE49-F238E27FC236}">
                <a16:creationId xmlns:a16="http://schemas.microsoft.com/office/drawing/2014/main" id="{4A7C7B33-4C1C-4535-8B22-9C8B2A7B461E}"/>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411610" y="142875"/>
            <a:ext cx="6513189" cy="650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43179590"/>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4">
            <a:extLst>
              <a:ext uri="{FF2B5EF4-FFF2-40B4-BE49-F238E27FC236}">
                <a16:creationId xmlns:a16="http://schemas.microsoft.com/office/drawing/2014/main" id="{4A7C7B33-4C1C-4535-8B22-9C8B2A7B461E}"/>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344336" y="142875"/>
            <a:ext cx="6580464" cy="650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805832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8" name="Picture 7">
            <a:extLst>
              <a:ext uri="{FF2B5EF4-FFF2-40B4-BE49-F238E27FC236}">
                <a16:creationId xmlns:a16="http://schemas.microsoft.com/office/drawing/2014/main" id="{9AC0748A-51D1-7187-31BF-38D9FA10B25A}"/>
              </a:ext>
            </a:extLst>
          </p:cNvPr>
          <p:cNvPicPr>
            <a:picLocks noChangeAspect="1" noChangeArrowheads="1"/>
          </p:cNvPicPr>
          <p:nvPr/>
        </p:nvPicPr>
        <p:blipFill>
          <a:blip r:embed="rId2"/>
          <a:stretch>
            <a:fillRect/>
          </a:stretch>
        </p:blipFill>
        <p:spPr bwMode="auto">
          <a:xfrm>
            <a:off x="0" y="231205"/>
            <a:ext cx="9143999" cy="6395589"/>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spTree>
    <p:extLst>
      <p:ext uri="{BB962C8B-B14F-4D97-AF65-F5344CB8AC3E}">
        <p14:creationId xmlns:p14="http://schemas.microsoft.com/office/powerpoint/2010/main" val="3112897404"/>
      </p:ext>
    </p:extLst>
  </p:cSld>
  <p:clrMapOvr>
    <a:masterClrMapping/>
  </p:clrMapOvr>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4">
            <a:extLst>
              <a:ext uri="{FF2B5EF4-FFF2-40B4-BE49-F238E27FC236}">
                <a16:creationId xmlns:a16="http://schemas.microsoft.com/office/drawing/2014/main" id="{4A7C7B33-4C1C-4535-8B22-9C8B2A7B461E}"/>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328838" y="142875"/>
            <a:ext cx="6824561" cy="650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60248706"/>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4">
            <a:extLst>
              <a:ext uri="{FF2B5EF4-FFF2-40B4-BE49-F238E27FC236}">
                <a16:creationId xmlns:a16="http://schemas.microsoft.com/office/drawing/2014/main" id="{4A7C7B33-4C1C-4535-8B22-9C8B2A7B461E}"/>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0063" y="916940"/>
            <a:ext cx="8001000" cy="4960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085307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4">
            <a:extLst>
              <a:ext uri="{FF2B5EF4-FFF2-40B4-BE49-F238E27FC236}">
                <a16:creationId xmlns:a16="http://schemas.microsoft.com/office/drawing/2014/main" id="{4A7C7B33-4C1C-4535-8B22-9C8B2A7B461E}"/>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47241" y="142875"/>
            <a:ext cx="7906644" cy="650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9689600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WordArt 2"/>
          <p:cNvSpPr>
            <a:spLocks noChangeArrowheads="1" noChangeShapeType="1" noTextEdit="1"/>
          </p:cNvSpPr>
          <p:nvPr/>
        </p:nvSpPr>
        <p:spPr bwMode="auto">
          <a:xfrm>
            <a:off x="1447800" y="1219200"/>
            <a:ext cx="6337300" cy="1436687"/>
          </a:xfrm>
          <a:prstGeom prst="rect">
            <a:avLst/>
          </a:prstGeom>
        </p:spPr>
        <p:txBody>
          <a:bodyPr spcFirstLastPara="1" wrap="none" fromWordArt="1">
            <a:prstTxWarp prst="textArchUp">
              <a:avLst>
                <a:gd name="adj" fmla="val 10800000"/>
              </a:avLst>
            </a:prstTxWarp>
          </a:bodyPr>
          <a:lstStyle/>
          <a:p>
            <a:pPr algn="ctr" rtl="0"/>
            <a:r>
              <a:rPr lang="en-US" sz="4000" b="1" kern="10" dirty="0">
                <a:ln w="9525">
                  <a:solidFill>
                    <a:srgbClr val="000000"/>
                  </a:solidFill>
                  <a:round/>
                  <a:headEnd/>
                  <a:tailEnd/>
                </a:ln>
                <a:solidFill>
                  <a:srgbClr val="00FFFF"/>
                </a:solidFill>
                <a:effectLst>
                  <a:outerShdw blurRad="38100" dist="38100" dir="2700000" algn="tl">
                    <a:srgbClr val="000000">
                      <a:alpha val="43137"/>
                    </a:srgbClr>
                  </a:outerShdw>
                </a:effectLst>
                <a:latin typeface="Arial"/>
                <a:cs typeface="Arial"/>
              </a:rPr>
              <a:t>THANK YOU</a:t>
            </a:r>
          </a:p>
        </p:txBody>
      </p:sp>
      <p:pic>
        <p:nvPicPr>
          <p:cNvPr id="98307" name="Picture 3" descr="t4"/>
          <p:cNvPicPr>
            <a:picLocks noGrp="1" noChangeAspect="1" noChangeArrowheads="1" noCrop="1"/>
          </p:cNvPicPr>
          <p:nvPr>
            <p:ph sz="quarter" idx="1"/>
          </p:nvPr>
        </p:nvPicPr>
        <p:blipFill>
          <a:blip r:embed="rId2"/>
          <a:srcRect/>
          <a:stretch>
            <a:fillRect/>
          </a:stretch>
        </p:blipFill>
        <p:spPr>
          <a:xfrm>
            <a:off x="1371600" y="2209800"/>
            <a:ext cx="1276350" cy="942975"/>
          </a:xfrm>
          <a:noFill/>
          <a:ln/>
        </p:spPr>
      </p:pic>
      <p:pic>
        <p:nvPicPr>
          <p:cNvPr id="98308" name="Picture 4" descr="t4"/>
          <p:cNvPicPr>
            <a:picLocks noGrp="1" noChangeAspect="1" noChangeArrowheads="1" noCrop="1"/>
          </p:cNvPicPr>
          <p:nvPr>
            <p:ph sz="quarter" idx="2"/>
          </p:nvPr>
        </p:nvPicPr>
        <p:blipFill>
          <a:blip r:embed="rId2"/>
          <a:srcRect/>
          <a:stretch>
            <a:fillRect/>
          </a:stretch>
        </p:blipFill>
        <p:spPr>
          <a:xfrm flipH="1">
            <a:off x="6324600" y="2133600"/>
            <a:ext cx="1276350" cy="942975"/>
          </a:xfrm>
          <a:noFill/>
          <a:ln/>
        </p:spPr>
      </p:pic>
      <p:pic>
        <p:nvPicPr>
          <p:cNvPr id="98309" name="Picture 5" descr="folar"/>
          <p:cNvPicPr>
            <a:picLocks noGrp="1" noChangeAspect="1" noChangeArrowheads="1" noCrop="1"/>
          </p:cNvPicPr>
          <p:nvPr>
            <p:ph sz="quarter" idx="3"/>
          </p:nvPr>
        </p:nvPicPr>
        <p:blipFill>
          <a:blip r:embed="rId3"/>
          <a:srcRect/>
          <a:stretch>
            <a:fillRect/>
          </a:stretch>
        </p:blipFill>
        <p:spPr>
          <a:xfrm rot="2891972">
            <a:off x="774700" y="4489450"/>
            <a:ext cx="1047750" cy="1085850"/>
          </a:xfrm>
          <a:noFill/>
          <a:ln/>
        </p:spPr>
      </p:pic>
      <p:pic>
        <p:nvPicPr>
          <p:cNvPr id="98314" name="Picture 10" descr="Picture21"/>
          <p:cNvPicPr>
            <a:picLocks noGrp="1" noChangeAspect="1" noChangeArrowheads="1" noCrop="1"/>
          </p:cNvPicPr>
          <p:nvPr>
            <p:ph sz="quarter" idx="4"/>
          </p:nvPr>
        </p:nvPicPr>
        <p:blipFill>
          <a:blip r:embed="rId4"/>
          <a:srcRect/>
          <a:stretch>
            <a:fillRect/>
          </a:stretch>
        </p:blipFill>
        <p:spPr>
          <a:xfrm>
            <a:off x="5181600" y="3886200"/>
            <a:ext cx="3600450" cy="2767013"/>
          </a:xfrm>
          <a:noFill/>
          <a:ln/>
        </p:spPr>
      </p:pic>
      <p:pic>
        <p:nvPicPr>
          <p:cNvPr id="98317" name="Picture 13" descr="13122_1139439281"/>
          <p:cNvPicPr>
            <a:picLocks noChangeAspect="1" noChangeArrowheads="1" noCrop="1"/>
          </p:cNvPicPr>
          <p:nvPr/>
        </p:nvPicPr>
        <p:blipFill>
          <a:blip r:embed="rId5"/>
          <a:srcRect/>
          <a:stretch>
            <a:fillRect/>
          </a:stretch>
        </p:blipFill>
        <p:spPr bwMode="auto">
          <a:xfrm>
            <a:off x="1295400" y="2133600"/>
            <a:ext cx="3971925" cy="1219200"/>
          </a:xfrm>
          <a:prstGeom prst="rect">
            <a:avLst/>
          </a:prstGeom>
          <a:noFill/>
        </p:spPr>
      </p:pic>
      <p:sp>
        <p:nvSpPr>
          <p:cNvPr id="9" name="Text Box 6"/>
          <p:cNvSpPr txBox="1">
            <a:spLocks noChangeArrowheads="1"/>
          </p:cNvSpPr>
          <p:nvPr/>
        </p:nvSpPr>
        <p:spPr bwMode="auto">
          <a:xfrm>
            <a:off x="533400" y="3902652"/>
            <a:ext cx="4114800" cy="2802948"/>
          </a:xfrm>
          <a:prstGeom prst="rect">
            <a:avLst/>
          </a:prstGeom>
          <a:ln/>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0">
            <a:schemeClr val="accent2"/>
          </a:lnRef>
          <a:fillRef idx="3">
            <a:schemeClr val="accent2"/>
          </a:fillRef>
          <a:effectRef idx="3">
            <a:schemeClr val="accent2"/>
          </a:effectRef>
          <a:fontRef idx="minor">
            <a:schemeClr val="lt1"/>
          </a:fontRef>
        </p:style>
        <p:txBody>
          <a:bodyPr wrap="square" lIns="90000" tIns="46800" rIns="90000" bIns="46800">
            <a:spAutoFit/>
          </a:bodyPr>
          <a:lstStyle/>
          <a:p>
            <a:pPr algn="r">
              <a:spcBef>
                <a:spcPct val="50000"/>
              </a:spcBef>
              <a:defRPr/>
            </a:pPr>
            <a:r>
              <a:rPr lang="ar-EG" sz="4400" b="1" i="1" dirty="0">
                <a:solidFill>
                  <a:srgbClr val="FFFF00"/>
                </a:solidFill>
                <a:latin typeface="Arabic Typesetting" pitchFamily="66" charset="-78"/>
                <a:cs typeface="Arabic Typesetting" pitchFamily="66" charset="-78"/>
              </a:rPr>
              <a:t>     سبحانك اللهم وبحمدك </a:t>
            </a:r>
            <a:endParaRPr lang="en-US" sz="4400" b="1" i="1" dirty="0" smtClean="0">
              <a:solidFill>
                <a:srgbClr val="FFFF00"/>
              </a:solidFill>
              <a:latin typeface="Arabic Typesetting" pitchFamily="66" charset="-78"/>
              <a:cs typeface="Arabic Typesetting" pitchFamily="66" charset="-78"/>
            </a:endParaRPr>
          </a:p>
          <a:p>
            <a:pPr algn="r">
              <a:spcBef>
                <a:spcPct val="50000"/>
              </a:spcBef>
              <a:defRPr/>
            </a:pPr>
            <a:r>
              <a:rPr lang="ar-EG" sz="4400" b="1" i="1" dirty="0" smtClean="0">
                <a:solidFill>
                  <a:srgbClr val="FFFF00"/>
                </a:solidFill>
                <a:latin typeface="Arabic Typesetting" pitchFamily="66" charset="-78"/>
                <a:cs typeface="Arabic Typesetting" pitchFamily="66" charset="-78"/>
              </a:rPr>
              <a:t>نشهد </a:t>
            </a:r>
            <a:r>
              <a:rPr lang="ar-EG" sz="4400" b="1" i="1" dirty="0">
                <a:solidFill>
                  <a:srgbClr val="FFFF00"/>
                </a:solidFill>
                <a:latin typeface="Arabic Typesetting" pitchFamily="66" charset="-78"/>
                <a:cs typeface="Arabic Typesetting" pitchFamily="66" charset="-78"/>
              </a:rPr>
              <a:t>أن لا اله الا انت         </a:t>
            </a:r>
          </a:p>
          <a:p>
            <a:pPr algn="r">
              <a:spcBef>
                <a:spcPct val="50000"/>
              </a:spcBef>
              <a:defRPr/>
            </a:pPr>
            <a:r>
              <a:rPr lang="ar-EG" sz="4400" b="1" i="1" dirty="0">
                <a:solidFill>
                  <a:srgbClr val="FFFF00"/>
                </a:solidFill>
                <a:latin typeface="Arabic Typesetting" pitchFamily="66" charset="-78"/>
                <a:cs typeface="Arabic Typesetting" pitchFamily="66" charset="-78"/>
              </a:rPr>
              <a:t>         نستغفرك ونتوب اليك  </a:t>
            </a:r>
            <a:endParaRPr lang="en-US" sz="4400" b="1" i="1" dirty="0">
              <a:solidFill>
                <a:srgbClr val="FFFF00"/>
              </a:solidFill>
              <a:latin typeface="Arabic Typesetting" pitchFamily="66" charset="-78"/>
              <a:cs typeface="Arabic Typesetting" pitchFamily="66" charset="-78"/>
            </a:endParaRPr>
          </a:p>
        </p:txBody>
      </p:sp>
    </p:spTree>
  </p:cSld>
  <p:clrMapOvr>
    <a:masterClrMapping/>
  </p:clrMapOvr>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9ECDD5C-152A-4CC7-8333-0F367B3A62EA}"/>
              </a:ext>
              <a:ext uri="{C183D7F6-B498-43B3-948B-1728B52AA6E4}">
                <adec:decorative xmlns=""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2">
            <a:extLst>
              <a:ext uri="{28A0092B-C50C-407E-A947-70E740481C1C}">
                <a14:useLocalDpi xmlns:a14="http://schemas.microsoft.com/office/drawing/2010/main" val="0"/>
              </a:ext>
            </a:extLst>
          </a:blip>
          <a:srcRect l="3613"/>
          <a:stretch/>
        </p:blipFill>
        <p:spPr>
          <a:xfrm>
            <a:off x="0" y="2669685"/>
            <a:ext cx="3027759" cy="4188315"/>
          </a:xfrm>
          <a:prstGeom prst="rect">
            <a:avLst/>
          </a:prstGeom>
        </p:spPr>
      </p:pic>
      <p:pic>
        <p:nvPicPr>
          <p:cNvPr id="11" name="Picture 10">
            <a:extLst>
              <a:ext uri="{FF2B5EF4-FFF2-40B4-BE49-F238E27FC236}">
                <a16:creationId xmlns:a16="http://schemas.microsoft.com/office/drawing/2014/main" id="{7F5C92A3-369B-43F3-BDCE-E560B1B0EC89}"/>
              </a:ext>
              <a:ext uri="{C183D7F6-B498-43B3-948B-1728B52AA6E4}">
                <adec:decorative xmlns=""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l="35640"/>
          <a:stretch/>
        </p:blipFill>
        <p:spPr>
          <a:xfrm>
            <a:off x="0" y="2892347"/>
            <a:ext cx="1141809" cy="2365453"/>
          </a:xfrm>
          <a:prstGeom prst="rect">
            <a:avLst/>
          </a:prstGeom>
        </p:spPr>
      </p:pic>
      <p:sp>
        <p:nvSpPr>
          <p:cNvPr id="13" name="Oval 12">
            <a:extLst>
              <a:ext uri="{FF2B5EF4-FFF2-40B4-BE49-F238E27FC236}">
                <a16:creationId xmlns:a16="http://schemas.microsoft.com/office/drawing/2014/main" id="{AEBE9F1A-B38D-446E-83AE-14B17CE77FF2}"/>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6759" y="1676400"/>
            <a:ext cx="2114550" cy="281940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15" name="Picture 14">
            <a:extLst>
              <a:ext uri="{FF2B5EF4-FFF2-40B4-BE49-F238E27FC236}">
                <a16:creationId xmlns:a16="http://schemas.microsoft.com/office/drawing/2014/main" id="{915B5014-A7EC-4BA6-9C83-8840CF81DB28}"/>
              </a:ext>
              <a:ext uri="{C183D7F6-B498-43B3-948B-1728B52AA6E4}">
                <adec:decorative xmlns=""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4">
            <a:extLst>
              <a:ext uri="{28A0092B-C50C-407E-A947-70E740481C1C}">
                <a14:useLocalDpi xmlns:a14="http://schemas.microsoft.com/office/drawing/2010/main" val="0"/>
              </a:ext>
            </a:extLst>
          </a:blip>
          <a:srcRect t="28813"/>
          <a:stretch/>
        </p:blipFill>
        <p:spPr>
          <a:xfrm>
            <a:off x="5999559" y="0"/>
            <a:ext cx="1202540" cy="1141407"/>
          </a:xfrm>
          <a:prstGeom prst="rect">
            <a:avLst/>
          </a:prstGeom>
        </p:spPr>
      </p:pic>
      <p:pic>
        <p:nvPicPr>
          <p:cNvPr id="17" name="Picture 16">
            <a:extLst>
              <a:ext uri="{FF2B5EF4-FFF2-40B4-BE49-F238E27FC236}">
                <a16:creationId xmlns:a16="http://schemas.microsoft.com/office/drawing/2014/main" id="{022C43AB-86D7-420D-8AD7-DC0A15FDD0AF}"/>
              </a:ext>
              <a:ext uri="{C183D7F6-B498-43B3-948B-1728B52AA6E4}">
                <adec:decorative xmlns=""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b="23320"/>
          <a:stretch/>
        </p:blipFill>
        <p:spPr>
          <a:xfrm>
            <a:off x="6454408" y="6096000"/>
            <a:ext cx="745301" cy="762000"/>
          </a:xfrm>
          <a:prstGeom prst="rect">
            <a:avLst/>
          </a:prstGeom>
        </p:spPr>
      </p:pic>
      <p:sp>
        <p:nvSpPr>
          <p:cNvPr id="19" name="Rectangle 18">
            <a:extLst>
              <a:ext uri="{FF2B5EF4-FFF2-40B4-BE49-F238E27FC236}">
                <a16:creationId xmlns:a16="http://schemas.microsoft.com/office/drawing/2014/main" id="{5E3EB826-A471-488F-9E8A-D65528A3C0CA}"/>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28359" y="0"/>
            <a:ext cx="51435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1" name="Rectangle 20">
            <a:extLst>
              <a:ext uri="{FF2B5EF4-FFF2-40B4-BE49-F238E27FC236}">
                <a16:creationId xmlns:a16="http://schemas.microsoft.com/office/drawing/2014/main" id="{DFB3CEA1-88D9-42FB-88ED-1E9807FE6596}"/>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ucida Sans Unicode"/>
              <a:ea typeface="+mn-ea"/>
              <a:cs typeface="+mn-cs"/>
            </a:endParaRPr>
          </a:p>
        </p:txBody>
      </p:sp>
      <p:pic>
        <p:nvPicPr>
          <p:cNvPr id="4" name="Content Placeholder 3">
            <a:extLst>
              <a:ext uri="{FF2B5EF4-FFF2-40B4-BE49-F238E27FC236}">
                <a16:creationId xmlns:a16="http://schemas.microsoft.com/office/drawing/2014/main" id="{84E83BF0-B1BD-4F1B-A161-8F7830F08ED3}"/>
              </a:ext>
            </a:extLst>
          </p:cNvPr>
          <p:cNvPicPr>
            <a:picLocks noGrp="1" noChangeAspect="1"/>
          </p:cNvPicPr>
          <p:nvPr>
            <p:ph idx="1"/>
          </p:nvPr>
        </p:nvPicPr>
        <p:blipFill rotWithShape="1">
          <a:blip r:embed="rId6"/>
          <a:stretch/>
        </p:blipFill>
        <p:spPr>
          <a:xfrm>
            <a:off x="482600" y="1128713"/>
            <a:ext cx="8178799" cy="4600573"/>
          </a:xfrm>
          <a:prstGeom prst="rect">
            <a:avLst/>
          </a:prstGeom>
        </p:spPr>
      </p:pic>
      <p:sp>
        <p:nvSpPr>
          <p:cNvPr id="23" name="Rectangle 22">
            <a:extLst>
              <a:ext uri="{FF2B5EF4-FFF2-40B4-BE49-F238E27FC236}">
                <a16:creationId xmlns:a16="http://schemas.microsoft.com/office/drawing/2014/main" id="{9A6C928E-4252-4F33-8C34-E50A12A3170B}"/>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28359" y="0"/>
            <a:ext cx="51435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2423860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6" name="Picture 4" descr="Blue Sky"/>
          <p:cNvPicPr>
            <a:picLocks noGrp="1" noChangeAspect="1" noChangeArrowheads="1"/>
          </p:cNvPicPr>
          <p:nvPr>
            <p:ph sz="half" idx="4294967295"/>
          </p:nvPr>
        </p:nvPicPr>
        <p:blipFill>
          <a:blip r:embed="rId3"/>
          <a:srcRect/>
          <a:stretch>
            <a:fillRect/>
          </a:stretch>
        </p:blipFill>
        <p:spPr>
          <a:xfrm>
            <a:off x="0" y="0"/>
            <a:ext cx="9144000" cy="6858000"/>
          </a:xfrm>
          <a:noFill/>
          <a:ln/>
        </p:spPr>
      </p:pic>
      <p:pic>
        <p:nvPicPr>
          <p:cNvPr id="90122" name="Picture 10"/>
          <p:cNvPicPr>
            <a:picLocks noChangeAspect="1" noChangeArrowheads="1"/>
          </p:cNvPicPr>
          <p:nvPr/>
        </p:nvPicPr>
        <p:blipFill>
          <a:blip r:embed="rId4"/>
          <a:srcRect/>
          <a:stretch>
            <a:fillRect/>
          </a:stretch>
        </p:blipFill>
        <p:spPr bwMode="auto">
          <a:xfrm>
            <a:off x="838200" y="990600"/>
            <a:ext cx="7404100" cy="1727200"/>
          </a:xfrm>
          <a:prstGeom prst="rect">
            <a:avLst/>
          </a:prstGeom>
          <a:noFill/>
          <a:ln w="12700" cap="sq">
            <a:noFill/>
            <a:miter lim="800000"/>
            <a:headEnd type="none" w="sm" len="sm"/>
            <a:tailEnd type="none" w="sm" len="sm"/>
          </a:ln>
          <a:effectLst/>
        </p:spPr>
      </p:pic>
      <p:sp>
        <p:nvSpPr>
          <p:cNvPr id="90124" name="Rectangle 12"/>
          <p:cNvSpPr>
            <a:spLocks noChangeArrowheads="1"/>
          </p:cNvSpPr>
          <p:nvPr/>
        </p:nvSpPr>
        <p:spPr bwMode="auto">
          <a:xfrm>
            <a:off x="533400" y="3124200"/>
            <a:ext cx="8001000" cy="2667000"/>
          </a:xfrm>
          <a:prstGeom prst="rect">
            <a:avLst/>
          </a:prstGeom>
          <a:noFill/>
          <a:ln w="9525">
            <a:noFill/>
            <a:miter lim="800000"/>
            <a:headEnd/>
            <a:tailEnd/>
          </a:ln>
          <a:effectLst/>
        </p:spPr>
        <p:txBody>
          <a:bodyPr lIns="92075" tIns="46038" rIns="92075" bIns="46038"/>
          <a:lstStyle/>
          <a:p>
            <a:pPr algn="ctr">
              <a:lnSpc>
                <a:spcPct val="120000"/>
              </a:lnSpc>
            </a:pPr>
            <a:r>
              <a:rPr lang="en-US" sz="6000" dirty="0">
                <a:solidFill>
                  <a:srgbClr val="FFFF00"/>
                </a:solidFill>
                <a:latin typeface="Courier New" pitchFamily="49" charset="0"/>
                <a:cs typeface="Times New Roman" pitchFamily="18" charset="0"/>
                <a:sym typeface="AGA Arabesque" pitchFamily="2" charset="2"/>
              </a:rPr>
              <a:t></a:t>
            </a:r>
            <a:r>
              <a:rPr lang="en-US" sz="6000" dirty="0">
                <a:solidFill>
                  <a:srgbClr val="FFFF00"/>
                </a:solidFill>
                <a:latin typeface="Old Antic Outline Shaded" pitchFamily="2" charset="-78"/>
                <a:cs typeface="Times New Roman" pitchFamily="18" charset="0"/>
              </a:rPr>
              <a:t> </a:t>
            </a:r>
            <a:r>
              <a:rPr lang="ar-SA" sz="6000" dirty="0">
                <a:solidFill>
                  <a:srgbClr val="FFFF00"/>
                </a:solidFill>
                <a:latin typeface="Old Antic Outline Shaded" pitchFamily="2" charset="-78"/>
              </a:rPr>
              <a:t>قَالُوا سُبْحَانَكَ لا عِلْمَ لَنَا إِلا مَا عَلَّمْتَنَا إِنَّكَ أَنْتَ الْعَلِيمُ الْحَكِيمُ</a:t>
            </a:r>
            <a:r>
              <a:rPr lang="en-US" sz="6000" dirty="0">
                <a:solidFill>
                  <a:srgbClr val="FFFF00"/>
                </a:solidFill>
                <a:latin typeface="Old Antic Outline Shaded" pitchFamily="2" charset="-78"/>
                <a:cs typeface="Times New Roman" pitchFamily="18" charset="0"/>
              </a:rPr>
              <a:t> </a:t>
            </a:r>
            <a:r>
              <a:rPr lang="en-US" sz="6000" dirty="0">
                <a:solidFill>
                  <a:srgbClr val="FFFF00"/>
                </a:solidFill>
                <a:latin typeface="Courier New" pitchFamily="49" charset="0"/>
                <a:cs typeface="Times New Roman" pitchFamily="18" charset="0"/>
                <a:sym typeface="AGA Arabesque" pitchFamily="2" charset="2"/>
              </a:rPr>
              <a:t></a:t>
            </a:r>
            <a:r>
              <a:rPr lang="en-US" sz="6000" i="1" dirty="0">
                <a:solidFill>
                  <a:srgbClr val="FFFF00"/>
                </a:solidFill>
                <a:latin typeface="Courier New" pitchFamily="49" charset="0"/>
                <a:cs typeface="Simplified Arabic" pitchFamily="2" charset="-78"/>
              </a:rPr>
              <a:t> </a:t>
            </a:r>
          </a:p>
          <a:p>
            <a:pPr algn="l">
              <a:lnSpc>
                <a:spcPct val="120000"/>
              </a:lnSpc>
            </a:pPr>
            <a:r>
              <a:rPr lang="ar-SA" sz="2800" dirty="0">
                <a:solidFill>
                  <a:srgbClr val="FF0000"/>
                </a:solidFill>
                <a:latin typeface="Old Antic Outline Shaded" pitchFamily="2" charset="-78"/>
              </a:rPr>
              <a:t>[البقرة: 32]	</a:t>
            </a:r>
          </a:p>
        </p:txBody>
      </p:sp>
    </p:spTree>
    <p:extLst>
      <p:ext uri="{BB962C8B-B14F-4D97-AF65-F5344CB8AC3E}">
        <p14:creationId xmlns:p14="http://schemas.microsoft.com/office/powerpoint/2010/main" val="101690743"/>
      </p:ext>
    </p:extLst>
  </p:cSld>
  <p:clrMapOvr>
    <a:masterClrMapping/>
  </p:clrMapOvr>
  <p:transition>
    <p:dissolve/>
    <p:sndAc>
      <p:stSnd>
        <p:snd r:embed="rId2" name="chimes.wav"/>
      </p:stSnd>
    </p:sndAc>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90122"/>
                                        </p:tgtEl>
                                        <p:attrNameLst>
                                          <p:attrName>style.visibility</p:attrName>
                                        </p:attrNameLst>
                                      </p:cBhvr>
                                      <p:to>
                                        <p:strVal val="visible"/>
                                      </p:to>
                                    </p:set>
                                    <p:anim calcmode="lin" valueType="num">
                                      <p:cBhvr>
                                        <p:cTn id="7" dur="500" fill="hold"/>
                                        <p:tgtEl>
                                          <p:spTgt spid="90122"/>
                                        </p:tgtEl>
                                        <p:attrNameLst>
                                          <p:attrName>ppt_w</p:attrName>
                                        </p:attrNameLst>
                                      </p:cBhvr>
                                      <p:tavLst>
                                        <p:tav tm="0">
                                          <p:val>
                                            <p:fltVal val="0"/>
                                          </p:val>
                                        </p:tav>
                                        <p:tav tm="100000">
                                          <p:val>
                                            <p:strVal val="#ppt_w"/>
                                          </p:val>
                                        </p:tav>
                                      </p:tavLst>
                                    </p:anim>
                                    <p:anim calcmode="lin" valueType="num">
                                      <p:cBhvr>
                                        <p:cTn id="8" dur="500" fill="hold"/>
                                        <p:tgtEl>
                                          <p:spTgt spid="90122"/>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16" presetClass="entr" presetSubtype="42" fill="hold" grpId="0" nodeType="afterEffect">
                                  <p:stCondLst>
                                    <p:cond delay="0"/>
                                  </p:stCondLst>
                                  <p:childTnLst>
                                    <p:set>
                                      <p:cBhvr>
                                        <p:cTn id="11" dur="1" fill="hold">
                                          <p:stCondLst>
                                            <p:cond delay="0"/>
                                          </p:stCondLst>
                                        </p:cTn>
                                        <p:tgtEl>
                                          <p:spTgt spid="90124">
                                            <p:txEl>
                                              <p:pRg st="0" end="0"/>
                                            </p:txEl>
                                          </p:spTgt>
                                        </p:tgtEl>
                                        <p:attrNameLst>
                                          <p:attrName>style.visibility</p:attrName>
                                        </p:attrNameLst>
                                      </p:cBhvr>
                                      <p:to>
                                        <p:strVal val="visible"/>
                                      </p:to>
                                    </p:set>
                                    <p:animEffect transition="in" filter="barn(outHorizontal)">
                                      <p:cBhvr>
                                        <p:cTn id="12" dur="500"/>
                                        <p:tgtEl>
                                          <p:spTgt spid="90124">
                                            <p:txEl>
                                              <p:pRg st="0" end="0"/>
                                            </p:txEl>
                                          </p:spTgt>
                                        </p:tgtEl>
                                      </p:cBhvr>
                                    </p:animEffect>
                                  </p:childTnLst>
                                </p:cTn>
                              </p:par>
                            </p:childTnLst>
                          </p:cTn>
                        </p:par>
                        <p:par>
                          <p:cTn id="13" fill="hold">
                            <p:stCondLst>
                              <p:cond delay="1000"/>
                            </p:stCondLst>
                            <p:childTnLst>
                              <p:par>
                                <p:cTn id="14" presetID="16" presetClass="entr" presetSubtype="42" fill="hold" grpId="0" nodeType="afterEffect">
                                  <p:stCondLst>
                                    <p:cond delay="0"/>
                                  </p:stCondLst>
                                  <p:childTnLst>
                                    <p:set>
                                      <p:cBhvr>
                                        <p:cTn id="15" dur="1" fill="hold">
                                          <p:stCondLst>
                                            <p:cond delay="0"/>
                                          </p:stCondLst>
                                        </p:cTn>
                                        <p:tgtEl>
                                          <p:spTgt spid="90124">
                                            <p:txEl>
                                              <p:pRg st="1" end="1"/>
                                            </p:txEl>
                                          </p:spTgt>
                                        </p:tgtEl>
                                        <p:attrNameLst>
                                          <p:attrName>style.visibility</p:attrName>
                                        </p:attrNameLst>
                                      </p:cBhvr>
                                      <p:to>
                                        <p:strVal val="visible"/>
                                      </p:to>
                                    </p:set>
                                    <p:animEffect transition="in" filter="barn(outHorizontal)">
                                      <p:cBhvr>
                                        <p:cTn id="16" dur="500"/>
                                        <p:tgtEl>
                                          <p:spTgt spid="9012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124" grpId="0" build="p" autoUpdateAnimBg="0" advAuto="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447800"/>
            <a:ext cx="9144000" cy="5410200"/>
          </a:xfrm>
        </p:spPr>
      </p:pic>
      <p:sp>
        <p:nvSpPr>
          <p:cNvPr id="3" name="Title 2"/>
          <p:cNvSpPr>
            <a:spLocks noGrp="1"/>
          </p:cNvSpPr>
          <p:nvPr>
            <p:ph type="title"/>
          </p:nvPr>
        </p:nvSpPr>
        <p:spPr/>
        <p:txBody>
          <a:bodyPr>
            <a:normAutofit fontScale="90000"/>
          </a:bodyPr>
          <a:lstStyle/>
          <a:p>
            <a:r>
              <a:rPr lang="en-US" dirty="0" smtClean="0"/>
              <a:t>What next investigations diagnosis</a:t>
            </a:r>
            <a:endParaRPr lang="en-US" dirty="0"/>
          </a:p>
        </p:txBody>
      </p:sp>
    </p:spTree>
    <p:extLst>
      <p:ext uri="{BB962C8B-B14F-4D97-AF65-F5344CB8AC3E}">
        <p14:creationId xmlns:p14="http://schemas.microsoft.com/office/powerpoint/2010/main" val="18402328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457200" y="274638"/>
            <a:ext cx="8229600" cy="868362"/>
          </a:xfrm>
        </p:spPr>
        <p:style>
          <a:lnRef idx="0">
            <a:schemeClr val="accent1"/>
          </a:lnRef>
          <a:fillRef idx="3">
            <a:schemeClr val="accent1"/>
          </a:fillRef>
          <a:effectRef idx="3">
            <a:schemeClr val="accent1"/>
          </a:effectRef>
          <a:fontRef idx="minor">
            <a:schemeClr val="lt1"/>
          </a:fontRef>
        </p:style>
        <p:txBody>
          <a:bodyPr/>
          <a:lstStyle/>
          <a:p>
            <a:pPr eaLnBrk="1" hangingPunct="1"/>
            <a:r>
              <a:rPr lang="en-US" altLang="en-US" sz="4000" b="1" dirty="0" smtClean="0">
                <a:solidFill>
                  <a:schemeClr val="bg1"/>
                </a:solidFill>
              </a:rPr>
              <a:t>Laboratory Tests for CAP </a:t>
            </a:r>
          </a:p>
        </p:txBody>
      </p:sp>
      <p:sp>
        <p:nvSpPr>
          <p:cNvPr id="3" name="Content Placeholder 2"/>
          <p:cNvSpPr>
            <a:spLocks noGrp="1"/>
          </p:cNvSpPr>
          <p:nvPr>
            <p:ph sz="half" idx="1"/>
          </p:nvPr>
        </p:nvSpPr>
        <p:spPr>
          <a:xfrm>
            <a:off x="533400" y="1600200"/>
            <a:ext cx="3505200" cy="3276600"/>
          </a:xfrm>
          <a:extLst/>
        </p:spPr>
        <p:style>
          <a:lnRef idx="1">
            <a:schemeClr val="accent5"/>
          </a:lnRef>
          <a:fillRef idx="2">
            <a:schemeClr val="accent5"/>
          </a:fillRef>
          <a:effectRef idx="1">
            <a:schemeClr val="accent5"/>
          </a:effectRef>
          <a:fontRef idx="minor">
            <a:schemeClr val="dk1"/>
          </a:fontRef>
        </p:style>
        <p:txBody>
          <a:bodyPr/>
          <a:lstStyle/>
          <a:p>
            <a:pPr eaLnBrk="1" hangingPunct="1">
              <a:spcBef>
                <a:spcPts val="600"/>
              </a:spcBef>
              <a:spcAft>
                <a:spcPts val="600"/>
              </a:spcAft>
              <a:buClr>
                <a:srgbClr val="FFFF00"/>
              </a:buClr>
              <a:defRPr/>
            </a:pPr>
            <a:r>
              <a:rPr lang="en-US" b="1" dirty="0" smtClean="0">
                <a:solidFill>
                  <a:srgbClr val="C00000"/>
                </a:solidFill>
              </a:rPr>
              <a:t>CBC</a:t>
            </a:r>
          </a:p>
          <a:p>
            <a:pPr eaLnBrk="1" hangingPunct="1">
              <a:spcBef>
                <a:spcPts val="600"/>
              </a:spcBef>
              <a:spcAft>
                <a:spcPts val="600"/>
              </a:spcAft>
              <a:buClr>
                <a:srgbClr val="FFFF00"/>
              </a:buClr>
              <a:defRPr/>
            </a:pPr>
            <a:r>
              <a:rPr lang="en-US" b="1" dirty="0" smtClean="0">
                <a:solidFill>
                  <a:srgbClr val="C00000"/>
                </a:solidFill>
              </a:rPr>
              <a:t>CRP and ESR</a:t>
            </a:r>
          </a:p>
          <a:p>
            <a:pPr eaLnBrk="1" hangingPunct="1">
              <a:spcBef>
                <a:spcPts val="600"/>
              </a:spcBef>
              <a:spcAft>
                <a:spcPts val="600"/>
              </a:spcAft>
              <a:buClr>
                <a:srgbClr val="FFFF00"/>
              </a:buClr>
              <a:defRPr/>
            </a:pPr>
            <a:r>
              <a:rPr lang="en-US" b="1" dirty="0" smtClean="0">
                <a:solidFill>
                  <a:srgbClr val="C00000"/>
                </a:solidFill>
              </a:rPr>
              <a:t>BUN and Creatinine</a:t>
            </a:r>
          </a:p>
          <a:p>
            <a:pPr eaLnBrk="1" hangingPunct="1">
              <a:spcBef>
                <a:spcPts val="600"/>
              </a:spcBef>
              <a:spcAft>
                <a:spcPts val="600"/>
              </a:spcAft>
              <a:buClr>
                <a:srgbClr val="FFFF00"/>
              </a:buClr>
              <a:defRPr/>
            </a:pPr>
            <a:r>
              <a:rPr lang="en-US" b="1" dirty="0" smtClean="0">
                <a:solidFill>
                  <a:srgbClr val="C00000"/>
                </a:solidFill>
              </a:rPr>
              <a:t>Liver enzymes</a:t>
            </a:r>
          </a:p>
          <a:p>
            <a:pPr eaLnBrk="1" hangingPunct="1">
              <a:spcBef>
                <a:spcPts val="600"/>
              </a:spcBef>
              <a:spcAft>
                <a:spcPts val="600"/>
              </a:spcAft>
              <a:buClr>
                <a:srgbClr val="FFFF00"/>
              </a:buClr>
              <a:defRPr/>
            </a:pPr>
            <a:r>
              <a:rPr lang="en-US" b="1" dirty="0" smtClean="0">
                <a:solidFill>
                  <a:srgbClr val="C00000"/>
                </a:solidFill>
              </a:rPr>
              <a:t>Serum electrolytes</a:t>
            </a:r>
          </a:p>
        </p:txBody>
      </p:sp>
      <p:sp>
        <p:nvSpPr>
          <p:cNvPr id="6" name="Content Placeholder 5"/>
          <p:cNvSpPr>
            <a:spLocks noGrp="1"/>
          </p:cNvSpPr>
          <p:nvPr>
            <p:ph sz="half" idx="2"/>
          </p:nvPr>
        </p:nvSpPr>
        <p:spPr>
          <a:xfrm>
            <a:off x="4724400" y="2514600"/>
            <a:ext cx="3886200" cy="3276600"/>
          </a:xfrm>
          <a:extLst>
            <a:ext uri="{91240B29-F687-4F45-9708-019B960494DF}">
              <a14:hiddenLine xmlns:a14="http://schemas.microsoft.com/office/drawing/2010/main" w="9525">
                <a:solidFill>
                  <a:srgbClr val="000000"/>
                </a:solidFill>
                <a:miter lim="800000"/>
                <a:headEnd/>
                <a:tailEnd/>
              </a14:hiddenLine>
            </a:ext>
          </a:extLst>
        </p:spPr>
        <p:style>
          <a:lnRef idx="2">
            <a:schemeClr val="accent5">
              <a:shade val="50000"/>
            </a:schemeClr>
          </a:lnRef>
          <a:fillRef idx="1">
            <a:schemeClr val="accent5"/>
          </a:fillRef>
          <a:effectRef idx="0">
            <a:schemeClr val="accent5"/>
          </a:effectRef>
          <a:fontRef idx="minor">
            <a:schemeClr val="lt1"/>
          </a:fontRef>
        </p:style>
        <p:txBody>
          <a:bodyPr/>
          <a:lstStyle/>
          <a:p>
            <a:pPr eaLnBrk="1" hangingPunct="1">
              <a:spcBef>
                <a:spcPts val="600"/>
              </a:spcBef>
              <a:spcAft>
                <a:spcPts val="600"/>
              </a:spcAft>
              <a:buClr>
                <a:srgbClr val="FFFF00"/>
              </a:buClr>
              <a:defRPr/>
            </a:pPr>
            <a:r>
              <a:rPr lang="en-US" b="1" dirty="0" smtClean="0">
                <a:solidFill>
                  <a:srgbClr val="C00000"/>
                </a:solidFill>
              </a:rPr>
              <a:t>ABG</a:t>
            </a:r>
          </a:p>
          <a:p>
            <a:pPr eaLnBrk="1" hangingPunct="1">
              <a:spcBef>
                <a:spcPts val="600"/>
              </a:spcBef>
              <a:spcAft>
                <a:spcPts val="600"/>
              </a:spcAft>
              <a:buClr>
                <a:srgbClr val="FFFF00"/>
              </a:buClr>
              <a:defRPr/>
            </a:pPr>
            <a:r>
              <a:rPr lang="en-US" b="1" dirty="0" smtClean="0">
                <a:solidFill>
                  <a:srgbClr val="C00000"/>
                </a:solidFill>
              </a:rPr>
              <a:t>Gram stain of sputum</a:t>
            </a:r>
          </a:p>
          <a:p>
            <a:pPr eaLnBrk="1" hangingPunct="1">
              <a:spcBef>
                <a:spcPts val="600"/>
              </a:spcBef>
              <a:spcAft>
                <a:spcPts val="600"/>
              </a:spcAft>
              <a:buClr>
                <a:srgbClr val="FFFF00"/>
              </a:buClr>
              <a:defRPr/>
            </a:pPr>
            <a:r>
              <a:rPr lang="en-US" b="1" dirty="0" smtClean="0">
                <a:solidFill>
                  <a:srgbClr val="C00000"/>
                </a:solidFill>
              </a:rPr>
              <a:t>Culture of sputum</a:t>
            </a:r>
          </a:p>
          <a:p>
            <a:pPr eaLnBrk="1" hangingPunct="1">
              <a:spcBef>
                <a:spcPts val="600"/>
              </a:spcBef>
              <a:spcAft>
                <a:spcPts val="600"/>
              </a:spcAft>
              <a:buClr>
                <a:srgbClr val="FFFF00"/>
              </a:buClr>
              <a:defRPr/>
            </a:pPr>
            <a:r>
              <a:rPr lang="en-US" b="1" dirty="0" smtClean="0">
                <a:solidFill>
                  <a:srgbClr val="C00000"/>
                </a:solidFill>
              </a:rPr>
              <a:t>Blood cultures</a:t>
            </a:r>
          </a:p>
          <a:p>
            <a:pPr eaLnBrk="1" hangingPunct="1">
              <a:spcBef>
                <a:spcPts val="600"/>
              </a:spcBef>
              <a:spcAft>
                <a:spcPts val="600"/>
              </a:spcAft>
              <a:buClr>
                <a:srgbClr val="FFFF00"/>
              </a:buClr>
              <a:defRPr/>
            </a:pPr>
            <a:r>
              <a:rPr lang="en-US" b="1" dirty="0" smtClean="0">
                <a:solidFill>
                  <a:srgbClr val="C00000"/>
                </a:solidFill>
              </a:rPr>
              <a:t>Septic work up</a:t>
            </a:r>
          </a:p>
        </p:txBody>
      </p:sp>
    </p:spTree>
    <p:extLst>
      <p:ext uri="{BB962C8B-B14F-4D97-AF65-F5344CB8AC3E}">
        <p14:creationId xmlns:p14="http://schemas.microsoft.com/office/powerpoint/2010/main" val="3888645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anim calcmode="lin" valueType="num">
                                      <p:cBhvr additive="base">
                                        <p:cTn id="7" dur="500" fill="hold"/>
                                        <p:tgtEl>
                                          <p:spTgt spid="3">
                                            <p:bg/>
                                          </p:spTgt>
                                        </p:tgtEl>
                                        <p:attrNameLst>
                                          <p:attrName>ppt_x</p:attrName>
                                        </p:attrNameLst>
                                      </p:cBhvr>
                                      <p:tavLst>
                                        <p:tav tm="0">
                                          <p:val>
                                            <p:strVal val="#ppt_x"/>
                                          </p:val>
                                        </p:tav>
                                        <p:tav tm="100000">
                                          <p:val>
                                            <p:strVal val="#ppt_x"/>
                                          </p:val>
                                        </p:tav>
                                      </p:tavLst>
                                    </p:anim>
                                    <p:anim calcmode="lin" valueType="num">
                                      <p:cBhvr additive="base">
                                        <p:cTn id="8" dur="500" fill="hold"/>
                                        <p:tgtEl>
                                          <p:spTgt spid="3">
                                            <p:bg/>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anim calcmode="lin" valueType="num">
                                      <p:cBhvr additive="base">
                                        <p:cTn id="13"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anim calcmode="lin" valueType="num">
                                      <p:cBhvr additive="base">
                                        <p:cTn id="19"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2" end="2"/>
                                            </p:txEl>
                                          </p:spTgt>
                                        </p:tgtEl>
                                        <p:attrNameLst>
                                          <p:attrName>style.visibility</p:attrName>
                                        </p:attrNameLst>
                                      </p:cBhvr>
                                      <p:to>
                                        <p:strVal val="visible"/>
                                      </p:to>
                                    </p:set>
                                    <p:anim calcmode="lin" valueType="num">
                                      <p:cBhvr additive="base">
                                        <p:cTn id="25"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3" end="3"/>
                                            </p:txEl>
                                          </p:spTgt>
                                        </p:tgtEl>
                                        <p:attrNameLst>
                                          <p:attrName>style.visibility</p:attrName>
                                        </p:attrNameLst>
                                      </p:cBhvr>
                                      <p:to>
                                        <p:strVal val="visible"/>
                                      </p:to>
                                    </p:set>
                                    <p:anim calcmode="lin" valueType="num">
                                      <p:cBhvr additive="base">
                                        <p:cTn id="31"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xEl>
                                              <p:pRg st="4" end="4"/>
                                            </p:txEl>
                                          </p:spTgt>
                                        </p:tgtEl>
                                        <p:attrNameLst>
                                          <p:attrName>style.visibility</p:attrName>
                                        </p:attrNameLst>
                                      </p:cBhvr>
                                      <p:to>
                                        <p:strVal val="visible"/>
                                      </p:to>
                                    </p:set>
                                    <p:anim calcmode="lin" valueType="num">
                                      <p:cBhvr additive="base">
                                        <p:cTn id="37"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6">
                                            <p:bg/>
                                          </p:spTgt>
                                        </p:tgtEl>
                                        <p:attrNameLst>
                                          <p:attrName>style.visibility</p:attrName>
                                        </p:attrNameLst>
                                      </p:cBhvr>
                                      <p:to>
                                        <p:strVal val="visible"/>
                                      </p:to>
                                    </p:set>
                                    <p:anim calcmode="lin" valueType="num">
                                      <p:cBhvr additive="base">
                                        <p:cTn id="43" dur="500" fill="hold"/>
                                        <p:tgtEl>
                                          <p:spTgt spid="6">
                                            <p:bg/>
                                          </p:spTgt>
                                        </p:tgtEl>
                                        <p:attrNameLst>
                                          <p:attrName>ppt_x</p:attrName>
                                        </p:attrNameLst>
                                      </p:cBhvr>
                                      <p:tavLst>
                                        <p:tav tm="0">
                                          <p:val>
                                            <p:strVal val="#ppt_x"/>
                                          </p:val>
                                        </p:tav>
                                        <p:tav tm="100000">
                                          <p:val>
                                            <p:strVal val="#ppt_x"/>
                                          </p:val>
                                        </p:tav>
                                      </p:tavLst>
                                    </p:anim>
                                    <p:anim calcmode="lin" valueType="num">
                                      <p:cBhvr additive="base">
                                        <p:cTn id="44" dur="500" fill="hold"/>
                                        <p:tgtEl>
                                          <p:spTgt spid="6">
                                            <p:bg/>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6">
                                            <p:txEl>
                                              <p:pRg st="0" end="0"/>
                                            </p:txEl>
                                          </p:spTgt>
                                        </p:tgtEl>
                                        <p:attrNameLst>
                                          <p:attrName>style.visibility</p:attrName>
                                        </p:attrNameLst>
                                      </p:cBhvr>
                                      <p:to>
                                        <p:strVal val="visible"/>
                                      </p:to>
                                    </p:set>
                                    <p:anim calcmode="lin" valueType="num">
                                      <p:cBhvr additive="base">
                                        <p:cTn id="49"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6">
                                            <p:txEl>
                                              <p:pRg st="1" end="1"/>
                                            </p:txEl>
                                          </p:spTgt>
                                        </p:tgtEl>
                                        <p:attrNameLst>
                                          <p:attrName>style.visibility</p:attrName>
                                        </p:attrNameLst>
                                      </p:cBhvr>
                                      <p:to>
                                        <p:strVal val="visible"/>
                                      </p:to>
                                    </p:set>
                                    <p:anim calcmode="lin" valueType="num">
                                      <p:cBhvr additive="base">
                                        <p:cTn id="55"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6">
                                            <p:txEl>
                                              <p:pRg st="2" end="2"/>
                                            </p:txEl>
                                          </p:spTgt>
                                        </p:tgtEl>
                                        <p:attrNameLst>
                                          <p:attrName>style.visibility</p:attrName>
                                        </p:attrNameLst>
                                      </p:cBhvr>
                                      <p:to>
                                        <p:strVal val="visible"/>
                                      </p:to>
                                    </p:set>
                                    <p:anim calcmode="lin" valueType="num">
                                      <p:cBhvr additive="base">
                                        <p:cTn id="61"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6">
                                            <p:txEl>
                                              <p:pRg st="3" end="3"/>
                                            </p:txEl>
                                          </p:spTgt>
                                        </p:tgtEl>
                                        <p:attrNameLst>
                                          <p:attrName>style.visibility</p:attrName>
                                        </p:attrNameLst>
                                      </p:cBhvr>
                                      <p:to>
                                        <p:strVal val="visible"/>
                                      </p:to>
                                    </p:set>
                                    <p:anim calcmode="lin" valueType="num">
                                      <p:cBhvr additive="base">
                                        <p:cTn id="67"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grpId="0" nodeType="clickEffect">
                                  <p:stCondLst>
                                    <p:cond delay="0"/>
                                  </p:stCondLst>
                                  <p:childTnLst>
                                    <p:set>
                                      <p:cBhvr>
                                        <p:cTn id="72" dur="1" fill="hold">
                                          <p:stCondLst>
                                            <p:cond delay="0"/>
                                          </p:stCondLst>
                                        </p:cTn>
                                        <p:tgtEl>
                                          <p:spTgt spid="6">
                                            <p:txEl>
                                              <p:pRg st="4" end="4"/>
                                            </p:txEl>
                                          </p:spTgt>
                                        </p:tgtEl>
                                        <p:attrNameLst>
                                          <p:attrName>style.visibility</p:attrName>
                                        </p:attrNameLst>
                                      </p:cBhvr>
                                      <p:to>
                                        <p:strVal val="visible"/>
                                      </p:to>
                                    </p:set>
                                    <p:anim calcmode="lin" valueType="num">
                                      <p:cBhvr additive="base">
                                        <p:cTn id="73"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74"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nimBg="1"/>
      <p:bldP spid="6" grpId="0" build="p"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625" y="0"/>
            <a:ext cx="8135938" cy="1143000"/>
          </a:xfrm>
        </p:spPr>
        <p:txBody>
          <a:bodyPr/>
          <a:lstStyle/>
          <a:p>
            <a:pPr>
              <a:defRPr/>
            </a:pPr>
            <a:r>
              <a:rPr lang="en-US" sz="3600" u="sng" dirty="0" err="1" smtClean="0"/>
              <a:t>CBC</a:t>
            </a:r>
            <a:endParaRPr lang="en-US" sz="3600" u="sng" dirty="0"/>
          </a:p>
        </p:txBody>
      </p:sp>
      <p:pic>
        <p:nvPicPr>
          <p:cNvPr id="8195" name="Picture 2" descr="C:\Users\DR-Waled\Desktop\Right-middle-lobe-pneumonia.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500188" y="157163"/>
            <a:ext cx="5786437" cy="6396037"/>
          </a:xfr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59210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3600" u="sng" dirty="0"/>
              <a:t>Questions</a:t>
            </a:r>
          </a:p>
        </p:txBody>
      </p:sp>
      <p:sp>
        <p:nvSpPr>
          <p:cNvPr id="3" name="Content Placeholder 2"/>
          <p:cNvSpPr>
            <a:spLocks noGrp="1"/>
          </p:cNvSpPr>
          <p:nvPr>
            <p:ph idx="1"/>
          </p:nvPr>
        </p:nvSpPr>
        <p:spPr/>
        <p:txBody>
          <a:bodyPr/>
          <a:lstStyle/>
          <a:p>
            <a:pPr>
              <a:defRPr/>
            </a:pPr>
            <a:endParaRPr lang="en-US" b="1" dirty="0" smtClean="0"/>
          </a:p>
          <a:p>
            <a:pPr>
              <a:defRPr/>
            </a:pPr>
            <a:r>
              <a:rPr lang="en-US" b="1" dirty="0" smtClean="0"/>
              <a:t>What </a:t>
            </a:r>
            <a:r>
              <a:rPr lang="en-US" b="1" dirty="0"/>
              <a:t>would be the appropriate initial               treatment?                                                              </a:t>
            </a:r>
          </a:p>
          <a:p>
            <a:pPr>
              <a:buFont typeface="Wingdings" panose="05000000000000000000" pitchFamily="2" charset="2"/>
              <a:buNone/>
              <a:defRPr/>
            </a:pPr>
            <a:endParaRPr lang="en-US" dirty="0"/>
          </a:p>
        </p:txBody>
      </p:sp>
    </p:spTree>
    <p:extLst>
      <p:ext uri="{BB962C8B-B14F-4D97-AF65-F5344CB8AC3E}">
        <p14:creationId xmlns:p14="http://schemas.microsoft.com/office/powerpoint/2010/main" val="2026440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Grp="1" noChangeAspect="1" noChangeArrowheads="1"/>
          </p:cNvPicPr>
          <p:nvPr>
            <p:ph idx="1"/>
          </p:nvPr>
        </p:nvPicPr>
        <p:blipFill>
          <a:blip r:embed="rId2"/>
          <a:srcRect/>
          <a:stretch>
            <a:fillRect/>
          </a:stretch>
        </p:blipFill>
        <p:spPr bwMode="auto">
          <a:xfrm>
            <a:off x="0" y="0"/>
            <a:ext cx="9144000" cy="6858000"/>
          </a:xfrm>
          <a:prstGeom prst="rect">
            <a:avLst/>
          </a:prstGeom>
          <a:noFill/>
          <a:ln w="9525">
            <a:noFill/>
            <a:miter lim="800000"/>
            <a:headEnd/>
            <a:tailEnd/>
          </a:ln>
          <a:effectLst/>
        </p:spPr>
      </p:pic>
    </p:spTree>
    <p:extLst>
      <p:ext uri="{BB962C8B-B14F-4D97-AF65-F5344CB8AC3E}">
        <p14:creationId xmlns:p14="http://schemas.microsoft.com/office/powerpoint/2010/main" val="160274987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362" name="Rectangle 2">
            <a:extLst>
              <a:ext uri="{FF2B5EF4-FFF2-40B4-BE49-F238E27FC236}">
                <a16:creationId xmlns:a16="http://schemas.microsoft.com/office/drawing/2014/main" id="{D649DABA-4F70-9284-8EE9-ABD0C6BBB3CD}"/>
              </a:ext>
            </a:extLst>
          </p:cNvPr>
          <p:cNvSpPr>
            <a:spLocks noGrp="1" noChangeArrowheads="1"/>
          </p:cNvSpPr>
          <p:nvPr>
            <p:ph type="title"/>
          </p:nvPr>
        </p:nvSpPr>
        <p:spPr>
          <a:xfrm>
            <a:off x="457200" y="152400"/>
            <a:ext cx="8229600" cy="685800"/>
          </a:xfrm>
        </p:spPr>
        <p:style>
          <a:lnRef idx="0">
            <a:schemeClr val="accent5"/>
          </a:lnRef>
          <a:fillRef idx="3">
            <a:schemeClr val="accent5"/>
          </a:fillRef>
          <a:effectRef idx="3">
            <a:schemeClr val="accent5"/>
          </a:effectRef>
          <a:fontRef idx="minor">
            <a:schemeClr val="lt1"/>
          </a:fontRef>
        </p:style>
        <p:txBody>
          <a:bodyPr>
            <a:normAutofit fontScale="90000"/>
          </a:bodyPr>
          <a:lstStyle/>
          <a:p>
            <a:pPr algn="l">
              <a:defRPr/>
            </a:pPr>
            <a:r>
              <a:rPr lang="en-US" sz="3100" b="1" dirty="0" smtClean="0">
                <a:solidFill>
                  <a:schemeClr val="bg1"/>
                </a:solidFill>
                <a:latin typeface="Times New Roman" pitchFamily="18" charset="0"/>
                <a:cs typeface="Times New Roman" pitchFamily="18" charset="0"/>
              </a:rPr>
              <a:t>Group </a:t>
            </a:r>
            <a:r>
              <a:rPr lang="en-US" sz="3100" b="1" dirty="0">
                <a:solidFill>
                  <a:schemeClr val="bg1"/>
                </a:solidFill>
                <a:latin typeface="Times New Roman" pitchFamily="18" charset="0"/>
                <a:cs typeface="Times New Roman" pitchFamily="18" charset="0"/>
              </a:rPr>
              <a:t>I: </a:t>
            </a:r>
            <a:r>
              <a:rPr lang="en-US" sz="3100" b="1" dirty="0" smtClean="0">
                <a:solidFill>
                  <a:schemeClr val="bg1"/>
                </a:solidFill>
                <a:latin typeface="Times New Roman" pitchFamily="18" charset="0"/>
                <a:cs typeface="Times New Roman" pitchFamily="18" charset="0"/>
              </a:rPr>
              <a:t>Outpatients but no </a:t>
            </a:r>
            <a:r>
              <a:rPr lang="en-US" altLang="en-US" sz="3100" b="1" dirty="0" smtClean="0">
                <a:solidFill>
                  <a:schemeClr val="bg1"/>
                </a:solidFill>
                <a:latin typeface="Times New Roman" panose="02020603050405020304" pitchFamily="18" charset="0"/>
                <a:cs typeface="Times New Roman" panose="02020603050405020304" pitchFamily="18" charset="0"/>
              </a:rPr>
              <a:t>Comorbidities</a:t>
            </a:r>
            <a:r>
              <a:rPr lang="en-US" sz="2700" b="1" dirty="0">
                <a:latin typeface="Times New Roman" pitchFamily="18" charset="0"/>
                <a:cs typeface="Times New Roman" pitchFamily="18" charset="0"/>
              </a:rPr>
              <a:t/>
            </a:r>
            <a:br>
              <a:rPr lang="en-US" sz="2700" b="1" dirty="0">
                <a:latin typeface="Times New Roman" pitchFamily="18" charset="0"/>
                <a:cs typeface="Times New Roman" pitchFamily="18" charset="0"/>
              </a:rPr>
            </a:br>
            <a:endParaRPr lang="en-US" sz="1800" b="1" dirty="0">
              <a:latin typeface="Times New Roman" pitchFamily="18" charset="0"/>
              <a:cs typeface="Times New Roman" pitchFamily="18" charset="0"/>
            </a:endParaRPr>
          </a:p>
        </p:txBody>
      </p:sp>
      <p:sp>
        <p:nvSpPr>
          <p:cNvPr id="54275" name="Rectangle 3">
            <a:extLst>
              <a:ext uri="{FF2B5EF4-FFF2-40B4-BE49-F238E27FC236}">
                <a16:creationId xmlns:a16="http://schemas.microsoft.com/office/drawing/2014/main" id="{84D295DA-265E-86C0-CF72-8A902B3DE88A}"/>
              </a:ext>
            </a:extLst>
          </p:cNvPr>
          <p:cNvSpPr>
            <a:spLocks noGrp="1" noChangeArrowheads="1"/>
          </p:cNvSpPr>
          <p:nvPr>
            <p:ph idx="1"/>
          </p:nvPr>
        </p:nvSpPr>
        <p:spPr>
          <a:xfrm>
            <a:off x="4191000" y="1219200"/>
            <a:ext cx="4495800" cy="4572000"/>
          </a:xfrm>
          <a:solidFill>
            <a:schemeClr val="accent3">
              <a:lumMod val="20000"/>
              <a:lumOff val="80000"/>
            </a:schemeClr>
          </a:solidFill>
        </p:spPr>
        <p:txBody>
          <a:bodyPr/>
          <a:lstStyle/>
          <a:p>
            <a:pPr>
              <a:buFont typeface="Wingdings" panose="05000000000000000000" pitchFamily="2" charset="2"/>
              <a:buNone/>
            </a:pPr>
            <a:r>
              <a:rPr lang="en-US" altLang="en-US" sz="2000" b="1" dirty="0">
                <a:latin typeface="Times New Roman" panose="02020603050405020304" pitchFamily="18" charset="0"/>
                <a:cs typeface="Times New Roman" panose="02020603050405020304" pitchFamily="18" charset="0"/>
              </a:rPr>
              <a:t>    </a:t>
            </a:r>
            <a:r>
              <a:rPr lang="en-US" altLang="en-US" sz="2000" b="1" dirty="0" smtClean="0">
                <a:latin typeface="Times New Roman" panose="02020603050405020304" pitchFamily="18" charset="0"/>
                <a:cs typeface="Times New Roman" panose="02020603050405020304" pitchFamily="18" charset="0"/>
              </a:rPr>
              <a:t> </a:t>
            </a:r>
            <a:r>
              <a:rPr lang="en-US" altLang="en-US" sz="2400" b="1" dirty="0" smtClean="0">
                <a:solidFill>
                  <a:srgbClr val="C00000"/>
                </a:solidFill>
                <a:latin typeface="Times New Roman" panose="02020603050405020304" pitchFamily="18" charset="0"/>
                <a:cs typeface="Times New Roman" panose="02020603050405020304" pitchFamily="18" charset="0"/>
              </a:rPr>
              <a:t>Therapy</a:t>
            </a:r>
            <a:endParaRPr lang="en-US" altLang="en-US" sz="2400" b="1" dirty="0">
              <a:solidFill>
                <a:srgbClr val="C00000"/>
              </a:solidFill>
              <a:latin typeface="Times New Roman" panose="02020603050405020304" pitchFamily="18" charset="0"/>
              <a:cs typeface="Times New Roman" panose="02020603050405020304" pitchFamily="18" charset="0"/>
            </a:endParaRPr>
          </a:p>
          <a:p>
            <a:pPr>
              <a:buFont typeface="Wingdings" panose="05000000000000000000" pitchFamily="2" charset="2"/>
              <a:buNone/>
            </a:pPr>
            <a:r>
              <a:rPr lang="en-US" altLang="en-US" sz="2400" b="1" dirty="0" smtClean="0">
                <a:latin typeface="Times New Roman" panose="02020603050405020304" pitchFamily="18" charset="0"/>
                <a:cs typeface="Times New Roman" panose="02020603050405020304" pitchFamily="18" charset="0"/>
              </a:rPr>
              <a:t>     Macrolide:</a:t>
            </a:r>
            <a:endParaRPr lang="en-US" altLang="en-US" sz="1800" b="1" dirty="0" smtClean="0">
              <a:latin typeface="Times New Roman" panose="02020603050405020304" pitchFamily="18" charset="0"/>
              <a:cs typeface="Times New Roman" panose="02020603050405020304" pitchFamily="18" charset="0"/>
            </a:endParaRPr>
          </a:p>
          <a:p>
            <a:pPr lvl="1"/>
            <a:r>
              <a:rPr lang="en-US" altLang="en-US" sz="2400" dirty="0" smtClean="0">
                <a:latin typeface="Times New Roman" panose="02020603050405020304" pitchFamily="18" charset="0"/>
                <a:cs typeface="Times New Roman" panose="02020603050405020304" pitchFamily="18" charset="0"/>
              </a:rPr>
              <a:t>Azithromycin500mg once or </a:t>
            </a:r>
          </a:p>
          <a:p>
            <a:pPr lvl="1"/>
            <a:r>
              <a:rPr lang="en-US" altLang="en-US" sz="2400" dirty="0" smtClean="0">
                <a:latin typeface="Times New Roman" panose="02020603050405020304" pitchFamily="18" charset="0"/>
                <a:cs typeface="Times New Roman" panose="02020603050405020304" pitchFamily="18" charset="0"/>
              </a:rPr>
              <a:t>Clarithromycin 500mg bid</a:t>
            </a:r>
          </a:p>
          <a:p>
            <a:pPr marL="457200" lvl="1" indent="0">
              <a:buNone/>
            </a:pPr>
            <a:r>
              <a:rPr lang="en-US" altLang="en-US" sz="2000" b="1" dirty="0" smtClean="0">
                <a:solidFill>
                  <a:srgbClr val="00B050"/>
                </a:solidFill>
                <a:latin typeface="Candara" panose="020E0502030303020204" pitchFamily="34" charset="0"/>
                <a:cs typeface="Times New Roman" panose="02020603050405020304" pitchFamily="18" charset="0"/>
              </a:rPr>
              <a:t>            “ Strong Recom.”</a:t>
            </a:r>
          </a:p>
          <a:p>
            <a:pPr marL="457200" lvl="1" indent="0">
              <a:buNone/>
            </a:pPr>
            <a:r>
              <a:rPr lang="en-US" altLang="en-US" sz="2800" b="1" dirty="0" smtClean="0">
                <a:latin typeface="Times New Roman" panose="02020603050405020304" pitchFamily="18" charset="0"/>
                <a:cs typeface="Times New Roman" panose="02020603050405020304" pitchFamily="18" charset="0"/>
              </a:rPr>
              <a:t>            or  </a:t>
            </a:r>
          </a:p>
          <a:p>
            <a:pPr lvl="1"/>
            <a:r>
              <a:rPr lang="en-US" sz="2400" dirty="0" smtClean="0"/>
              <a:t>Amoxicillin </a:t>
            </a:r>
            <a:r>
              <a:rPr lang="en-US" altLang="en-US" sz="2400" dirty="0" smtClean="0">
                <a:latin typeface="Times New Roman" panose="02020603050405020304" pitchFamily="18" charset="0"/>
                <a:cs typeface="Times New Roman" panose="02020603050405020304" pitchFamily="18" charset="0"/>
              </a:rPr>
              <a:t>or</a:t>
            </a:r>
            <a:endParaRPr lang="en-US" sz="2400" dirty="0" smtClean="0"/>
          </a:p>
          <a:p>
            <a:pPr lvl="1"/>
            <a:r>
              <a:rPr lang="en-US" sz="2400" dirty="0" smtClean="0"/>
              <a:t>amoxicillin + clavulanic acid</a:t>
            </a:r>
          </a:p>
          <a:p>
            <a:pPr lvl="1"/>
            <a:r>
              <a:rPr lang="en-US" sz="2400" dirty="0"/>
              <a:t>D</a:t>
            </a:r>
            <a:r>
              <a:rPr lang="en-US" sz="2400" dirty="0" smtClean="0"/>
              <a:t>oxycycline</a:t>
            </a:r>
            <a:endParaRPr lang="en-US" sz="2000" dirty="0" smtClean="0"/>
          </a:p>
          <a:p>
            <a:pPr marL="457200" lvl="1" indent="0">
              <a:buNone/>
            </a:pPr>
            <a:r>
              <a:rPr lang="en-US" altLang="en-US" sz="2000" b="1" dirty="0" smtClean="0">
                <a:solidFill>
                  <a:srgbClr val="00B050"/>
                </a:solidFill>
                <a:latin typeface="Candara" panose="020E0502030303020204" pitchFamily="34" charset="0"/>
                <a:cs typeface="Times New Roman" panose="02020603050405020304" pitchFamily="18" charset="0"/>
              </a:rPr>
              <a:t>               “ Weak </a:t>
            </a:r>
            <a:r>
              <a:rPr lang="en-US" altLang="en-US" sz="2000" b="1" dirty="0">
                <a:solidFill>
                  <a:srgbClr val="00B050"/>
                </a:solidFill>
                <a:latin typeface="Candara" panose="020E0502030303020204" pitchFamily="34" charset="0"/>
                <a:cs typeface="Times New Roman" panose="02020603050405020304" pitchFamily="18" charset="0"/>
              </a:rPr>
              <a:t>Recom.”</a:t>
            </a:r>
          </a:p>
          <a:p>
            <a:pPr marL="0" indent="0">
              <a:buNone/>
            </a:pPr>
            <a:endParaRPr lang="en-US" altLang="en-US" sz="1800" b="1" dirty="0">
              <a:latin typeface="Times New Roman" panose="02020603050405020304" pitchFamily="18" charset="0"/>
              <a:cs typeface="Times New Roman" panose="02020603050405020304" pitchFamily="18" charset="0"/>
            </a:endParaRPr>
          </a:p>
        </p:txBody>
      </p:sp>
      <p:sp>
        <p:nvSpPr>
          <p:cNvPr id="15365" name="Rectangle 5">
            <a:extLst>
              <a:ext uri="{FF2B5EF4-FFF2-40B4-BE49-F238E27FC236}">
                <a16:creationId xmlns:a16="http://schemas.microsoft.com/office/drawing/2014/main" id="{046D9F10-9169-40E3-B76D-65ED9C1EFACE}"/>
              </a:ext>
            </a:extLst>
          </p:cNvPr>
          <p:cNvSpPr>
            <a:spLocks noChangeArrowheads="1"/>
          </p:cNvSpPr>
          <p:nvPr/>
        </p:nvSpPr>
        <p:spPr bwMode="auto">
          <a:xfrm>
            <a:off x="457200" y="1219200"/>
            <a:ext cx="3505200" cy="4572000"/>
          </a:xfrm>
          <a:prstGeom prst="rect">
            <a:avLst/>
          </a:prstGeom>
          <a:solidFill>
            <a:schemeClr val="accent6">
              <a:lumMod val="20000"/>
              <a:lumOff val="80000"/>
            </a:schemeClr>
          </a:solidFill>
          <a:ln w="9525">
            <a:noFill/>
            <a:miter lim="800000"/>
            <a:headEnd/>
            <a:tailEnd/>
          </a:ln>
          <a:effectLst/>
        </p:spPr>
        <p:txBody>
          <a:bodyPr/>
          <a:lstStyle/>
          <a:p>
            <a:pPr marL="342900" marR="0" lvl="0" indent="-342900" algn="l" defTabSz="914400" rtl="0" eaLnBrk="1" fontAlgn="base" latinLnBrk="0" hangingPunct="1">
              <a:lnSpc>
                <a:spcPct val="90000"/>
              </a:lnSpc>
              <a:spcBef>
                <a:spcPct val="20000"/>
              </a:spcBef>
              <a:spcAft>
                <a:spcPct val="0"/>
              </a:spcAft>
              <a:buClr>
                <a:srgbClr val="0000FF"/>
              </a:buClr>
              <a:buSzPct val="80000"/>
              <a:buFont typeface="Wingdings" pitchFamily="2" charset="2"/>
              <a:buNone/>
              <a:tabLst/>
              <a:defRPr/>
            </a:pPr>
            <a:r>
              <a:rPr kumimoji="0" lang="en-US" sz="24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0" i="0" u="sng"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Organisms</a:t>
            </a:r>
            <a:r>
              <a:rPr kumimoji="0" lang="en-US" sz="24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p>
          <a:p>
            <a:pPr marL="342900" marR="0" lvl="0" indent="-342900" algn="l" defTabSz="914400" rtl="0" eaLnBrk="1" fontAlgn="base" latinLnBrk="0" hangingPunct="1">
              <a:lnSpc>
                <a:spcPct val="90000"/>
              </a:lnSpc>
              <a:spcBef>
                <a:spcPct val="20000"/>
              </a:spcBef>
              <a:spcAft>
                <a:spcPct val="0"/>
              </a:spcAft>
              <a:buClr>
                <a:srgbClr val="0000FF"/>
              </a:buClr>
              <a:buSzPct val="80000"/>
              <a:buFont typeface="Arial"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Streptococcus </a:t>
            </a:r>
            <a:r>
              <a:rPr kumimoji="0" lang="en-US"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pneumoniae</a:t>
            </a:r>
          </a:p>
          <a:p>
            <a:pPr marL="342900" marR="0" lvl="0" indent="-342900" algn="l" defTabSz="914400" rtl="0" eaLnBrk="1" fontAlgn="base" latinLnBrk="0" hangingPunct="1">
              <a:lnSpc>
                <a:spcPct val="90000"/>
              </a:lnSpc>
              <a:spcBef>
                <a:spcPct val="20000"/>
              </a:spcBef>
              <a:spcAft>
                <a:spcPct val="0"/>
              </a:spcAft>
              <a:buClr>
                <a:srgbClr val="0000FF"/>
              </a:buClr>
              <a:buSzPct val="80000"/>
              <a:buFont typeface="Arial" pitchFamily="34" charset="0"/>
              <a:buChar char="•"/>
              <a:tabLst/>
              <a:defRPr/>
            </a:pPr>
            <a:endParaRPr kumimoji="0" lang="en-US" sz="18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endParaRPr>
          </a:p>
          <a:p>
            <a:pPr marL="342900" marR="0" lvl="0" indent="-342900" algn="l" defTabSz="914400" rtl="0" eaLnBrk="1" fontAlgn="base" latinLnBrk="0" hangingPunct="1">
              <a:lnSpc>
                <a:spcPct val="90000"/>
              </a:lnSpc>
              <a:spcBef>
                <a:spcPct val="20000"/>
              </a:spcBef>
              <a:spcAft>
                <a:spcPct val="0"/>
              </a:spcAft>
              <a:buClr>
                <a:srgbClr val="0000FF"/>
              </a:buClr>
              <a:buSzPct val="80000"/>
              <a:buFont typeface="Arial"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Hemophilus influenza</a:t>
            </a:r>
          </a:p>
          <a:p>
            <a:pPr marL="342900" marR="0" lvl="0" indent="-342900" algn="l" defTabSz="914400" rtl="0" eaLnBrk="1" fontAlgn="base" latinLnBrk="0" hangingPunct="1">
              <a:lnSpc>
                <a:spcPct val="90000"/>
              </a:lnSpc>
              <a:spcBef>
                <a:spcPct val="20000"/>
              </a:spcBef>
              <a:spcAft>
                <a:spcPct val="0"/>
              </a:spcAft>
              <a:buClr>
                <a:srgbClr val="0000FF"/>
              </a:buClr>
              <a:buSzPct val="80000"/>
              <a:buFont typeface="Arial" pitchFamily="34" charset="0"/>
              <a:buChar char="•"/>
              <a:tabLst/>
              <a:defRPr/>
            </a:pPr>
            <a:endParaRPr kumimoji="0" lang="en-US" sz="18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endParaRPr>
          </a:p>
          <a:p>
            <a:pPr marL="342900" marR="0" lvl="0" indent="-342900" algn="l" defTabSz="914400" rtl="0" eaLnBrk="1" fontAlgn="base" latinLnBrk="0" hangingPunct="1">
              <a:lnSpc>
                <a:spcPct val="90000"/>
              </a:lnSpc>
              <a:spcBef>
                <a:spcPct val="20000"/>
              </a:spcBef>
              <a:spcAft>
                <a:spcPct val="0"/>
              </a:spcAft>
              <a:buClr>
                <a:srgbClr val="0000FF"/>
              </a:buClr>
              <a:buSzPct val="80000"/>
              <a:buFont typeface="Arial"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Mycoplasma </a:t>
            </a:r>
            <a:r>
              <a:rPr kumimoji="0" lang="en-US"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pneumoniae</a:t>
            </a:r>
          </a:p>
          <a:p>
            <a:pPr marL="342900" marR="0" lvl="0" indent="-342900" algn="l" defTabSz="914400" rtl="0" eaLnBrk="1" fontAlgn="base" latinLnBrk="0" hangingPunct="1">
              <a:lnSpc>
                <a:spcPct val="90000"/>
              </a:lnSpc>
              <a:spcBef>
                <a:spcPct val="20000"/>
              </a:spcBef>
              <a:spcAft>
                <a:spcPct val="0"/>
              </a:spcAft>
              <a:buClr>
                <a:srgbClr val="0000FF"/>
              </a:buClr>
              <a:buSzPct val="80000"/>
              <a:buFont typeface="Arial"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Chlamydia </a:t>
            </a:r>
            <a:r>
              <a:rPr kumimoji="0" lang="en-US"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pneumoniae </a:t>
            </a:r>
          </a:p>
          <a:p>
            <a:pPr marL="342900" marR="0" lvl="0" indent="-342900" algn="l" defTabSz="914400" rtl="0" eaLnBrk="1" fontAlgn="base" latinLnBrk="0" hangingPunct="1">
              <a:lnSpc>
                <a:spcPct val="90000"/>
              </a:lnSpc>
              <a:spcBef>
                <a:spcPct val="20000"/>
              </a:spcBef>
              <a:spcAft>
                <a:spcPct val="0"/>
              </a:spcAft>
              <a:buClr>
                <a:srgbClr val="0000FF"/>
              </a:buClr>
              <a:buSzPct val="80000"/>
              <a:buFont typeface="Arial"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Legionella spp</a:t>
            </a:r>
            <a:endParaRPr kumimoji="0" lang="en-US"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a:p>
            <a:pPr marL="342900" marR="0" lvl="0" indent="-342900" algn="l" defTabSz="914400" rtl="0" eaLnBrk="1" fontAlgn="base" latinLnBrk="0" hangingPunct="1">
              <a:lnSpc>
                <a:spcPct val="90000"/>
              </a:lnSpc>
              <a:spcBef>
                <a:spcPct val="20000"/>
              </a:spcBef>
              <a:spcAft>
                <a:spcPct val="0"/>
              </a:spcAft>
              <a:buClr>
                <a:srgbClr val="0000FF"/>
              </a:buClr>
              <a:buSzPct val="80000"/>
              <a:buFontTx/>
              <a:buNone/>
              <a:tabLst/>
              <a:defRPr/>
            </a:pPr>
            <a:endParaRPr kumimoji="0" lang="en-US" sz="18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endParaRPr>
          </a:p>
          <a:p>
            <a:pPr marL="342900" marR="0" lvl="0" indent="-342900" algn="l" defTabSz="914400" rtl="0" eaLnBrk="1" fontAlgn="base" latinLnBrk="0" hangingPunct="1">
              <a:lnSpc>
                <a:spcPct val="90000"/>
              </a:lnSpc>
              <a:spcBef>
                <a:spcPct val="20000"/>
              </a:spcBef>
              <a:spcAft>
                <a:spcPct val="0"/>
              </a:spcAft>
              <a:buClr>
                <a:srgbClr val="0000FF"/>
              </a:buClr>
              <a:buSzPct val="80000"/>
              <a:buFont typeface="Arial"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Respiratory </a:t>
            </a:r>
            <a:r>
              <a:rPr kumimoji="0" lang="en-US"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viruses</a:t>
            </a:r>
          </a:p>
          <a:p>
            <a:pPr marL="342900" marR="0" lvl="0" indent="-342900" algn="l" defTabSz="914400" rtl="0" eaLnBrk="1" fontAlgn="base" latinLnBrk="0" hangingPunct="1">
              <a:lnSpc>
                <a:spcPct val="90000"/>
              </a:lnSpc>
              <a:spcBef>
                <a:spcPct val="20000"/>
              </a:spcBef>
              <a:spcAft>
                <a:spcPct val="0"/>
              </a:spcAft>
              <a:buClr>
                <a:srgbClr val="0000FF"/>
              </a:buClr>
              <a:buSzPct val="80000"/>
              <a:buFont typeface="Wingdings" pitchFamily="2" charset="2"/>
              <a:buNone/>
              <a:tabLst/>
              <a:defRPr/>
            </a:pPr>
            <a:r>
              <a:rPr kumimoji="0" lang="en-US"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p>
          <a:p>
            <a:pPr marL="342900" marR="0" lvl="0" indent="-342900" algn="l" defTabSz="914400" rtl="0" eaLnBrk="1" fontAlgn="base" latinLnBrk="0" hangingPunct="1">
              <a:lnSpc>
                <a:spcPct val="90000"/>
              </a:lnSpc>
              <a:spcBef>
                <a:spcPct val="20000"/>
              </a:spcBef>
              <a:spcAft>
                <a:spcPct val="0"/>
              </a:spcAft>
              <a:buClr>
                <a:srgbClr val="0000FF"/>
              </a:buClr>
              <a:buSzPct val="80000"/>
              <a:buFont typeface="Wingdings" pitchFamily="2" charset="2"/>
              <a:buNone/>
              <a:tabLst/>
              <a:defRPr/>
            </a:pPr>
            <a:r>
              <a:rPr kumimoji="0" lang="en-US"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p>
          <a:p>
            <a:pPr marL="342900" marR="0" lvl="0" indent="-342900" algn="l" defTabSz="914400" rtl="0" eaLnBrk="1" fontAlgn="base" latinLnBrk="0" hangingPunct="1">
              <a:lnSpc>
                <a:spcPct val="90000"/>
              </a:lnSpc>
              <a:spcBef>
                <a:spcPct val="20000"/>
              </a:spcBef>
              <a:spcAft>
                <a:spcPct val="0"/>
              </a:spcAft>
              <a:buClr>
                <a:srgbClr val="0000FF"/>
              </a:buClr>
              <a:buSzPct val="80000"/>
              <a:buFont typeface="Wingdings" pitchFamily="2" charset="2"/>
              <a:buNone/>
              <a:tabLst/>
              <a:defRPr/>
            </a:pPr>
            <a:r>
              <a:rPr kumimoji="0" lang="en-US"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p>
        </p:txBody>
      </p:sp>
    </p:spTree>
    <p:extLst>
      <p:ext uri="{BB962C8B-B14F-4D97-AF65-F5344CB8AC3E}">
        <p14:creationId xmlns:p14="http://schemas.microsoft.com/office/powerpoint/2010/main" val="325374422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298" name="Rectangle 2">
            <a:extLst>
              <a:ext uri="{FF2B5EF4-FFF2-40B4-BE49-F238E27FC236}">
                <a16:creationId xmlns:a16="http://schemas.microsoft.com/office/drawing/2014/main" id="{DC2A4D58-E020-DF88-7618-AD6CB048B332}"/>
              </a:ext>
            </a:extLst>
          </p:cNvPr>
          <p:cNvSpPr>
            <a:spLocks noGrp="1" noChangeArrowheads="1"/>
          </p:cNvSpPr>
          <p:nvPr>
            <p:ph type="title"/>
          </p:nvPr>
        </p:nvSpPr>
        <p:spPr>
          <a:xfrm>
            <a:off x="381000" y="228600"/>
            <a:ext cx="8534400" cy="609600"/>
          </a:xfrm>
        </p:spPr>
        <p:style>
          <a:lnRef idx="0">
            <a:schemeClr val="accent5"/>
          </a:lnRef>
          <a:fillRef idx="3">
            <a:schemeClr val="accent5"/>
          </a:fillRef>
          <a:effectRef idx="3">
            <a:schemeClr val="accent5"/>
          </a:effectRef>
          <a:fontRef idx="minor">
            <a:schemeClr val="lt1"/>
          </a:fontRef>
        </p:style>
        <p:txBody>
          <a:bodyPr anchor="b"/>
          <a:lstStyle/>
          <a:p>
            <a:pPr algn="l"/>
            <a:r>
              <a:rPr lang="en-US" altLang="en-US" sz="2800" b="1" dirty="0" smtClean="0">
                <a:solidFill>
                  <a:schemeClr val="bg1"/>
                </a:solidFill>
                <a:latin typeface="Times New Roman" panose="02020603050405020304" pitchFamily="18" charset="0"/>
                <a:cs typeface="Times New Roman" panose="02020603050405020304" pitchFamily="18" charset="0"/>
              </a:rPr>
              <a:t>Group </a:t>
            </a:r>
            <a:r>
              <a:rPr lang="en-US" altLang="en-US" sz="2800" b="1" dirty="0">
                <a:solidFill>
                  <a:schemeClr val="bg1"/>
                </a:solidFill>
                <a:latin typeface="Times New Roman" panose="02020603050405020304" pitchFamily="18" charset="0"/>
                <a:cs typeface="Times New Roman" panose="02020603050405020304" pitchFamily="18" charset="0"/>
              </a:rPr>
              <a:t>ll: </a:t>
            </a:r>
            <a:r>
              <a:rPr lang="en-US" altLang="en-US" sz="2800" b="1" dirty="0" smtClean="0">
                <a:solidFill>
                  <a:schemeClr val="bg1"/>
                </a:solidFill>
                <a:latin typeface="Times New Roman" panose="02020603050405020304" pitchFamily="18" charset="0"/>
                <a:cs typeface="Times New Roman" panose="02020603050405020304" pitchFamily="18" charset="0"/>
              </a:rPr>
              <a:t> Outpatient, with Comorbidities</a:t>
            </a:r>
            <a:endParaRPr lang="en-US" altLang="en-US" sz="2800" b="1" dirty="0">
              <a:solidFill>
                <a:schemeClr val="bg1"/>
              </a:solidFill>
              <a:latin typeface="Times New Roman" panose="02020603050405020304" pitchFamily="18" charset="0"/>
              <a:cs typeface="Times New Roman" panose="02020603050405020304" pitchFamily="18" charset="0"/>
            </a:endParaRPr>
          </a:p>
        </p:txBody>
      </p:sp>
      <p:sp>
        <p:nvSpPr>
          <p:cNvPr id="55299" name="Rectangle 3">
            <a:extLst>
              <a:ext uri="{FF2B5EF4-FFF2-40B4-BE49-F238E27FC236}">
                <a16:creationId xmlns:a16="http://schemas.microsoft.com/office/drawing/2014/main" id="{B9C619AB-29C9-7641-05AC-2CE78BC139DB}"/>
              </a:ext>
            </a:extLst>
          </p:cNvPr>
          <p:cNvSpPr>
            <a:spLocks noGrp="1" noChangeArrowheads="1"/>
          </p:cNvSpPr>
          <p:nvPr>
            <p:ph idx="1"/>
          </p:nvPr>
        </p:nvSpPr>
        <p:spPr>
          <a:xfrm>
            <a:off x="304800" y="1143000"/>
            <a:ext cx="3733800" cy="5410200"/>
          </a:xfrm>
          <a:solidFill>
            <a:schemeClr val="accent6">
              <a:lumMod val="20000"/>
              <a:lumOff val="80000"/>
            </a:schemeClr>
          </a:solidFill>
        </p:spPr>
        <p:txBody>
          <a:bodyPr/>
          <a:lstStyle/>
          <a:p>
            <a:pPr>
              <a:lnSpc>
                <a:spcPct val="80000"/>
              </a:lnSpc>
              <a:buFont typeface="Wingdings" panose="05000000000000000000" pitchFamily="2" charset="2"/>
              <a:buNone/>
            </a:pPr>
            <a:r>
              <a:rPr lang="en-US" altLang="en-US" sz="2400" b="1" dirty="0">
                <a:latin typeface="Times New Roman" panose="02020603050405020304" pitchFamily="18" charset="0"/>
                <a:cs typeface="Times New Roman" panose="02020603050405020304" pitchFamily="18" charset="0"/>
              </a:rPr>
              <a:t>      </a:t>
            </a:r>
            <a:r>
              <a:rPr lang="en-US" altLang="en-US" sz="2000" b="1" u="sng" dirty="0">
                <a:latin typeface="Times New Roman" panose="02020603050405020304" pitchFamily="18" charset="0"/>
                <a:cs typeface="Times New Roman" panose="02020603050405020304" pitchFamily="18" charset="0"/>
              </a:rPr>
              <a:t>ORGANISMS </a:t>
            </a:r>
            <a:r>
              <a:rPr lang="en-US" altLang="en-US" sz="2000" b="1" dirty="0">
                <a:latin typeface="Times New Roman" panose="02020603050405020304" pitchFamily="18" charset="0"/>
                <a:cs typeface="Times New Roman" panose="02020603050405020304" pitchFamily="18" charset="0"/>
              </a:rPr>
              <a:t>                               </a:t>
            </a:r>
          </a:p>
          <a:p>
            <a:pPr>
              <a:lnSpc>
                <a:spcPct val="80000"/>
              </a:lnSpc>
            </a:pPr>
            <a:r>
              <a:rPr lang="en-US" altLang="en-US" sz="2000" dirty="0" smtClean="0">
                <a:latin typeface="Times New Roman" panose="02020603050405020304" pitchFamily="18" charset="0"/>
                <a:cs typeface="Times New Roman" panose="02020603050405020304" pitchFamily="18" charset="0"/>
              </a:rPr>
              <a:t>Strept. pneumoniae  (including </a:t>
            </a:r>
            <a:r>
              <a:rPr lang="en-US" altLang="en-US" sz="2000" dirty="0">
                <a:latin typeface="Times New Roman" panose="02020603050405020304" pitchFamily="18" charset="0"/>
                <a:cs typeface="Times New Roman" panose="02020603050405020304" pitchFamily="18" charset="0"/>
              </a:rPr>
              <a:t>DRSP</a:t>
            </a:r>
            <a:r>
              <a:rPr lang="en-US" altLang="en-US" sz="2000" dirty="0" smtClean="0">
                <a:latin typeface="Times New Roman" panose="02020603050405020304" pitchFamily="18" charset="0"/>
                <a:cs typeface="Times New Roman" panose="02020603050405020304" pitchFamily="18" charset="0"/>
              </a:rPr>
              <a:t>)</a:t>
            </a:r>
          </a:p>
          <a:p>
            <a:pPr>
              <a:lnSpc>
                <a:spcPct val="80000"/>
              </a:lnSpc>
            </a:pPr>
            <a:endParaRPr lang="en-US" altLang="en-US" sz="2000" dirty="0">
              <a:latin typeface="Times New Roman" panose="02020603050405020304" pitchFamily="18" charset="0"/>
              <a:cs typeface="Times New Roman" panose="02020603050405020304" pitchFamily="18" charset="0"/>
            </a:endParaRPr>
          </a:p>
          <a:p>
            <a:pPr>
              <a:lnSpc>
                <a:spcPct val="80000"/>
              </a:lnSpc>
            </a:pPr>
            <a:r>
              <a:rPr lang="en-US" altLang="en-US" sz="2000" dirty="0" smtClean="0">
                <a:latin typeface="Times New Roman" panose="02020603050405020304" pitchFamily="18" charset="0"/>
                <a:cs typeface="Times New Roman" panose="02020603050405020304" pitchFamily="18" charset="0"/>
              </a:rPr>
              <a:t>Hemophilus influenza</a:t>
            </a:r>
          </a:p>
          <a:p>
            <a:pPr>
              <a:lnSpc>
                <a:spcPct val="80000"/>
              </a:lnSpc>
              <a:buNone/>
            </a:pPr>
            <a:endParaRPr lang="en-US" altLang="en-US" sz="2000" dirty="0" smtClean="0">
              <a:latin typeface="Times New Roman" panose="02020603050405020304" pitchFamily="18" charset="0"/>
              <a:cs typeface="Times New Roman" panose="02020603050405020304" pitchFamily="18" charset="0"/>
            </a:endParaRPr>
          </a:p>
          <a:p>
            <a:pPr>
              <a:lnSpc>
                <a:spcPct val="80000"/>
              </a:lnSpc>
            </a:pPr>
            <a:r>
              <a:rPr lang="en-US" altLang="en-US" sz="2000" dirty="0" smtClean="0">
                <a:latin typeface="Times New Roman" panose="02020603050405020304" pitchFamily="18" charset="0"/>
                <a:cs typeface="Times New Roman" panose="02020603050405020304" pitchFamily="18" charset="0"/>
              </a:rPr>
              <a:t>Mycoplasma pneumoniae</a:t>
            </a:r>
          </a:p>
          <a:p>
            <a:pPr>
              <a:lnSpc>
                <a:spcPct val="80000"/>
              </a:lnSpc>
            </a:pPr>
            <a:r>
              <a:rPr lang="en-US" altLang="en-US" sz="2000" dirty="0" smtClean="0">
                <a:latin typeface="Times New Roman" panose="02020603050405020304" pitchFamily="18" charset="0"/>
                <a:cs typeface="Times New Roman" panose="02020603050405020304" pitchFamily="18" charset="0"/>
              </a:rPr>
              <a:t>Chlamydia </a:t>
            </a:r>
            <a:r>
              <a:rPr lang="en-US" altLang="en-US" sz="2000" dirty="0">
                <a:latin typeface="Times New Roman" panose="02020603050405020304" pitchFamily="18" charset="0"/>
                <a:cs typeface="Times New Roman" panose="02020603050405020304" pitchFamily="18" charset="0"/>
              </a:rPr>
              <a:t>pneumoniae</a:t>
            </a:r>
          </a:p>
          <a:p>
            <a:pPr>
              <a:lnSpc>
                <a:spcPct val="80000"/>
              </a:lnSpc>
            </a:pPr>
            <a:r>
              <a:rPr lang="en-US" altLang="en-US" sz="2000" dirty="0" smtClean="0">
                <a:latin typeface="Times New Roman" panose="02020603050405020304" pitchFamily="18" charset="0"/>
                <a:cs typeface="Times New Roman" panose="02020603050405020304" pitchFamily="18" charset="0"/>
              </a:rPr>
              <a:t>Legionella spp.,</a:t>
            </a:r>
          </a:p>
          <a:p>
            <a:pPr>
              <a:lnSpc>
                <a:spcPct val="80000"/>
              </a:lnSpc>
              <a:buNone/>
            </a:pPr>
            <a:endParaRPr lang="en-US" altLang="en-US" sz="2000" u="sng" dirty="0" smtClean="0">
              <a:latin typeface="Times New Roman" panose="02020603050405020304" pitchFamily="18" charset="0"/>
              <a:cs typeface="Times New Roman" panose="02020603050405020304" pitchFamily="18" charset="0"/>
            </a:endParaRPr>
          </a:p>
          <a:p>
            <a:pPr>
              <a:lnSpc>
                <a:spcPct val="80000"/>
              </a:lnSpc>
            </a:pPr>
            <a:r>
              <a:rPr lang="en-US" altLang="en-US" sz="2000" u="sng" dirty="0" smtClean="0">
                <a:solidFill>
                  <a:srgbClr val="FF0000"/>
                </a:solidFill>
                <a:latin typeface="Times New Roman" panose="02020603050405020304" pitchFamily="18" charset="0"/>
                <a:cs typeface="Times New Roman" panose="02020603050405020304" pitchFamily="18" charset="0"/>
              </a:rPr>
              <a:t>Enteric </a:t>
            </a:r>
            <a:r>
              <a:rPr lang="en-US" altLang="en-US" sz="2000" u="sng" dirty="0">
                <a:solidFill>
                  <a:srgbClr val="FF0000"/>
                </a:solidFill>
                <a:latin typeface="Times New Roman" panose="02020603050405020304" pitchFamily="18" charset="0"/>
                <a:cs typeface="Times New Roman" panose="02020603050405020304" pitchFamily="18" charset="0"/>
              </a:rPr>
              <a:t>gram-negatives</a:t>
            </a:r>
          </a:p>
          <a:p>
            <a:pPr>
              <a:lnSpc>
                <a:spcPct val="80000"/>
              </a:lnSpc>
            </a:pPr>
            <a:r>
              <a:rPr lang="en-US" altLang="en-US" sz="2000" dirty="0" smtClean="0">
                <a:solidFill>
                  <a:srgbClr val="FF0000"/>
                </a:solidFill>
                <a:latin typeface="Times New Roman" panose="02020603050405020304" pitchFamily="18" charset="0"/>
                <a:cs typeface="Times New Roman" panose="02020603050405020304" pitchFamily="18" charset="0"/>
              </a:rPr>
              <a:t>Aspiration( anaerobes)</a:t>
            </a:r>
          </a:p>
          <a:p>
            <a:pPr>
              <a:lnSpc>
                <a:spcPct val="80000"/>
              </a:lnSpc>
            </a:pPr>
            <a:endParaRPr lang="en-US" altLang="en-US" sz="2000" dirty="0" smtClean="0">
              <a:latin typeface="Times New Roman" panose="02020603050405020304" pitchFamily="18" charset="0"/>
              <a:cs typeface="Times New Roman" panose="02020603050405020304" pitchFamily="18" charset="0"/>
            </a:endParaRPr>
          </a:p>
          <a:p>
            <a:pPr>
              <a:lnSpc>
                <a:spcPct val="80000"/>
              </a:lnSpc>
            </a:pPr>
            <a:r>
              <a:rPr lang="en-US" altLang="en-US" sz="2000" dirty="0" smtClean="0">
                <a:latin typeface="Times New Roman" panose="02020603050405020304" pitchFamily="18" charset="0"/>
                <a:cs typeface="Times New Roman" panose="02020603050405020304" pitchFamily="18" charset="0"/>
              </a:rPr>
              <a:t>Respiratory viruses</a:t>
            </a:r>
            <a:endParaRPr lang="en-US" altLang="en-US" sz="2400" dirty="0" smtClean="0">
              <a:latin typeface="Times New Roman" panose="02020603050405020304" pitchFamily="18" charset="0"/>
              <a:cs typeface="Times New Roman" panose="02020603050405020304" pitchFamily="18" charset="0"/>
            </a:endParaRPr>
          </a:p>
        </p:txBody>
      </p:sp>
      <p:sp>
        <p:nvSpPr>
          <p:cNvPr id="21509" name="Rectangle 5">
            <a:extLst>
              <a:ext uri="{FF2B5EF4-FFF2-40B4-BE49-F238E27FC236}">
                <a16:creationId xmlns:a16="http://schemas.microsoft.com/office/drawing/2014/main" id="{C4007650-D088-2A3C-E9F2-BFB74A975163}"/>
              </a:ext>
            </a:extLst>
          </p:cNvPr>
          <p:cNvSpPr>
            <a:spLocks noChangeArrowheads="1"/>
          </p:cNvSpPr>
          <p:nvPr/>
        </p:nvSpPr>
        <p:spPr bwMode="auto">
          <a:xfrm>
            <a:off x="4572000" y="1143000"/>
            <a:ext cx="4267200" cy="5486400"/>
          </a:xfrm>
          <a:prstGeom prst="rect">
            <a:avLst/>
          </a:prstGeom>
          <a:solidFill>
            <a:schemeClr val="accent4">
              <a:lumMod val="20000"/>
              <a:lumOff val="80000"/>
            </a:schemeClr>
          </a:solidFill>
          <a:ln w="9525">
            <a:noFill/>
            <a:miter lim="800000"/>
            <a:headEnd/>
            <a:tailEnd/>
          </a:ln>
          <a:effectLst/>
        </p:spPr>
        <p:txBody>
          <a:bodyPr/>
          <a:lstStyle/>
          <a:p>
            <a:pPr marL="342900" marR="0" lvl="0" indent="-342900" algn="l" defTabSz="914400" rtl="0" eaLnBrk="1" fontAlgn="base" latinLnBrk="0" hangingPunct="1">
              <a:lnSpc>
                <a:spcPct val="100000"/>
              </a:lnSpc>
              <a:spcBef>
                <a:spcPct val="20000"/>
              </a:spcBef>
              <a:spcAft>
                <a:spcPct val="0"/>
              </a:spcAft>
              <a:buClr>
                <a:srgbClr val="0000FF"/>
              </a:buClr>
              <a:buSzPct val="80000"/>
              <a:buFont typeface="Wingdings" pitchFamily="2" charset="2"/>
              <a:buNone/>
              <a:tabLst/>
              <a:defRPr/>
            </a:pPr>
            <a:r>
              <a:rPr kumimoji="0" lang="en-US" sz="20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4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Therapy </a:t>
            </a:r>
          </a:p>
          <a:p>
            <a:pPr marL="342900" marR="0" lvl="0" indent="-342900" algn="l" defTabSz="914400" rtl="0" eaLnBrk="1" fontAlgn="base" latinLnBrk="0" hangingPunct="1">
              <a:lnSpc>
                <a:spcPct val="100000"/>
              </a:lnSpc>
              <a:spcBef>
                <a:spcPct val="20000"/>
              </a:spcBef>
              <a:spcAft>
                <a:spcPct val="0"/>
              </a:spcAft>
              <a:buClr>
                <a:srgbClr val="0000FF"/>
              </a:buClr>
              <a:buSzPct val="80000"/>
              <a:buFont typeface="Wingdings" pitchFamily="2" charset="2"/>
              <a:buNone/>
              <a:tabLst/>
              <a:defRPr/>
            </a:pPr>
            <a:r>
              <a:rPr kumimoji="0" lang="en-US" sz="20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en-US" sz="2000" b="1"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   </a:t>
            </a:r>
            <a:r>
              <a:rPr kumimoji="0" lang="el-GR" sz="1900" b="1"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β </a:t>
            </a:r>
            <a:r>
              <a:rPr kumimoji="0" lang="en-US" sz="19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Lactam </a:t>
            </a:r>
            <a:r>
              <a:rPr kumimoji="0" lang="en-US" sz="1900" b="1"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a:t>
            </a:r>
          </a:p>
          <a:p>
            <a:pPr marL="800100" marR="0" lvl="1" indent="-342900" algn="l" defTabSz="914400" rtl="0" eaLnBrk="1" fontAlgn="base" latinLnBrk="0" hangingPunct="1">
              <a:lnSpc>
                <a:spcPct val="100000"/>
              </a:lnSpc>
              <a:spcBef>
                <a:spcPct val="20000"/>
              </a:spcBef>
              <a:spcAft>
                <a:spcPct val="0"/>
              </a:spcAft>
              <a:buClr>
                <a:srgbClr val="0000FF"/>
              </a:buClr>
              <a:buSzPct val="80000"/>
              <a:buFont typeface="Arial" pitchFamily="34" charset="0"/>
              <a:buChar char="•"/>
              <a:tabLst/>
              <a:defRPr/>
            </a:pPr>
            <a:r>
              <a:rPr kumimoji="0" lang="en-US" sz="19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Amoxicillin,</a:t>
            </a:r>
          </a:p>
          <a:p>
            <a:pPr marL="800100" marR="0" lvl="1" indent="-342900" algn="l" defTabSz="914400" rtl="0" eaLnBrk="1" fontAlgn="base" latinLnBrk="0" hangingPunct="1">
              <a:lnSpc>
                <a:spcPct val="100000"/>
              </a:lnSpc>
              <a:spcBef>
                <a:spcPct val="20000"/>
              </a:spcBef>
              <a:spcAft>
                <a:spcPct val="0"/>
              </a:spcAft>
              <a:buClr>
                <a:srgbClr val="0000FF"/>
              </a:buClr>
              <a:buSzPct val="80000"/>
              <a:buFont typeface="Arial" pitchFamily="34" charset="0"/>
              <a:buChar char="•"/>
              <a:tabLst/>
              <a:defRPr/>
            </a:pPr>
            <a:r>
              <a:rPr kumimoji="0" lang="en-US" sz="19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Cefpodoxime,</a:t>
            </a:r>
          </a:p>
          <a:p>
            <a:pPr marL="800100" marR="0" lvl="1" indent="-342900" algn="l" defTabSz="914400" rtl="0" eaLnBrk="1" fontAlgn="base" latinLnBrk="0" hangingPunct="1">
              <a:lnSpc>
                <a:spcPct val="100000"/>
              </a:lnSpc>
              <a:spcBef>
                <a:spcPct val="20000"/>
              </a:spcBef>
              <a:spcAft>
                <a:spcPct val="0"/>
              </a:spcAft>
              <a:buClr>
                <a:srgbClr val="0000FF"/>
              </a:buClr>
              <a:buSzPct val="80000"/>
              <a:buFont typeface="Arial" pitchFamily="34" charset="0"/>
              <a:buChar char="•"/>
              <a:tabLst/>
              <a:defRPr/>
            </a:pPr>
            <a:r>
              <a:rPr kumimoji="0" lang="en-US" sz="19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Cefuroxime</a:t>
            </a:r>
          </a:p>
          <a:p>
            <a:pPr marL="800100" marR="0" lvl="1" indent="-342900" algn="l" defTabSz="914400" rtl="0" eaLnBrk="1" fontAlgn="base" latinLnBrk="0" hangingPunct="1">
              <a:lnSpc>
                <a:spcPct val="100000"/>
              </a:lnSpc>
              <a:spcBef>
                <a:spcPct val="20000"/>
              </a:spcBef>
              <a:spcAft>
                <a:spcPct val="0"/>
              </a:spcAft>
              <a:buClr>
                <a:srgbClr val="0000FF"/>
              </a:buClr>
              <a:buSzPct val="80000"/>
              <a:buFont typeface="Arial" pitchFamily="34" charset="0"/>
              <a:buChar char="•"/>
              <a:tabLst/>
              <a:defRPr/>
            </a:pPr>
            <a:r>
              <a:rPr kumimoji="0" lang="en-US" sz="19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Amoxicillin /clavulanate</a:t>
            </a:r>
          </a:p>
          <a:p>
            <a:pPr marL="800100" marR="0" lvl="1" indent="-342900" algn="l" defTabSz="914400" rtl="0" eaLnBrk="1" fontAlgn="base" latinLnBrk="0" hangingPunct="1">
              <a:lnSpc>
                <a:spcPct val="100000"/>
              </a:lnSpc>
              <a:spcBef>
                <a:spcPct val="20000"/>
              </a:spcBef>
              <a:spcAft>
                <a:spcPct val="0"/>
              </a:spcAft>
              <a:buClr>
                <a:srgbClr val="0000FF"/>
              </a:buClr>
              <a:buSzPct val="80000"/>
              <a:buFont typeface="Arial" pitchFamily="34" charset="0"/>
              <a:buChar char="•"/>
              <a:tabLst/>
              <a:defRPr/>
            </a:pPr>
            <a:r>
              <a:rPr kumimoji="0" lang="en-US" altLang="en-US"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Ampicillin-sulbactam</a:t>
            </a:r>
            <a:endParaRPr kumimoji="0" lang="en-US" sz="19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a:p>
            <a:pPr marL="800100" marR="0" lvl="1" indent="-342900" algn="l" defTabSz="914400" rtl="0" eaLnBrk="1" fontAlgn="base" latinLnBrk="0" hangingPunct="1">
              <a:lnSpc>
                <a:spcPct val="100000"/>
              </a:lnSpc>
              <a:spcBef>
                <a:spcPct val="20000"/>
              </a:spcBef>
              <a:spcAft>
                <a:spcPct val="0"/>
              </a:spcAft>
              <a:buClr>
                <a:srgbClr val="0000FF"/>
              </a:buClr>
              <a:buSzPct val="80000"/>
              <a:buFont typeface="Arial" pitchFamily="34" charset="0"/>
              <a:buChar char="•"/>
              <a:tabLst/>
              <a:defRPr/>
            </a:pPr>
            <a:r>
              <a:rPr kumimoji="0" lang="en-US" sz="19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Ceftriaxone</a:t>
            </a:r>
            <a:endParaRPr kumimoji="0" lang="en-US" sz="19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a:p>
            <a:pPr marL="342900" marR="0" lvl="0" indent="-342900" algn="l" defTabSz="914400" rtl="0" eaLnBrk="1" fontAlgn="base" latinLnBrk="0" hangingPunct="1">
              <a:lnSpc>
                <a:spcPct val="100000"/>
              </a:lnSpc>
              <a:spcBef>
                <a:spcPct val="20000"/>
              </a:spcBef>
              <a:spcAft>
                <a:spcPct val="0"/>
              </a:spcAft>
              <a:buClr>
                <a:srgbClr val="0000FF"/>
              </a:buClr>
              <a:buSzPct val="80000"/>
              <a:buFont typeface="Wingdings" pitchFamily="2" charset="2"/>
              <a:buNone/>
              <a:tabLst/>
              <a:defRPr/>
            </a:pPr>
            <a:r>
              <a:rPr kumimoji="0" lang="en-US" sz="2400" b="1" i="0" u="none" strike="noStrike" kern="1200" cap="none" spc="0" normalizeH="0" baseline="0" noProof="0" dirty="0" smtClean="0">
                <a:ln>
                  <a:noFill/>
                </a:ln>
                <a:solidFill>
                  <a:srgbClr val="0000CC"/>
                </a:solidFill>
                <a:effectLst/>
                <a:uLnTx/>
                <a:uFillTx/>
                <a:latin typeface="Times New Roman" pitchFamily="18" charset="0"/>
                <a:ea typeface="+mn-ea"/>
                <a:cs typeface="Times New Roman" pitchFamily="18" charset="0"/>
              </a:rPr>
              <a:t>+</a:t>
            </a:r>
            <a:r>
              <a:rPr kumimoji="0" lang="en-US" sz="1900" b="1"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  Macrolide</a:t>
            </a:r>
            <a:endParaRPr kumimoji="0" lang="en-US" sz="19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a:p>
            <a:pPr marL="342900" marR="0" lvl="0" indent="-342900" algn="l" defTabSz="914400" rtl="0" eaLnBrk="1" fontAlgn="base" latinLnBrk="0" hangingPunct="1">
              <a:lnSpc>
                <a:spcPct val="100000"/>
              </a:lnSpc>
              <a:spcBef>
                <a:spcPct val="20000"/>
              </a:spcBef>
              <a:spcAft>
                <a:spcPct val="0"/>
              </a:spcAft>
              <a:buClr>
                <a:srgbClr val="0000FF"/>
              </a:buClr>
              <a:buSzPct val="80000"/>
              <a:buFont typeface="Wingdings" pitchFamily="2" charset="2"/>
              <a:buNone/>
              <a:tabLst/>
              <a:defRPr/>
            </a:pPr>
            <a:endParaRPr kumimoji="0" lang="en-US" sz="1900" b="1"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endParaRPr>
          </a:p>
          <a:p>
            <a:pPr marL="342900" marR="0" lvl="0" indent="-342900" algn="l" defTabSz="914400" rtl="0" eaLnBrk="1" fontAlgn="base" latinLnBrk="0" hangingPunct="1">
              <a:lnSpc>
                <a:spcPct val="100000"/>
              </a:lnSpc>
              <a:spcBef>
                <a:spcPct val="20000"/>
              </a:spcBef>
              <a:spcAft>
                <a:spcPct val="0"/>
              </a:spcAft>
              <a:buClr>
                <a:srgbClr val="0000FF"/>
              </a:buClr>
              <a:buSzPct val="80000"/>
              <a:buFont typeface="Wingdings" pitchFamily="2" charset="2"/>
              <a:buNone/>
              <a:tabLst/>
              <a:defRPr/>
            </a:pPr>
            <a:r>
              <a:rPr kumimoji="0" lang="en-US" sz="1900" b="1" i="0" u="none" strike="noStrike" kern="1200" cap="none" spc="0" normalizeH="0" baseline="0" noProof="0" dirty="0" smtClean="0">
                <a:ln>
                  <a:noFill/>
                </a:ln>
                <a:solidFill>
                  <a:srgbClr val="FF0000"/>
                </a:solidFill>
                <a:effectLst/>
                <a:uLnTx/>
                <a:uFillTx/>
                <a:latin typeface="Times New Roman" pitchFamily="18" charset="0"/>
                <a:ea typeface="+mn-ea"/>
                <a:cs typeface="Times New Roman" pitchFamily="18" charset="0"/>
              </a:rPr>
              <a:t>                        Or</a:t>
            </a:r>
            <a:endParaRPr kumimoji="0" lang="en-US" sz="1900" b="1" i="0" u="none" strike="noStrike" kern="1200" cap="none" spc="0" normalizeH="0" baseline="0" noProof="0" dirty="0">
              <a:ln>
                <a:noFill/>
              </a:ln>
              <a:solidFill>
                <a:srgbClr val="FF0000"/>
              </a:solidFill>
              <a:effectLst/>
              <a:uLnTx/>
              <a:uFillTx/>
              <a:latin typeface="Times New Roman" pitchFamily="18" charset="0"/>
              <a:ea typeface="+mn-ea"/>
              <a:cs typeface="Times New Roman" pitchFamily="18" charset="0"/>
            </a:endParaRPr>
          </a:p>
          <a:p>
            <a:pPr marL="342900" marR="0" lvl="0" indent="-342900" algn="l" defTabSz="914400" rtl="0" eaLnBrk="1" fontAlgn="base" latinLnBrk="0" hangingPunct="1">
              <a:lnSpc>
                <a:spcPct val="100000"/>
              </a:lnSpc>
              <a:spcBef>
                <a:spcPct val="20000"/>
              </a:spcBef>
              <a:spcAft>
                <a:spcPct val="0"/>
              </a:spcAft>
              <a:buClr>
                <a:srgbClr val="0000FF"/>
              </a:buClr>
              <a:buSzPct val="80000"/>
              <a:buFont typeface="Wingdings" pitchFamily="2" charset="2"/>
              <a:buNone/>
              <a:tabLst/>
              <a:defRPr/>
            </a:pPr>
            <a:r>
              <a:rPr kumimoji="0" lang="en-US" sz="1900" b="1"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Lung Fluroquinolones </a:t>
            </a:r>
            <a:r>
              <a:rPr kumimoji="0" lang="en-US" sz="19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as Monotherapy </a:t>
            </a:r>
          </a:p>
          <a:p>
            <a:pPr marL="342900" marR="0" lvl="0" indent="-342900" algn="l" defTabSz="914400" rtl="0" eaLnBrk="1" fontAlgn="base" latinLnBrk="0" hangingPunct="1">
              <a:lnSpc>
                <a:spcPct val="100000"/>
              </a:lnSpc>
              <a:spcBef>
                <a:spcPct val="20000"/>
              </a:spcBef>
              <a:spcAft>
                <a:spcPct val="0"/>
              </a:spcAft>
              <a:buClr>
                <a:srgbClr val="0000FF"/>
              </a:buClr>
              <a:buSzPct val="80000"/>
              <a:buFont typeface="Arial"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Levofloxacin 750 mg OD</a:t>
            </a:r>
          </a:p>
          <a:p>
            <a:pPr marL="342900" marR="0" lvl="0" indent="-342900" algn="l" defTabSz="914400" rtl="0" eaLnBrk="1" fontAlgn="base" latinLnBrk="0" hangingPunct="1">
              <a:lnSpc>
                <a:spcPct val="100000"/>
              </a:lnSpc>
              <a:spcBef>
                <a:spcPct val="20000"/>
              </a:spcBef>
              <a:spcAft>
                <a:spcPct val="0"/>
              </a:spcAft>
              <a:buClr>
                <a:srgbClr val="0000FF"/>
              </a:buClr>
              <a:buSzPct val="80000"/>
              <a:buFont typeface="Arial"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Moxifloxacin 400 mg OD</a:t>
            </a:r>
          </a:p>
          <a:p>
            <a:pPr marL="342900" marR="0" lvl="0" indent="-342900" algn="l" defTabSz="914400" rtl="0" eaLnBrk="1" fontAlgn="base" latinLnBrk="0" hangingPunct="1">
              <a:lnSpc>
                <a:spcPct val="100000"/>
              </a:lnSpc>
              <a:spcBef>
                <a:spcPct val="20000"/>
              </a:spcBef>
              <a:spcAft>
                <a:spcPct val="0"/>
              </a:spcAft>
              <a:buClr>
                <a:srgbClr val="0000FF"/>
              </a:buClr>
              <a:buSzPct val="80000"/>
              <a:buFont typeface="Arial"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Gemifloxacin 320</a:t>
            </a:r>
            <a:r>
              <a:rPr kumimoji="0" lang="en-US" sz="1600" b="1" i="0" u="none" strike="noStrike" kern="1200" cap="none" spc="0" normalizeH="0" baseline="0" noProof="0" dirty="0" smtClean="0">
                <a:ln>
                  <a:noFill/>
                </a:ln>
                <a:solidFill>
                  <a:srgbClr val="0000CC"/>
                </a:solidFill>
                <a:effectLst/>
                <a:uLnTx/>
                <a:uFillTx/>
                <a:latin typeface="Times New Roman" pitchFamily="18" charset="0"/>
                <a:ea typeface="+mn-ea"/>
                <a:cs typeface="Times New Roman" pitchFamily="18" charset="0"/>
              </a:rPr>
              <a:t> </a:t>
            </a:r>
            <a:r>
              <a:rPr kumimoji="0" lang="en-US"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mg OD</a:t>
            </a:r>
            <a:endParaRPr kumimoji="0" lang="en-US" sz="1400" b="1" i="0" u="none" strike="noStrike" kern="1200" cap="none" spc="0" normalizeH="0" baseline="0" noProof="0" dirty="0" smtClean="0">
              <a:ln>
                <a:noFill/>
              </a:ln>
              <a:solidFill>
                <a:prstClr val="black"/>
              </a:solidFill>
              <a:effectLst>
                <a:outerShdw blurRad="38100" dist="38100" dir="2700000" algn="tl">
                  <a:srgbClr val="000000"/>
                </a:outerShdw>
              </a:effectLst>
              <a:uLnTx/>
              <a:uFillTx/>
              <a:latin typeface="Times New Roman" pitchFamily="18" charset="0"/>
              <a:ea typeface="+mn-ea"/>
              <a:cs typeface="Times New Roman" pitchFamily="18" charset="0"/>
            </a:endParaRPr>
          </a:p>
          <a:p>
            <a:pPr marL="342900" marR="0" lvl="0" indent="-342900" algn="l" defTabSz="914400" rtl="0" eaLnBrk="1" fontAlgn="base" latinLnBrk="0" hangingPunct="1">
              <a:lnSpc>
                <a:spcPct val="100000"/>
              </a:lnSpc>
              <a:spcBef>
                <a:spcPct val="20000"/>
              </a:spcBef>
              <a:spcAft>
                <a:spcPct val="0"/>
              </a:spcAft>
              <a:buClr>
                <a:srgbClr val="0000FF"/>
              </a:buClr>
              <a:buSzPct val="80000"/>
              <a:buFont typeface="Wingdings" pitchFamily="2" charset="2"/>
              <a:buNone/>
              <a:tabLst/>
              <a:defRPr/>
            </a:pPr>
            <a:endParaRPr kumimoji="0" lang="en-US" sz="1900" b="1" i="0" u="none" strike="noStrike" kern="1200" cap="none" spc="0" normalizeH="0" baseline="0" noProof="0" dirty="0">
              <a:ln>
                <a:noFill/>
              </a:ln>
              <a:solidFill>
                <a:prstClr val="black"/>
              </a:solidFill>
              <a:effectLst>
                <a:outerShdw blurRad="38100" dist="38100" dir="2700000" algn="tl">
                  <a:srgbClr val="000000"/>
                </a:outerShdw>
              </a:effectLst>
              <a:uLnTx/>
              <a:uFillTx/>
              <a:latin typeface="Times New Roman" pitchFamily="18" charset="0"/>
              <a:ea typeface="+mn-ea"/>
              <a:cs typeface="Times New Roman" pitchFamily="18" charset="0"/>
            </a:endParaRPr>
          </a:p>
          <a:p>
            <a:pPr marL="342900" marR="0" lvl="0" indent="-342900" algn="l" defTabSz="914400" rtl="0" eaLnBrk="1" fontAlgn="base" latinLnBrk="0" hangingPunct="1">
              <a:lnSpc>
                <a:spcPct val="100000"/>
              </a:lnSpc>
              <a:spcBef>
                <a:spcPct val="20000"/>
              </a:spcBef>
              <a:spcAft>
                <a:spcPct val="0"/>
              </a:spcAft>
              <a:buClr>
                <a:srgbClr val="0000FF"/>
              </a:buClr>
              <a:buSzPct val="80000"/>
              <a:buFont typeface="Wingdings" pitchFamily="2" charset="2"/>
              <a:buNone/>
              <a:tabLst/>
              <a:defRPr/>
            </a:pPr>
            <a:r>
              <a:rPr kumimoji="0" lang="en-US" sz="1900" b="1" i="0" u="none" strike="noStrike" kern="1200" cap="none" spc="0" normalizeH="0" baseline="50000" noProof="0" dirty="0" smtClean="0">
                <a:ln>
                  <a:noFill/>
                </a:ln>
                <a:solidFill>
                  <a:prstClr val="black"/>
                </a:solidFill>
                <a:effectLst>
                  <a:outerShdw blurRad="38100" dist="38100" dir="2700000" algn="tl">
                    <a:srgbClr val="000000"/>
                  </a:outerShdw>
                </a:effectLst>
                <a:uLnTx/>
                <a:uFillTx/>
                <a:latin typeface="Times New Roman" pitchFamily="18" charset="0"/>
                <a:ea typeface="+mn-ea"/>
                <a:cs typeface="Times New Roman" pitchFamily="18" charset="0"/>
              </a:rPr>
              <a:t>       </a:t>
            </a:r>
            <a:r>
              <a:rPr kumimoji="0" lang="en-US" sz="1900" b="1" i="0" u="none" strike="noStrike" kern="1200" cap="none" spc="0" normalizeH="0" baseline="0" noProof="0" dirty="0" smtClean="0">
                <a:ln>
                  <a:noFill/>
                </a:ln>
                <a:solidFill>
                  <a:prstClr val="black"/>
                </a:solidFill>
                <a:effectLst>
                  <a:outerShdw blurRad="38100" dist="38100" dir="2700000" algn="tl">
                    <a:srgbClr val="000000"/>
                  </a:outerShdw>
                </a:effectLst>
                <a:uLnTx/>
                <a:uFillTx/>
                <a:latin typeface="Times New Roman" pitchFamily="18" charset="0"/>
                <a:ea typeface="+mn-ea"/>
                <a:cs typeface="Times New Roman" pitchFamily="18" charset="0"/>
              </a:rPr>
              <a:t>               </a:t>
            </a:r>
            <a:endParaRPr kumimoji="0" lang="en-US" sz="1900" b="1" i="0" u="none" strike="noStrike" kern="1200" cap="none" spc="0" normalizeH="0" baseline="0" noProof="0" dirty="0">
              <a:ln>
                <a:noFill/>
              </a:ln>
              <a:solidFill>
                <a:prstClr val="black"/>
              </a:solidFill>
              <a:effectLst>
                <a:outerShdw blurRad="38100" dist="38100" dir="2700000" algn="tl">
                  <a:srgbClr val="000000"/>
                </a:outerShdw>
              </a:effectLst>
              <a:uLnTx/>
              <a:uFillTx/>
              <a:latin typeface="Times New Roman" pitchFamily="18" charset="0"/>
              <a:ea typeface="+mn-ea"/>
              <a:cs typeface="Times New Roman" pitchFamily="18" charset="0"/>
            </a:endParaRPr>
          </a:p>
        </p:txBody>
      </p:sp>
    </p:spTree>
    <p:extLst>
      <p:ext uri="{BB962C8B-B14F-4D97-AF65-F5344CB8AC3E}">
        <p14:creationId xmlns:p14="http://schemas.microsoft.com/office/powerpoint/2010/main" val="304125379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750" y="1143000"/>
            <a:ext cx="8064500" cy="5238750"/>
          </a:xfrm>
        </p:spPr>
        <p:txBody>
          <a:bodyPr/>
          <a:lstStyle/>
          <a:p>
            <a:pPr>
              <a:defRPr/>
            </a:pPr>
            <a:r>
              <a:rPr lang="en-US" sz="2800" b="1" dirty="0"/>
              <a:t>His </a:t>
            </a:r>
            <a:r>
              <a:rPr lang="en-US" sz="2800" b="1" dirty="0">
                <a:solidFill>
                  <a:srgbClr val="FFFF00"/>
                </a:solidFill>
              </a:rPr>
              <a:t>occupation</a:t>
            </a:r>
            <a:r>
              <a:rPr lang="en-US" sz="2800" b="1" dirty="0"/>
              <a:t> raises the possibility of conditions such as extrinsic allergic allveolitis (</a:t>
            </a:r>
            <a:r>
              <a:rPr lang="en-US" sz="2800" b="1" dirty="0">
                <a:solidFill>
                  <a:srgbClr val="FFFF00"/>
                </a:solidFill>
              </a:rPr>
              <a:t>farmer </a:t>
            </a:r>
            <a:r>
              <a:rPr lang="az-Cyrl-AZ" sz="2800" b="1" dirty="0">
                <a:solidFill>
                  <a:srgbClr val="FFFF00"/>
                </a:solidFill>
                <a:latin typeface="Times New Roman"/>
                <a:cs typeface="Times New Roman"/>
              </a:rPr>
              <a:t>҆</a:t>
            </a:r>
            <a:r>
              <a:rPr lang="en-US" sz="2800" b="1" dirty="0">
                <a:solidFill>
                  <a:srgbClr val="FFFF00"/>
                </a:solidFill>
                <a:latin typeface="Times New Roman"/>
                <a:cs typeface="Times New Roman"/>
              </a:rPr>
              <a:t>s lung</a:t>
            </a:r>
            <a:r>
              <a:rPr lang="en-US" sz="2800" b="1" dirty="0"/>
              <a:t>) and the symptoms of fever, rigors and dry cough would fit this diagnosis. </a:t>
            </a:r>
          </a:p>
        </p:txBody>
      </p:sp>
      <p:sp>
        <p:nvSpPr>
          <p:cNvPr id="2" name="TextBox 1"/>
          <p:cNvSpPr txBox="1"/>
          <p:nvPr/>
        </p:nvSpPr>
        <p:spPr>
          <a:xfrm>
            <a:off x="685800" y="304800"/>
            <a:ext cx="4038600" cy="584775"/>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608F3D"/>
                </a:solidFill>
                <a:effectLst/>
                <a:uLnTx/>
                <a:uFillTx/>
                <a:latin typeface="Candara" panose="020E0502030303020204" pitchFamily="34" charset="0"/>
                <a:ea typeface="+mn-ea"/>
                <a:cs typeface="+mn-cs"/>
              </a:rPr>
              <a:t>Differential diagnosis</a:t>
            </a:r>
            <a:endParaRPr kumimoji="0" lang="en-US" sz="3200" b="1" i="0" u="none" strike="noStrike" kern="1200" cap="none" spc="0" normalizeH="0" baseline="0" noProof="0" dirty="0">
              <a:ln>
                <a:noFill/>
              </a:ln>
              <a:solidFill>
                <a:srgbClr val="608F3D"/>
              </a:solidFill>
              <a:effectLst/>
              <a:uLnTx/>
              <a:uFillTx/>
              <a:latin typeface="Candara" panose="020E0502030303020204" pitchFamily="34" charset="0"/>
              <a:ea typeface="+mn-ea"/>
              <a:cs typeface="+mn-cs"/>
            </a:endParaRPr>
          </a:p>
        </p:txBody>
      </p:sp>
    </p:spTree>
    <p:extLst>
      <p:ext uri="{BB962C8B-B14F-4D97-AF65-F5344CB8AC3E}">
        <p14:creationId xmlns:p14="http://schemas.microsoft.com/office/powerpoint/2010/main" val="18178920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8313" y="527050"/>
            <a:ext cx="8135937" cy="901700"/>
          </a:xfrm>
        </p:spPr>
        <p:txBody>
          <a:bodyPr/>
          <a:lstStyle/>
          <a:p>
            <a:pPr>
              <a:defRPr/>
            </a:pPr>
            <a:r>
              <a:rPr lang="en-US" sz="3600" u="sng" dirty="0"/>
              <a:t>Diagnosis</a:t>
            </a:r>
          </a:p>
        </p:txBody>
      </p:sp>
      <p:sp>
        <p:nvSpPr>
          <p:cNvPr id="3" name="Content Placeholder 2"/>
          <p:cNvSpPr>
            <a:spLocks noGrp="1"/>
          </p:cNvSpPr>
          <p:nvPr>
            <p:ph idx="1"/>
          </p:nvPr>
        </p:nvSpPr>
        <p:spPr>
          <a:xfrm>
            <a:off x="539750" y="1571625"/>
            <a:ext cx="8064500" cy="4810125"/>
          </a:xfrm>
        </p:spPr>
        <p:txBody>
          <a:bodyPr/>
          <a:lstStyle/>
          <a:p>
            <a:pPr>
              <a:defRPr/>
            </a:pPr>
            <a:r>
              <a:rPr lang="en-US" sz="2800" b="1" dirty="0"/>
              <a:t>This is a </a:t>
            </a:r>
            <a:r>
              <a:rPr lang="en-US" sz="2800" b="1" dirty="0">
                <a:solidFill>
                  <a:srgbClr val="FFFF00"/>
                </a:solidFill>
              </a:rPr>
              <a:t>community- acquired pneumonia </a:t>
            </a:r>
            <a:r>
              <a:rPr lang="en-US" sz="2800" b="1" dirty="0"/>
              <a:t>with no known underlying illness</a:t>
            </a:r>
            <a:r>
              <a:rPr lang="en-US" sz="2800" b="1" dirty="0" smtClean="0"/>
              <a:t>.</a:t>
            </a:r>
          </a:p>
          <a:p>
            <a:pPr>
              <a:defRPr/>
            </a:pPr>
            <a:endParaRPr lang="en-US" sz="2800" b="1" dirty="0"/>
          </a:p>
          <a:p>
            <a:pPr>
              <a:defRPr/>
            </a:pPr>
            <a:r>
              <a:rPr lang="en-US" sz="2800" b="1" dirty="0"/>
              <a:t>The commonest cause is </a:t>
            </a:r>
            <a:r>
              <a:rPr lang="en-US" sz="2800" b="1" dirty="0">
                <a:solidFill>
                  <a:srgbClr val="FFFF00"/>
                </a:solidFill>
              </a:rPr>
              <a:t>streptococcus pneumoniae</a:t>
            </a:r>
            <a:r>
              <a:rPr lang="en-US" sz="2800" b="1" dirty="0"/>
              <a:t> (50%) which would fit well with the acute onset with fever and rigors</a:t>
            </a:r>
            <a:r>
              <a:rPr lang="en-US" sz="2800" b="1" dirty="0" smtClean="0"/>
              <a:t>.</a:t>
            </a:r>
          </a:p>
          <a:p>
            <a:pPr>
              <a:buFont typeface="Wingdings" panose="05000000000000000000" pitchFamily="2" charset="2"/>
              <a:buNone/>
              <a:defRPr/>
            </a:pPr>
            <a:r>
              <a:rPr lang="en-US" sz="2800" b="1" dirty="0" smtClean="0"/>
              <a:t> </a:t>
            </a:r>
            <a:endParaRPr lang="en-US" sz="2800" b="1" dirty="0"/>
          </a:p>
        </p:txBody>
      </p:sp>
    </p:spTree>
    <p:extLst>
      <p:ext uri="{BB962C8B-B14F-4D97-AF65-F5344CB8AC3E}">
        <p14:creationId xmlns:p14="http://schemas.microsoft.com/office/powerpoint/2010/main" val="4024742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949263" name="Rectangle 15"/>
          <p:cNvSpPr>
            <a:spLocks noGrp="1" noChangeArrowheads="1"/>
          </p:cNvSpPr>
          <p:nvPr/>
        </p:nvSpPr>
        <p:spPr bwMode="auto">
          <a:xfrm>
            <a:off x="3900488" y="-123825"/>
            <a:ext cx="5257800" cy="1600200"/>
          </a:xfrm>
          <a:prstGeom prst="rect">
            <a:avLst/>
          </a:prstGeom>
          <a:noFill/>
          <a:ln w="9525">
            <a:noFill/>
            <a:miter lim="800000"/>
            <a:headEnd/>
            <a:tailEnd/>
          </a:ln>
          <a:effectLst/>
        </p:spPr>
        <p:txBody>
          <a:bodyPr lIns="92075" tIns="46038" rIns="92075" bIns="46038" anchor="ctr"/>
          <a:lstStyle/>
          <a:p>
            <a:pPr marL="0" marR="0" lvl="0" indent="0" algn="ctr" defTabSz="914400" rtl="1" eaLnBrk="0" fontAlgn="base" latinLnBrk="0" hangingPunct="0">
              <a:lnSpc>
                <a:spcPct val="100000"/>
              </a:lnSpc>
              <a:spcBef>
                <a:spcPct val="0"/>
              </a:spcBef>
              <a:spcAft>
                <a:spcPct val="0"/>
              </a:spcAft>
              <a:buClrTx/>
              <a:buSzTx/>
              <a:buFontTx/>
              <a:buNone/>
              <a:tabLst/>
              <a:defRPr/>
            </a:pPr>
            <a:r>
              <a:rPr kumimoji="0" lang="en-US" altLang="ar-SA" sz="10500" b="1" i="0" u="none" strike="noStrike" kern="1200" cap="none" spc="0" normalizeH="0" baseline="0" noProof="0">
                <a:ln>
                  <a:noFill/>
                </a:ln>
                <a:solidFill>
                  <a:prstClr val="black"/>
                </a:solidFill>
                <a:effectLst>
                  <a:outerShdw blurRad="38100" dist="38100" dir="2700000" algn="tl">
                    <a:srgbClr val="000000"/>
                  </a:outerShdw>
                </a:effectLst>
                <a:uLnTx/>
                <a:uFillTx/>
                <a:latin typeface="Times New Roman" pitchFamily="18" charset="0"/>
                <a:ea typeface="+mn-ea"/>
                <a:cs typeface="Tahoma" panose="020B0604030504040204" pitchFamily="34" charset="0"/>
              </a:rPr>
              <a:t>T</a:t>
            </a:r>
            <a:r>
              <a:rPr kumimoji="0" lang="en-US" altLang="ar-SA" sz="10500" b="1" i="0" u="none" strike="noStrike" kern="1200" cap="none" spc="0" normalizeH="0" baseline="0" noProof="0">
                <a:ln>
                  <a:noFill/>
                </a:ln>
                <a:solidFill>
                  <a:srgbClr val="FFFF41"/>
                </a:solidFill>
                <a:effectLst>
                  <a:outerShdw blurRad="38100" dist="38100" dir="2700000" algn="tl">
                    <a:srgbClr val="000000"/>
                  </a:outerShdw>
                </a:effectLst>
                <a:uLnTx/>
                <a:uFillTx/>
                <a:latin typeface="Times New Roman" pitchFamily="18" charset="0"/>
                <a:ea typeface="+mn-ea"/>
                <a:cs typeface="Tahoma" panose="020B0604030504040204" pitchFamily="34" charset="0"/>
              </a:rPr>
              <a:t>H</a:t>
            </a:r>
            <a:r>
              <a:rPr kumimoji="0" lang="en-US" altLang="ar-SA" sz="10500" b="1" i="0" u="none" strike="noStrike" kern="1200" cap="none" spc="0" normalizeH="0" baseline="0" noProof="0">
                <a:ln>
                  <a:noFill/>
                </a:ln>
                <a:solidFill>
                  <a:srgbClr val="FF3399"/>
                </a:solidFill>
                <a:effectLst>
                  <a:outerShdw blurRad="38100" dist="38100" dir="2700000" algn="tl">
                    <a:srgbClr val="000000"/>
                  </a:outerShdw>
                </a:effectLst>
                <a:uLnTx/>
                <a:uFillTx/>
                <a:latin typeface="Times New Roman" pitchFamily="18" charset="0"/>
                <a:ea typeface="+mn-ea"/>
                <a:cs typeface="Tahoma" panose="020B0604030504040204" pitchFamily="34" charset="0"/>
              </a:rPr>
              <a:t>A</a:t>
            </a:r>
            <a:r>
              <a:rPr kumimoji="0" lang="en-US" altLang="ar-SA" sz="10500" b="1" i="0" u="none" strike="noStrike" kern="1200" cap="none" spc="0" normalizeH="0" baseline="0" noProof="0">
                <a:ln>
                  <a:noFill/>
                </a:ln>
                <a:solidFill>
                  <a:srgbClr val="FFFF41"/>
                </a:solidFill>
                <a:effectLst>
                  <a:outerShdw blurRad="38100" dist="38100" dir="2700000" algn="tl">
                    <a:srgbClr val="000000"/>
                  </a:outerShdw>
                </a:effectLst>
                <a:uLnTx/>
                <a:uFillTx/>
                <a:latin typeface="Times New Roman" pitchFamily="18" charset="0"/>
                <a:ea typeface="+mn-ea"/>
                <a:cs typeface="Tahoma" panose="020B0604030504040204" pitchFamily="34" charset="0"/>
              </a:rPr>
              <a:t>N</a:t>
            </a:r>
            <a:r>
              <a:rPr kumimoji="0" lang="en-US" altLang="ar-SA" sz="10500" b="1" i="0" u="none" strike="noStrike" kern="1200" cap="none" spc="0" normalizeH="0" baseline="0" noProof="0">
                <a:ln>
                  <a:noFill/>
                </a:ln>
                <a:solidFill>
                  <a:prstClr val="black"/>
                </a:solidFill>
                <a:effectLst>
                  <a:outerShdw blurRad="38100" dist="38100" dir="2700000" algn="tl">
                    <a:srgbClr val="000000"/>
                  </a:outerShdw>
                </a:effectLst>
                <a:uLnTx/>
                <a:uFillTx/>
                <a:latin typeface="Times New Roman" pitchFamily="18" charset="0"/>
                <a:ea typeface="+mn-ea"/>
                <a:cs typeface="Tahoma" panose="020B0604030504040204" pitchFamily="34" charset="0"/>
              </a:rPr>
              <a:t>K</a:t>
            </a:r>
          </a:p>
        </p:txBody>
      </p:sp>
      <p:sp>
        <p:nvSpPr>
          <p:cNvPr id="949264" name="Rectangle 16"/>
          <p:cNvSpPr>
            <a:spLocks noGrp="1" noChangeArrowheads="1"/>
          </p:cNvSpPr>
          <p:nvPr/>
        </p:nvSpPr>
        <p:spPr bwMode="auto">
          <a:xfrm>
            <a:off x="-161925" y="5362575"/>
            <a:ext cx="3276600" cy="1524000"/>
          </a:xfrm>
          <a:prstGeom prst="rect">
            <a:avLst/>
          </a:prstGeom>
          <a:noFill/>
          <a:ln w="9525">
            <a:noFill/>
            <a:miter lim="800000"/>
            <a:headEnd/>
            <a:tailEnd/>
          </a:ln>
          <a:effectLst/>
        </p:spPr>
        <p:txBody>
          <a:bodyPr lIns="92075" tIns="46038" rIns="92075" bIns="46038" anchor="ctr"/>
          <a:lstStyle/>
          <a:p>
            <a:pPr marL="0" marR="0" lvl="0" indent="0" algn="ctr" defTabSz="914400" rtl="1" eaLnBrk="0" fontAlgn="base" latinLnBrk="0" hangingPunct="0">
              <a:lnSpc>
                <a:spcPct val="100000"/>
              </a:lnSpc>
              <a:spcBef>
                <a:spcPct val="0"/>
              </a:spcBef>
              <a:spcAft>
                <a:spcPct val="0"/>
              </a:spcAft>
              <a:buClrTx/>
              <a:buSzTx/>
              <a:buFontTx/>
              <a:buNone/>
              <a:tabLst/>
              <a:defRPr/>
            </a:pPr>
            <a:r>
              <a:rPr kumimoji="0" lang="en-US" altLang="ar-SA" sz="10500" b="1" i="0" u="none" strike="noStrike" kern="1200" cap="none" spc="0" normalizeH="0" baseline="0" noProof="0">
                <a:ln>
                  <a:noFill/>
                </a:ln>
                <a:solidFill>
                  <a:prstClr val="black"/>
                </a:solidFill>
                <a:effectLst>
                  <a:outerShdw blurRad="38100" dist="38100" dir="2700000" algn="tl">
                    <a:srgbClr val="000000"/>
                  </a:outerShdw>
                </a:effectLst>
                <a:uLnTx/>
                <a:uFillTx/>
                <a:latin typeface="Times New Roman" pitchFamily="18" charset="0"/>
                <a:ea typeface="+mn-ea"/>
                <a:cs typeface="Tahoma" panose="020B0604030504040204" pitchFamily="34" charset="0"/>
              </a:rPr>
              <a:t>Y</a:t>
            </a:r>
            <a:r>
              <a:rPr kumimoji="0" lang="en-US" altLang="ar-SA" sz="10500" b="1" i="0" u="none" strike="noStrike" kern="1200" cap="none" spc="0" normalizeH="0" baseline="0" noProof="0">
                <a:ln>
                  <a:noFill/>
                </a:ln>
                <a:solidFill>
                  <a:srgbClr val="FFFF1B"/>
                </a:solidFill>
                <a:effectLst>
                  <a:outerShdw blurRad="38100" dist="38100" dir="2700000" algn="tl">
                    <a:srgbClr val="000000"/>
                  </a:outerShdw>
                </a:effectLst>
                <a:uLnTx/>
                <a:uFillTx/>
                <a:latin typeface="Times New Roman" pitchFamily="18" charset="0"/>
                <a:ea typeface="+mn-ea"/>
                <a:cs typeface="Tahoma" panose="020B0604030504040204" pitchFamily="34" charset="0"/>
              </a:rPr>
              <a:t>O</a:t>
            </a:r>
            <a:r>
              <a:rPr kumimoji="0" lang="en-US" altLang="ar-SA" sz="10500" b="1" i="0" u="none" strike="noStrike" kern="1200" cap="none" spc="0" normalizeH="0" baseline="0" noProof="0">
                <a:ln>
                  <a:noFill/>
                </a:ln>
                <a:solidFill>
                  <a:prstClr val="black"/>
                </a:solidFill>
                <a:effectLst>
                  <a:outerShdw blurRad="38100" dist="38100" dir="2700000" algn="tl">
                    <a:srgbClr val="000000"/>
                  </a:outerShdw>
                </a:effectLst>
                <a:uLnTx/>
                <a:uFillTx/>
                <a:latin typeface="Times New Roman" pitchFamily="18" charset="0"/>
                <a:ea typeface="+mn-ea"/>
                <a:cs typeface="Tahoma" panose="020B0604030504040204" pitchFamily="34" charset="0"/>
              </a:rPr>
              <a:t>U</a:t>
            </a:r>
          </a:p>
        </p:txBody>
      </p:sp>
    </p:spTree>
    <p:extLst>
      <p:ext uri="{BB962C8B-B14F-4D97-AF65-F5344CB8AC3E}">
        <p14:creationId xmlns:p14="http://schemas.microsoft.com/office/powerpoint/2010/main" val="1511654459"/>
      </p:ext>
    </p:extLst>
  </p:cSld>
  <p:clrMapOvr>
    <a:masterClrMapping/>
  </p:clrMapOvr>
  <p:transition spd="slow">
    <p:comb/>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8" presetClass="entr" presetSubtype="12" fill="hold" grpId="0" nodeType="afterEffect">
                                  <p:stCondLst>
                                    <p:cond delay="0"/>
                                  </p:stCondLst>
                                  <p:iterate type="lt">
                                    <p:tmPct val="100000"/>
                                  </p:iterate>
                                  <p:childTnLst>
                                    <p:set>
                                      <p:cBhvr>
                                        <p:cTn id="6" dur="1" fill="hold">
                                          <p:stCondLst>
                                            <p:cond delay="0"/>
                                          </p:stCondLst>
                                        </p:cTn>
                                        <p:tgtEl>
                                          <p:spTgt spid="949263"/>
                                        </p:tgtEl>
                                        <p:attrNameLst>
                                          <p:attrName>style.visibility</p:attrName>
                                        </p:attrNameLst>
                                      </p:cBhvr>
                                      <p:to>
                                        <p:strVal val="visible"/>
                                      </p:to>
                                    </p:set>
                                    <p:animEffect transition="in" filter="strips(downLeft)">
                                      <p:cBhvr>
                                        <p:cTn id="7" dur="75"/>
                                        <p:tgtEl>
                                          <p:spTgt spid="949263"/>
                                        </p:tgtEl>
                                      </p:cBhvr>
                                    </p:animEffect>
                                  </p:childTnLst>
                                </p:cTn>
                              </p:par>
                            </p:childTnLst>
                          </p:cTn>
                        </p:par>
                        <p:par>
                          <p:cTn id="8" fill="hold" nodeType="afterGroup">
                            <p:stCondLst>
                              <p:cond delay="375"/>
                            </p:stCondLst>
                            <p:childTnLst>
                              <p:par>
                                <p:cTn id="9" presetID="18" presetClass="entr" presetSubtype="6" fill="hold" grpId="0" nodeType="afterEffect">
                                  <p:stCondLst>
                                    <p:cond delay="0"/>
                                  </p:stCondLst>
                                  <p:iterate type="lt">
                                    <p:tmPct val="100000"/>
                                  </p:iterate>
                                  <p:childTnLst>
                                    <p:set>
                                      <p:cBhvr>
                                        <p:cTn id="10" dur="1" fill="hold">
                                          <p:stCondLst>
                                            <p:cond delay="0"/>
                                          </p:stCondLst>
                                        </p:cTn>
                                        <p:tgtEl>
                                          <p:spTgt spid="949264"/>
                                        </p:tgtEl>
                                        <p:attrNameLst>
                                          <p:attrName>style.visibility</p:attrName>
                                        </p:attrNameLst>
                                      </p:cBhvr>
                                      <p:to>
                                        <p:strVal val="visible"/>
                                      </p:to>
                                    </p:set>
                                    <p:animEffect transition="in" filter="strips(downRight)">
                                      <p:cBhvr>
                                        <p:cTn id="11" dur="75"/>
                                        <p:tgtEl>
                                          <p:spTgt spid="949264"/>
                                        </p:tgtEl>
                                      </p:cBhvr>
                                    </p:animEffect>
                                  </p:childTnLst>
                                </p:cTn>
                              </p:par>
                            </p:childTnLst>
                          </p:cTn>
                        </p:par>
                        <p:par>
                          <p:cTn id="12" fill="hold" nodeType="afterGroup">
                            <p:stCondLst>
                              <p:cond delay="600"/>
                            </p:stCondLst>
                            <p:childTnLst>
                              <p:par>
                                <p:cTn id="13" presetID="51" presetClass="entr" presetSubtype="0" fill="hold" grpId="1" nodeType="afterEffect">
                                  <p:stCondLst>
                                    <p:cond delay="0"/>
                                  </p:stCondLst>
                                  <p:iterate type="lt">
                                    <p:tmPct val="0"/>
                                  </p:iterate>
                                  <p:childTnLst>
                                    <p:set>
                                      <p:cBhvr>
                                        <p:cTn id="14" dur="1" fill="hold">
                                          <p:stCondLst>
                                            <p:cond delay="0"/>
                                          </p:stCondLst>
                                        </p:cTn>
                                        <p:tgtEl>
                                          <p:spTgt spid="949263"/>
                                        </p:tgtEl>
                                        <p:attrNameLst>
                                          <p:attrName>style.visibility</p:attrName>
                                        </p:attrNameLst>
                                      </p:cBhvr>
                                      <p:to>
                                        <p:strVal val="visible"/>
                                      </p:to>
                                    </p:set>
                                    <p:animEffect transition="in" filter="fade">
                                      <p:cBhvr>
                                        <p:cTn id="15" dur="770" decel="100000"/>
                                        <p:tgtEl>
                                          <p:spTgt spid="949263"/>
                                        </p:tgtEl>
                                      </p:cBhvr>
                                    </p:animEffect>
                                    <p:animScale>
                                      <p:cBhvr>
                                        <p:cTn id="16" dur="770" decel="100000"/>
                                        <p:tgtEl>
                                          <p:spTgt spid="949263"/>
                                        </p:tgtEl>
                                      </p:cBhvr>
                                      <p:from x="10000" y="10000"/>
                                      <p:to x="200000" y="450000"/>
                                    </p:animScale>
                                    <p:animScale>
                                      <p:cBhvr>
                                        <p:cTn id="17" dur="1230" accel="100000" fill="hold">
                                          <p:stCondLst>
                                            <p:cond delay="770"/>
                                          </p:stCondLst>
                                        </p:cTn>
                                        <p:tgtEl>
                                          <p:spTgt spid="949263"/>
                                        </p:tgtEl>
                                      </p:cBhvr>
                                      <p:from x="200000" y="450000"/>
                                      <p:to x="100000" y="100000"/>
                                    </p:animScale>
                                    <p:set>
                                      <p:cBhvr>
                                        <p:cTn id="18" dur="770" fill="hold"/>
                                        <p:tgtEl>
                                          <p:spTgt spid="949263"/>
                                        </p:tgtEl>
                                        <p:attrNameLst>
                                          <p:attrName>ppt_x</p:attrName>
                                        </p:attrNameLst>
                                      </p:cBhvr>
                                      <p:to>
                                        <p:strVal val="(0.5)"/>
                                      </p:to>
                                    </p:set>
                                    <p:anim from="(0.5)" to="(#ppt_x)" calcmode="lin" valueType="num">
                                      <p:cBhvr>
                                        <p:cTn id="19" dur="1230" accel="100000" fill="hold">
                                          <p:stCondLst>
                                            <p:cond delay="770"/>
                                          </p:stCondLst>
                                        </p:cTn>
                                        <p:tgtEl>
                                          <p:spTgt spid="949263"/>
                                        </p:tgtEl>
                                        <p:attrNameLst>
                                          <p:attrName>ppt_x</p:attrName>
                                        </p:attrNameLst>
                                      </p:cBhvr>
                                    </p:anim>
                                    <p:set>
                                      <p:cBhvr>
                                        <p:cTn id="20" dur="770" fill="hold"/>
                                        <p:tgtEl>
                                          <p:spTgt spid="949263"/>
                                        </p:tgtEl>
                                        <p:attrNameLst>
                                          <p:attrName>ppt_y</p:attrName>
                                        </p:attrNameLst>
                                      </p:cBhvr>
                                      <p:to>
                                        <p:strVal val="(#ppt_y+0.4)"/>
                                      </p:to>
                                    </p:set>
                                    <p:anim from="(#ppt_y+0.4)" to="(#ppt_y)" calcmode="lin" valueType="num">
                                      <p:cBhvr>
                                        <p:cTn id="21" dur="1230" accel="100000" fill="hold">
                                          <p:stCondLst>
                                            <p:cond delay="770"/>
                                          </p:stCondLst>
                                        </p:cTn>
                                        <p:tgtEl>
                                          <p:spTgt spid="949263"/>
                                        </p:tgtEl>
                                        <p:attrNameLst>
                                          <p:attrName>ppt_y</p:attrName>
                                        </p:attrNameLst>
                                      </p:cBhvr>
                                    </p:anim>
                                  </p:childTnLst>
                                </p:cTn>
                              </p:par>
                            </p:childTnLst>
                          </p:cTn>
                        </p:par>
                        <p:par>
                          <p:cTn id="22" fill="hold" nodeType="afterGroup">
                            <p:stCondLst>
                              <p:cond delay="2600"/>
                            </p:stCondLst>
                            <p:childTnLst>
                              <p:par>
                                <p:cTn id="23" presetID="30" presetClass="entr" presetSubtype="0" fill="hold" grpId="1" nodeType="afterEffect">
                                  <p:stCondLst>
                                    <p:cond delay="0"/>
                                  </p:stCondLst>
                                  <p:iterate type="lt">
                                    <p:tmPct val="0"/>
                                  </p:iterate>
                                  <p:childTnLst>
                                    <p:set>
                                      <p:cBhvr>
                                        <p:cTn id="24" dur="1" fill="hold">
                                          <p:stCondLst>
                                            <p:cond delay="0"/>
                                          </p:stCondLst>
                                        </p:cTn>
                                        <p:tgtEl>
                                          <p:spTgt spid="949264"/>
                                        </p:tgtEl>
                                        <p:attrNameLst>
                                          <p:attrName>style.visibility</p:attrName>
                                        </p:attrNameLst>
                                      </p:cBhvr>
                                      <p:to>
                                        <p:strVal val="visible"/>
                                      </p:to>
                                    </p:set>
                                    <p:animEffect transition="in" filter="fade">
                                      <p:cBhvr>
                                        <p:cTn id="25" dur="800" decel="100000"/>
                                        <p:tgtEl>
                                          <p:spTgt spid="949264"/>
                                        </p:tgtEl>
                                      </p:cBhvr>
                                    </p:animEffect>
                                    <p:anim calcmode="lin" valueType="num">
                                      <p:cBhvr>
                                        <p:cTn id="26" dur="800" decel="100000" fill="hold"/>
                                        <p:tgtEl>
                                          <p:spTgt spid="949264"/>
                                        </p:tgtEl>
                                        <p:attrNameLst>
                                          <p:attrName>style.rotation</p:attrName>
                                        </p:attrNameLst>
                                      </p:cBhvr>
                                      <p:tavLst>
                                        <p:tav tm="0">
                                          <p:val>
                                            <p:fltVal val="-90"/>
                                          </p:val>
                                        </p:tav>
                                        <p:tav tm="100000">
                                          <p:val>
                                            <p:fltVal val="0"/>
                                          </p:val>
                                        </p:tav>
                                      </p:tavLst>
                                    </p:anim>
                                    <p:anim calcmode="lin" valueType="num">
                                      <p:cBhvr>
                                        <p:cTn id="27" dur="800" decel="100000" fill="hold"/>
                                        <p:tgtEl>
                                          <p:spTgt spid="949264"/>
                                        </p:tgtEl>
                                        <p:attrNameLst>
                                          <p:attrName>ppt_x</p:attrName>
                                        </p:attrNameLst>
                                      </p:cBhvr>
                                      <p:tavLst>
                                        <p:tav tm="0">
                                          <p:val>
                                            <p:strVal val="#ppt_x+0.4"/>
                                          </p:val>
                                        </p:tav>
                                        <p:tav tm="100000">
                                          <p:val>
                                            <p:strVal val="#ppt_x-0.05"/>
                                          </p:val>
                                        </p:tav>
                                      </p:tavLst>
                                    </p:anim>
                                    <p:anim calcmode="lin" valueType="num">
                                      <p:cBhvr>
                                        <p:cTn id="28" dur="800" decel="100000" fill="hold"/>
                                        <p:tgtEl>
                                          <p:spTgt spid="949264"/>
                                        </p:tgtEl>
                                        <p:attrNameLst>
                                          <p:attrName>ppt_y</p:attrName>
                                        </p:attrNameLst>
                                      </p:cBhvr>
                                      <p:tavLst>
                                        <p:tav tm="0">
                                          <p:val>
                                            <p:strVal val="#ppt_y-0.4"/>
                                          </p:val>
                                        </p:tav>
                                        <p:tav tm="100000">
                                          <p:val>
                                            <p:strVal val="#ppt_y+0.1"/>
                                          </p:val>
                                        </p:tav>
                                      </p:tavLst>
                                    </p:anim>
                                    <p:anim calcmode="lin" valueType="num">
                                      <p:cBhvr>
                                        <p:cTn id="29" dur="200" accel="100000" fill="hold">
                                          <p:stCondLst>
                                            <p:cond delay="800"/>
                                          </p:stCondLst>
                                        </p:cTn>
                                        <p:tgtEl>
                                          <p:spTgt spid="949264"/>
                                        </p:tgtEl>
                                        <p:attrNameLst>
                                          <p:attrName>ppt_x</p:attrName>
                                        </p:attrNameLst>
                                      </p:cBhvr>
                                      <p:tavLst>
                                        <p:tav tm="0">
                                          <p:val>
                                            <p:strVal val="#ppt_x-0.05"/>
                                          </p:val>
                                        </p:tav>
                                        <p:tav tm="100000">
                                          <p:val>
                                            <p:strVal val="#ppt_x"/>
                                          </p:val>
                                        </p:tav>
                                      </p:tavLst>
                                    </p:anim>
                                    <p:anim calcmode="lin" valueType="num">
                                      <p:cBhvr>
                                        <p:cTn id="30" dur="200" accel="100000" fill="hold">
                                          <p:stCondLst>
                                            <p:cond delay="800"/>
                                          </p:stCondLst>
                                        </p:cTn>
                                        <p:tgtEl>
                                          <p:spTgt spid="949264"/>
                                        </p:tgtEl>
                                        <p:attrNameLst>
                                          <p:attrName>ppt_y</p:attrName>
                                        </p:attrNameLst>
                                      </p:cBhvr>
                                      <p:tavLst>
                                        <p:tav tm="0">
                                          <p:val>
                                            <p:strVal val="#ppt_y+0.1"/>
                                          </p:val>
                                        </p:tav>
                                        <p:tav tm="100000">
                                          <p:val>
                                            <p:strVal val="#ppt_y"/>
                                          </p:val>
                                        </p:tav>
                                      </p:tavLst>
                                    </p:anim>
                                  </p:childTnLst>
                                </p:cTn>
                              </p:par>
                            </p:childTnLst>
                          </p:cTn>
                        </p:par>
                        <p:par>
                          <p:cTn id="31" fill="hold" nodeType="afterGroup">
                            <p:stCondLst>
                              <p:cond delay="3600"/>
                            </p:stCondLst>
                            <p:childTnLst>
                              <p:par>
                                <p:cTn id="32" presetID="33" presetClass="emph" presetSubtype="0" fill="remove" grpId="2" nodeType="afterEffect">
                                  <p:stCondLst>
                                    <p:cond delay="0"/>
                                  </p:stCondLst>
                                  <p:iterate type="lt">
                                    <p:tmPct val="0"/>
                                  </p:iterate>
                                  <p:childTnLst>
                                    <p:animClr clrSpc="rgb" dir="cw">
                                      <p:cBhvr override="childStyle">
                                        <p:cTn id="33" dur="1500" accel="50000" autoRev="1" fill="hold" tmFilter="0, 0; .33333, 1; 1, 1">
                                          <p:stCondLst>
                                            <p:cond delay="0"/>
                                          </p:stCondLst>
                                        </p:cTn>
                                        <p:tgtEl>
                                          <p:spTgt spid="949263"/>
                                        </p:tgtEl>
                                        <p:attrNameLst>
                                          <p:attrName>style.color</p:attrName>
                                        </p:attrNameLst>
                                      </p:cBhvr>
                                      <p:to>
                                        <a:schemeClr val="accent2"/>
                                      </p:to>
                                    </p:animClr>
                                    <p:animClr clrSpc="rgb" dir="cw">
                                      <p:cBhvr>
                                        <p:cTn id="34" dur="1500" accel="50000" autoRev="1" fill="hold" tmFilter="0, 0; .33333, 1; 1, 1">
                                          <p:stCondLst>
                                            <p:cond delay="0"/>
                                          </p:stCondLst>
                                        </p:cTn>
                                        <p:tgtEl>
                                          <p:spTgt spid="949263"/>
                                        </p:tgtEl>
                                        <p:attrNameLst>
                                          <p:attrName>fillcolor</p:attrName>
                                        </p:attrNameLst>
                                      </p:cBhvr>
                                      <p:to>
                                        <a:schemeClr val="accent2"/>
                                      </p:to>
                                    </p:animClr>
                                    <p:set>
                                      <p:cBhvr>
                                        <p:cTn id="35" dur="3000" fill="hold"/>
                                        <p:tgtEl>
                                          <p:spTgt spid="949263"/>
                                        </p:tgtEl>
                                        <p:attrNameLst>
                                          <p:attrName>fill.type</p:attrName>
                                        </p:attrNameLst>
                                      </p:cBhvr>
                                      <p:to>
                                        <p:strVal val="solid"/>
                                      </p:to>
                                    </p:set>
                                    <p:set>
                                      <p:cBhvr>
                                        <p:cTn id="36" dur="3000" fill="hold"/>
                                        <p:tgtEl>
                                          <p:spTgt spid="949263"/>
                                        </p:tgtEl>
                                        <p:attrNameLst>
                                          <p:attrName>fill.on</p:attrName>
                                        </p:attrNameLst>
                                      </p:cBhvr>
                                      <p:to>
                                        <p:strVal val="true"/>
                                      </p:to>
                                    </p:set>
                                    <p:animScale>
                                      <p:cBhvr>
                                        <p:cTn id="37" dur="1500" accel="50000" autoRev="1" fill="hold" tmFilter="0, 0; .33333, 1; 1, 1">
                                          <p:stCondLst>
                                            <p:cond delay="0"/>
                                          </p:stCondLst>
                                        </p:cTn>
                                        <p:tgtEl>
                                          <p:spTgt spid="949263"/>
                                        </p:tgtEl>
                                      </p:cBhvr>
                                      <p:from x="100000" y="100000"/>
                                      <p:to x="100000" y="140000"/>
                                    </p:animScale>
                                  </p:childTnLst>
                                </p:cTn>
                              </p:par>
                            </p:childTnLst>
                          </p:cTn>
                        </p:par>
                        <p:par>
                          <p:cTn id="38" fill="hold" nodeType="afterGroup">
                            <p:stCondLst>
                              <p:cond delay="6600"/>
                            </p:stCondLst>
                            <p:childTnLst>
                              <p:par>
                                <p:cTn id="39" presetID="8" presetClass="emph" presetSubtype="0" fill="hold" grpId="2" nodeType="afterEffect">
                                  <p:stCondLst>
                                    <p:cond delay="0"/>
                                  </p:stCondLst>
                                  <p:iterate type="lt">
                                    <p:tmPct val="0"/>
                                  </p:iterate>
                                  <p:childTnLst>
                                    <p:animRot by="21600000">
                                      <p:cBhvr>
                                        <p:cTn id="40" dur="2000" fill="hold"/>
                                        <p:tgtEl>
                                          <p:spTgt spid="949264"/>
                                        </p:tgtEl>
                                        <p:attrNameLst>
                                          <p:attrName>r</p:attrName>
                                        </p:attrNameLst>
                                      </p:cBhvr>
                                    </p:animRot>
                                  </p:childTnLst>
                                </p:cTn>
                              </p:par>
                            </p:childTnLst>
                          </p:cTn>
                        </p:par>
                        <p:par>
                          <p:cTn id="41" fill="hold" nodeType="afterGroup">
                            <p:stCondLst>
                              <p:cond delay="8600"/>
                            </p:stCondLst>
                            <p:childTnLst>
                              <p:par>
                                <p:cTn id="42" presetID="6" presetClass="emph" presetSubtype="0" fill="hold" grpId="3" nodeType="afterEffect">
                                  <p:stCondLst>
                                    <p:cond delay="0"/>
                                  </p:stCondLst>
                                  <p:iterate type="lt">
                                    <p:tmPct val="0"/>
                                  </p:iterate>
                                  <p:childTnLst>
                                    <p:animScale>
                                      <p:cBhvr>
                                        <p:cTn id="43" dur="2000" fill="hold"/>
                                        <p:tgtEl>
                                          <p:spTgt spid="949263"/>
                                        </p:tgtEl>
                                      </p:cBhvr>
                                      <p:by x="150000" y="150000"/>
                                    </p:animScale>
                                  </p:childTnLst>
                                </p:cTn>
                              </p:par>
                            </p:childTnLst>
                          </p:cTn>
                        </p:par>
                        <p:par>
                          <p:cTn id="44" fill="hold" nodeType="afterGroup">
                            <p:stCondLst>
                              <p:cond delay="10600"/>
                            </p:stCondLst>
                            <p:childTnLst>
                              <p:par>
                                <p:cTn id="45" presetID="28" presetClass="emph" presetSubtype="0" fill="hold" grpId="3" nodeType="afterEffect">
                                  <p:stCondLst>
                                    <p:cond delay="0"/>
                                  </p:stCondLst>
                                  <p:iterate type="lt">
                                    <p:tmPct val="10000"/>
                                  </p:iterate>
                                  <p:childTnLst>
                                    <p:animClr clrSpc="rgb" dir="cw">
                                      <p:cBhvr override="childStyle">
                                        <p:cTn id="46" dur="500" fill="hold"/>
                                        <p:tgtEl>
                                          <p:spTgt spid="949264"/>
                                        </p:tgtEl>
                                        <p:attrNameLst>
                                          <p:attrName>style.color</p:attrName>
                                        </p:attrNameLst>
                                      </p:cBhvr>
                                      <p:to>
                                        <a:schemeClr val="accent2"/>
                                      </p:to>
                                    </p:animClr>
                                    <p:animClr clrSpc="rgb" dir="cw">
                                      <p:cBhvr>
                                        <p:cTn id="47" dur="500" fill="hold"/>
                                        <p:tgtEl>
                                          <p:spTgt spid="949264"/>
                                        </p:tgtEl>
                                        <p:attrNameLst>
                                          <p:attrName>fillcolor</p:attrName>
                                        </p:attrNameLst>
                                      </p:cBhvr>
                                      <p:to>
                                        <a:schemeClr val="accent2"/>
                                      </p:to>
                                    </p:animClr>
                                    <p:set>
                                      <p:cBhvr>
                                        <p:cTn id="48" dur="500" fill="hold"/>
                                        <p:tgtEl>
                                          <p:spTgt spid="949264"/>
                                        </p:tgtEl>
                                        <p:attrNameLst>
                                          <p:attrName>fill.type</p:attrName>
                                        </p:attrNameLst>
                                      </p:cBhvr>
                                      <p:to>
                                        <p:strVal val="solid"/>
                                      </p:to>
                                    </p:set>
                                    <p:anim to="1.5" calcmode="lin" valueType="num">
                                      <p:cBhvr override="childStyle">
                                        <p:cTn id="49" dur="500" fill="hold"/>
                                        <p:tgtEl>
                                          <p:spTgt spid="949264"/>
                                        </p:tgtEl>
                                        <p:attrNameLst>
                                          <p:attrName>style.fontSize</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9263" grpId="0" autoUpdateAnimBg="0"/>
      <p:bldP spid="949263" grpId="1"/>
      <p:bldP spid="949263" grpId="2"/>
      <p:bldP spid="949263" grpId="3"/>
      <p:bldP spid="949264" grpId="0" autoUpdateAnimBg="0"/>
      <p:bldP spid="949264" grpId="1"/>
      <p:bldP spid="949264" grpId="2"/>
      <p:bldP spid="949264" grpId="3"/>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836613"/>
            <a:ext cx="7772400" cy="2952750"/>
          </a:xfrm>
        </p:spPr>
        <p:txBody>
          <a:bodyPr>
            <a:normAutofit/>
          </a:bodyPr>
          <a:lstStyle/>
          <a:p>
            <a:pPr algn="ctr">
              <a:defRPr/>
            </a:pPr>
            <a:r>
              <a:rPr lang="en-US" sz="8000" b="1" dirty="0">
                <a:solidFill>
                  <a:srgbClr val="FFC000"/>
                </a:solidFill>
              </a:rPr>
              <a:t>Case </a:t>
            </a:r>
            <a:r>
              <a:rPr lang="en-US" sz="8000" b="1" dirty="0" smtClean="0">
                <a:solidFill>
                  <a:srgbClr val="FFC000"/>
                </a:solidFill>
              </a:rPr>
              <a:t>study 1 </a:t>
            </a:r>
            <a:endParaRPr lang="en-US" sz="8000" b="1" dirty="0">
              <a:solidFill>
                <a:srgbClr val="FFC000"/>
              </a:solidFill>
            </a:endParaRPr>
          </a:p>
        </p:txBody>
      </p:sp>
    </p:spTree>
    <p:extLst>
      <p:ext uri="{BB962C8B-B14F-4D97-AF65-F5344CB8AC3E}">
        <p14:creationId xmlns:p14="http://schemas.microsoft.com/office/powerpoint/2010/main" val="1572773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836613"/>
            <a:ext cx="7772400" cy="2952750"/>
          </a:xfrm>
        </p:spPr>
        <p:txBody>
          <a:bodyPr>
            <a:normAutofit/>
          </a:bodyPr>
          <a:lstStyle/>
          <a:p>
            <a:pPr algn="ctr">
              <a:defRPr/>
            </a:pPr>
            <a:r>
              <a:rPr lang="en-US" sz="8000" b="1" dirty="0">
                <a:solidFill>
                  <a:srgbClr val="FFC000"/>
                </a:solidFill>
              </a:rPr>
              <a:t>Case </a:t>
            </a:r>
            <a:r>
              <a:rPr lang="en-US" sz="8000" b="1" dirty="0" smtClean="0">
                <a:solidFill>
                  <a:srgbClr val="FFC000"/>
                </a:solidFill>
              </a:rPr>
              <a:t>study 2 </a:t>
            </a:r>
            <a:endParaRPr lang="en-US" sz="8000" b="1" dirty="0">
              <a:solidFill>
                <a:srgbClr val="FFC000"/>
              </a:solidFill>
            </a:endParaRPr>
          </a:p>
        </p:txBody>
      </p:sp>
    </p:spTree>
    <p:extLst>
      <p:ext uri="{BB962C8B-B14F-4D97-AF65-F5344CB8AC3E}">
        <p14:creationId xmlns:p14="http://schemas.microsoft.com/office/powerpoint/2010/main" val="4627060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2" descr="Image result for case history"/>
          <p:cNvPicPr>
            <a:picLocks noChangeAspect="1" noChangeArrowheads="1"/>
          </p:cNvPicPr>
          <p:nvPr/>
        </p:nvPicPr>
        <p:blipFill>
          <a:blip r:embed="rId2"/>
          <a:srcRect b="11143"/>
          <a:stretch>
            <a:fillRect/>
          </a:stretch>
        </p:blipFill>
        <p:spPr bwMode="auto">
          <a:xfrm>
            <a:off x="457202" y="609604"/>
            <a:ext cx="8247063" cy="5394325"/>
          </a:xfrm>
          <a:prstGeom prst="rect">
            <a:avLst/>
          </a:prstGeom>
          <a:noFill/>
          <a:ln w="9525">
            <a:noFill/>
            <a:miter lim="800000"/>
            <a:headEnd/>
            <a:tailEnd/>
          </a:ln>
        </p:spPr>
      </p:pic>
    </p:spTree>
    <p:extLst>
      <p:ext uri="{BB962C8B-B14F-4D97-AF65-F5344CB8AC3E}">
        <p14:creationId xmlns:p14="http://schemas.microsoft.com/office/powerpoint/2010/main" val="245045967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800" b="1" dirty="0" smtClean="0">
                <a:latin typeface="Candara" panose="020E0502030303020204" pitchFamily="34" charset="0"/>
              </a:rPr>
              <a:t>A 13-year-old male presents to the emergency department with </a:t>
            </a:r>
            <a:r>
              <a:rPr lang="en-US" sz="2800" b="1" dirty="0" smtClean="0">
                <a:solidFill>
                  <a:srgbClr val="FF0000"/>
                </a:solidFill>
                <a:latin typeface="Candara" panose="020E0502030303020204" pitchFamily="34" charset="0"/>
              </a:rPr>
              <a:t>acute onset of breathlessness</a:t>
            </a:r>
            <a:r>
              <a:rPr lang="en-US" sz="2800" b="1" dirty="0" smtClean="0">
                <a:latin typeface="Candara" panose="020E0502030303020204" pitchFamily="34" charset="0"/>
              </a:rPr>
              <a:t>. He has had </a:t>
            </a:r>
            <a:r>
              <a:rPr lang="en-US" sz="2800" b="1" dirty="0" smtClean="0">
                <a:solidFill>
                  <a:srgbClr val="FF0000"/>
                </a:solidFill>
                <a:latin typeface="Candara" panose="020E0502030303020204" pitchFamily="34" charset="0"/>
              </a:rPr>
              <a:t>recurrent</a:t>
            </a:r>
            <a:r>
              <a:rPr lang="en-US" sz="2800" b="1" dirty="0" smtClean="0">
                <a:latin typeface="Candara" panose="020E0502030303020204" pitchFamily="34" charset="0"/>
              </a:rPr>
              <a:t>, episodic attacks of wheezing, cough, dyspnea, itchy red eyes, nasal discharge, and occasional chest tightness for past 2 years.</a:t>
            </a:r>
          </a:p>
          <a:p>
            <a:endParaRPr lang="en-US" sz="2800" b="1" dirty="0">
              <a:latin typeface="Candara" panose="020E0502030303020204" pitchFamily="34" charset="0"/>
            </a:endParaRPr>
          </a:p>
        </p:txBody>
      </p:sp>
    </p:spTree>
    <p:extLst>
      <p:ext uri="{BB962C8B-B14F-4D97-AF65-F5344CB8AC3E}">
        <p14:creationId xmlns:p14="http://schemas.microsoft.com/office/powerpoint/2010/main" val="38274274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800" b="1" dirty="0">
                <a:solidFill>
                  <a:srgbClr val="212121"/>
                </a:solidFill>
                <a:latin typeface="Candara" panose="020E0502030303020204" pitchFamily="34" charset="0"/>
              </a:rPr>
              <a:t>Initially, his symptoms were relieved by </a:t>
            </a:r>
            <a:r>
              <a:rPr lang="en-US" sz="2800" b="1" dirty="0">
                <a:solidFill>
                  <a:srgbClr val="FF0000"/>
                </a:solidFill>
                <a:latin typeface="Candara" panose="020E0502030303020204" pitchFamily="34" charset="0"/>
              </a:rPr>
              <a:t>short-acting </a:t>
            </a:r>
            <a:r>
              <a:rPr lang="en-US" sz="2800" b="1" dirty="0" smtClean="0">
                <a:solidFill>
                  <a:srgbClr val="FF0000"/>
                </a:solidFill>
                <a:latin typeface="Candara" panose="020E0502030303020204" pitchFamily="34" charset="0"/>
              </a:rPr>
              <a:t>β-agonist</a:t>
            </a:r>
            <a:r>
              <a:rPr lang="en-US" sz="2800" b="1" dirty="0" smtClean="0">
                <a:solidFill>
                  <a:srgbClr val="212121"/>
                </a:solidFill>
                <a:latin typeface="Candara" panose="020E0502030303020204" pitchFamily="34" charset="0"/>
              </a:rPr>
              <a:t>, </a:t>
            </a:r>
            <a:r>
              <a:rPr lang="en-US" sz="2800" b="1" dirty="0">
                <a:solidFill>
                  <a:srgbClr val="212121"/>
                </a:solidFill>
                <a:latin typeface="Candara" panose="020E0502030303020204" pitchFamily="34" charset="0"/>
              </a:rPr>
              <a:t>albuterol. However, the frequency and the severity of the symptoms have increased for the past 1 month with the patient </a:t>
            </a:r>
            <a:r>
              <a:rPr lang="en-US" sz="2800" b="1" dirty="0">
                <a:solidFill>
                  <a:srgbClr val="FF0000"/>
                </a:solidFill>
                <a:latin typeface="Candara" panose="020E0502030303020204" pitchFamily="34" charset="0"/>
              </a:rPr>
              <a:t>waking up </a:t>
            </a:r>
            <a:r>
              <a:rPr lang="en-US" sz="2800" b="1" dirty="0">
                <a:solidFill>
                  <a:srgbClr val="212121"/>
                </a:solidFill>
                <a:latin typeface="Candara" panose="020E0502030303020204" pitchFamily="34" charset="0"/>
              </a:rPr>
              <a:t>with these symptoms. He has a history of eczema. His </a:t>
            </a:r>
            <a:r>
              <a:rPr lang="en-US" sz="2800" b="1" dirty="0">
                <a:solidFill>
                  <a:srgbClr val="FF0000"/>
                </a:solidFill>
                <a:latin typeface="Candara" panose="020E0502030303020204" pitchFamily="34" charset="0"/>
              </a:rPr>
              <a:t>family history </a:t>
            </a:r>
            <a:r>
              <a:rPr lang="en-US" sz="2800" b="1" dirty="0">
                <a:solidFill>
                  <a:srgbClr val="212121"/>
                </a:solidFill>
                <a:latin typeface="Candara" panose="020E0502030303020204" pitchFamily="34" charset="0"/>
              </a:rPr>
              <a:t>is significant for asthma in his mother</a:t>
            </a:r>
            <a:endParaRPr lang="en-US" sz="2800" b="1" dirty="0">
              <a:latin typeface="Candara" panose="020E0502030303020204" pitchFamily="34" charset="0"/>
            </a:endParaRPr>
          </a:p>
        </p:txBody>
      </p:sp>
    </p:spTree>
    <p:extLst>
      <p:ext uri="{BB962C8B-B14F-4D97-AF65-F5344CB8AC3E}">
        <p14:creationId xmlns:p14="http://schemas.microsoft.com/office/powerpoint/2010/main" val="8634676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lvl="0"/>
            <a:r>
              <a:rPr lang="en-US" sz="3000" b="1" dirty="0">
                <a:solidFill>
                  <a:prstClr val="black"/>
                </a:solidFill>
              </a:rPr>
              <a:t>Physical examination </a:t>
            </a:r>
            <a:r>
              <a:rPr lang="en-US" sz="3000" dirty="0">
                <a:solidFill>
                  <a:prstClr val="black"/>
                </a:solidFill>
              </a:rPr>
              <a:t>reveals respiratory rate of </a:t>
            </a:r>
            <a:r>
              <a:rPr lang="en-US" sz="3000" dirty="0" smtClean="0">
                <a:solidFill>
                  <a:srgbClr val="FF0000"/>
                </a:solidFill>
              </a:rPr>
              <a:t>22c/min</a:t>
            </a:r>
            <a:r>
              <a:rPr lang="en-US" sz="3000" dirty="0" smtClean="0">
                <a:solidFill>
                  <a:prstClr val="black"/>
                </a:solidFill>
              </a:rPr>
              <a:t> </a:t>
            </a:r>
            <a:r>
              <a:rPr lang="en-US" sz="3000" dirty="0">
                <a:solidFill>
                  <a:prstClr val="black"/>
                </a:solidFill>
              </a:rPr>
              <a:t>and </a:t>
            </a:r>
            <a:r>
              <a:rPr lang="en-US" sz="3000" dirty="0">
                <a:solidFill>
                  <a:srgbClr val="FF0000"/>
                </a:solidFill>
              </a:rPr>
              <a:t>diffuse wheezing </a:t>
            </a:r>
            <a:r>
              <a:rPr lang="en-US" sz="3000" dirty="0">
                <a:solidFill>
                  <a:prstClr val="black"/>
                </a:solidFill>
              </a:rPr>
              <a:t>all over the lung </a:t>
            </a:r>
            <a:r>
              <a:rPr lang="en-US" sz="3000" dirty="0" smtClean="0">
                <a:solidFill>
                  <a:prstClr val="black"/>
                </a:solidFill>
              </a:rPr>
              <a:t>fields.</a:t>
            </a:r>
          </a:p>
          <a:p>
            <a:pPr lvl="0">
              <a:buNone/>
            </a:pPr>
            <a:endParaRPr lang="en-US" sz="3000" dirty="0" smtClean="0">
              <a:solidFill>
                <a:prstClr val="black"/>
              </a:solidFill>
            </a:endParaRPr>
          </a:p>
          <a:p>
            <a:pPr lvl="0">
              <a:buNone/>
            </a:pPr>
            <a:endParaRPr lang="en-US" sz="3000" dirty="0">
              <a:solidFill>
                <a:prstClr val="black"/>
              </a:solidFill>
            </a:endParaRPr>
          </a:p>
          <a:p>
            <a:endParaRPr lang="en-US" dirty="0"/>
          </a:p>
        </p:txBody>
      </p:sp>
    </p:spTree>
    <p:extLst>
      <p:ext uri="{BB962C8B-B14F-4D97-AF65-F5344CB8AC3E}">
        <p14:creationId xmlns:p14="http://schemas.microsoft.com/office/powerpoint/2010/main" val="7806050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8601" y="1447800"/>
            <a:ext cx="7772399" cy="4185137"/>
          </a:xfrm>
        </p:spPr>
      </p:pic>
      <p:sp>
        <p:nvSpPr>
          <p:cNvPr id="2" name="Title 1"/>
          <p:cNvSpPr>
            <a:spLocks noGrp="1"/>
          </p:cNvSpPr>
          <p:nvPr>
            <p:ph type="title"/>
          </p:nvPr>
        </p:nvSpPr>
        <p:spPr/>
        <p:txBody>
          <a:bodyPr/>
          <a:lstStyle/>
          <a:p>
            <a:r>
              <a:rPr lang="en-US" dirty="0" smtClean="0"/>
              <a:t>What i your diagnosis</a:t>
            </a:r>
            <a:endParaRPr lang="en-US" dirty="0"/>
          </a:p>
        </p:txBody>
      </p:sp>
    </p:spTree>
    <p:extLst>
      <p:ext uri="{BB962C8B-B14F-4D97-AF65-F5344CB8AC3E}">
        <p14:creationId xmlns:p14="http://schemas.microsoft.com/office/powerpoint/2010/main" val="3518938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685800"/>
            <a:ext cx="7772400" cy="4495800"/>
          </a:xfrm>
        </p:spPr>
        <p:txBody>
          <a:bodyPr>
            <a:noAutofit/>
          </a:bodyPr>
          <a:lstStyle/>
          <a:p>
            <a:pPr algn="l"/>
            <a:r>
              <a:rPr lang="en-US" sz="2800" dirty="0" smtClean="0">
                <a:solidFill>
                  <a:schemeClr val="accent2"/>
                </a:solidFill>
              </a:rPr>
              <a:t/>
            </a:r>
            <a:br>
              <a:rPr lang="en-US" sz="2800" dirty="0" smtClean="0">
                <a:solidFill>
                  <a:schemeClr val="accent2"/>
                </a:solidFill>
              </a:rPr>
            </a:br>
            <a:r>
              <a:rPr lang="en-US" sz="2800" dirty="0" smtClean="0">
                <a:solidFill>
                  <a:srgbClr val="0070C0"/>
                </a:solidFill>
              </a:rPr>
              <a:t>What is the most probable diagnosis ?</a:t>
            </a:r>
            <a:r>
              <a:rPr lang="en-US" sz="2800" dirty="0" smtClean="0">
                <a:solidFill>
                  <a:schemeClr val="accent2"/>
                </a:solidFill>
              </a:rPr>
              <a:t/>
            </a:r>
            <a:br>
              <a:rPr lang="en-US" sz="2800" dirty="0" smtClean="0">
                <a:solidFill>
                  <a:schemeClr val="accent2"/>
                </a:solidFill>
              </a:rPr>
            </a:br>
            <a:r>
              <a:rPr lang="en-US" sz="2800" dirty="0" smtClean="0">
                <a:solidFill>
                  <a:schemeClr val="accent2"/>
                </a:solidFill>
              </a:rPr>
              <a:t> </a:t>
            </a:r>
            <a:br>
              <a:rPr lang="en-US" sz="2800" dirty="0" smtClean="0">
                <a:solidFill>
                  <a:schemeClr val="accent2"/>
                </a:solidFill>
              </a:rPr>
            </a:br>
            <a:r>
              <a:rPr lang="en-US" sz="2800" dirty="0" smtClean="0">
                <a:solidFill>
                  <a:schemeClr val="accent2"/>
                </a:solidFill>
              </a:rPr>
              <a:t>a. Bronchial asthma</a:t>
            </a:r>
            <a:br>
              <a:rPr lang="en-US" sz="2800" dirty="0" smtClean="0">
                <a:solidFill>
                  <a:schemeClr val="accent2"/>
                </a:solidFill>
              </a:rPr>
            </a:br>
            <a:r>
              <a:rPr lang="en-US" sz="2800" dirty="0" smtClean="0">
                <a:solidFill>
                  <a:schemeClr val="accent2"/>
                </a:solidFill>
              </a:rPr>
              <a:t>b. COPD</a:t>
            </a:r>
            <a:br>
              <a:rPr lang="en-US" sz="2800" dirty="0" smtClean="0">
                <a:solidFill>
                  <a:schemeClr val="accent2"/>
                </a:solidFill>
              </a:rPr>
            </a:br>
            <a:r>
              <a:rPr lang="en-US" sz="2800" dirty="0" smtClean="0">
                <a:solidFill>
                  <a:schemeClr val="accent2"/>
                </a:solidFill>
              </a:rPr>
              <a:t>c. Bronchiectasis </a:t>
            </a:r>
            <a:br>
              <a:rPr lang="en-US" sz="2800" dirty="0" smtClean="0">
                <a:solidFill>
                  <a:schemeClr val="accent2"/>
                </a:solidFill>
              </a:rPr>
            </a:br>
            <a:r>
              <a:rPr lang="en-US" sz="2800" dirty="0" smtClean="0">
                <a:solidFill>
                  <a:schemeClr val="accent2"/>
                </a:solidFill>
              </a:rPr>
              <a:t>d. Extrinsic allergic alveolitis</a:t>
            </a:r>
            <a:br>
              <a:rPr lang="en-US" sz="2800" dirty="0" smtClean="0">
                <a:solidFill>
                  <a:schemeClr val="accent2"/>
                </a:solidFill>
              </a:rPr>
            </a:br>
            <a:r>
              <a:rPr lang="en-US" sz="2800" dirty="0" smtClean="0">
                <a:solidFill>
                  <a:schemeClr val="accent2"/>
                </a:solidFill>
              </a:rPr>
              <a:t/>
            </a:r>
            <a:br>
              <a:rPr lang="en-US" sz="2800" dirty="0" smtClean="0">
                <a:solidFill>
                  <a:schemeClr val="accent2"/>
                </a:solidFill>
              </a:rPr>
            </a:br>
            <a:endParaRPr lang="en-US" sz="2800" dirty="0">
              <a:solidFill>
                <a:schemeClr val="accent2"/>
              </a:solidFill>
            </a:endParaRPr>
          </a:p>
        </p:txBody>
      </p:sp>
    </p:spTree>
    <p:extLst>
      <p:ext uri="{BB962C8B-B14F-4D97-AF65-F5344CB8AC3E}">
        <p14:creationId xmlns:p14="http://schemas.microsoft.com/office/powerpoint/2010/main" val="35109865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bg>
      <p:bgPr>
        <a:blipFill>
          <a:blip r:embed="rId3"/>
          <a:tile tx="0" ty="0" sx="100000" sy="100000" flip="none" algn="tl"/>
        </a:blipFill>
        <a:effectLst/>
      </p:bgPr>
    </p:bg>
    <p:spTree>
      <p:nvGrpSpPr>
        <p:cNvPr id="1" name=""/>
        <p:cNvGrpSpPr/>
        <p:nvPr/>
      </p:nvGrpSpPr>
      <p:grpSpPr>
        <a:xfrm>
          <a:off x="0" y="0"/>
          <a:ext cx="0" cy="0"/>
          <a:chOff x="0" y="0"/>
          <a:chExt cx="0" cy="0"/>
        </a:xfrm>
      </p:grpSpPr>
      <p:sp>
        <p:nvSpPr>
          <p:cNvPr id="75778" name="Rectangle 2"/>
          <p:cNvSpPr>
            <a:spLocks noChangeArrowheads="1"/>
          </p:cNvSpPr>
          <p:nvPr/>
        </p:nvSpPr>
        <p:spPr bwMode="auto">
          <a:xfrm>
            <a:off x="457200" y="354015"/>
            <a:ext cx="8229600" cy="788985"/>
          </a:xfrm>
          <a:prstGeom prst="rect">
            <a:avLst/>
          </a:prstGeom>
          <a:solidFill>
            <a:srgbClr val="C00000"/>
          </a:solidFill>
          <a:ln w="9525">
            <a:noFill/>
            <a:miter lim="800000"/>
            <a:headEnd/>
            <a:tailEnd/>
          </a:ln>
        </p:spPr>
        <p:txBody>
          <a:bodyPr anchor="ctr" anchorCtr="1"/>
          <a:lstStyle/>
          <a:p>
            <a:pPr marL="0" marR="0" lvl="0" indent="0" algn="ctr" defTabSz="931863" rtl="0" eaLnBrk="0" fontAlgn="auto" latinLnBrk="0" hangingPunct="0">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66"/>
                </a:solidFill>
                <a:effectLst/>
                <a:uLnTx/>
                <a:uFillTx/>
                <a:latin typeface="Verdana" pitchFamily="34" charset="0"/>
                <a:ea typeface="+mn-ea"/>
                <a:cs typeface="+mn-cs"/>
              </a:rPr>
              <a:t>Conditions Mimicking Asthma</a:t>
            </a:r>
          </a:p>
        </p:txBody>
      </p:sp>
      <p:sp>
        <p:nvSpPr>
          <p:cNvPr id="75779" name="Rectangle 3"/>
          <p:cNvSpPr>
            <a:spLocks noChangeArrowheads="1"/>
          </p:cNvSpPr>
          <p:nvPr/>
        </p:nvSpPr>
        <p:spPr bwMode="auto">
          <a:xfrm>
            <a:off x="457200" y="1567657"/>
            <a:ext cx="4343400" cy="4985543"/>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a:lstStyle/>
          <a:p>
            <a:pPr marL="922337" marR="0" lvl="1" indent="-457200" algn="l" defTabSz="931863" rtl="0" eaLnBrk="0" fontAlgn="auto" latinLnBrk="0" hangingPunct="0">
              <a:lnSpc>
                <a:spcPct val="90000"/>
              </a:lnSpc>
              <a:spcBef>
                <a:spcPct val="20000"/>
              </a:spcBef>
              <a:spcAft>
                <a:spcPts val="0"/>
              </a:spcAft>
              <a:buClrTx/>
              <a:buSzTx/>
              <a:buFont typeface="Courier New" panose="02070309020205020404" pitchFamily="49" charset="0"/>
              <a:buChar char="o"/>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COPD</a:t>
            </a:r>
          </a:p>
          <a:p>
            <a:pPr marL="922337" marR="0" lvl="1" indent="-457200" algn="l" defTabSz="931863" rtl="0" eaLnBrk="0" fontAlgn="auto" latinLnBrk="0" hangingPunct="0">
              <a:lnSpc>
                <a:spcPct val="90000"/>
              </a:lnSpc>
              <a:spcBef>
                <a:spcPct val="20000"/>
              </a:spcBef>
              <a:spcAft>
                <a:spcPts val="0"/>
              </a:spcAft>
              <a:buClrTx/>
              <a:buSzTx/>
              <a:buFont typeface="Courier New" panose="02070309020205020404" pitchFamily="49" charset="0"/>
              <a:buChar char="o"/>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GERD</a:t>
            </a:r>
          </a:p>
          <a:p>
            <a:pPr marL="922337" marR="0" lvl="1" indent="-457200" algn="l" defTabSz="931863" rtl="0" eaLnBrk="0" fontAlgn="auto" latinLnBrk="0" hangingPunct="0">
              <a:lnSpc>
                <a:spcPct val="90000"/>
              </a:lnSpc>
              <a:spcBef>
                <a:spcPct val="20000"/>
              </a:spcBef>
              <a:spcAft>
                <a:spcPts val="0"/>
              </a:spcAft>
              <a:buClrTx/>
              <a:buSzTx/>
              <a:buFont typeface="Courier New" panose="02070309020205020404" pitchFamily="49" charset="0"/>
              <a:buChar char="o"/>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Pulmonary embolism</a:t>
            </a:r>
          </a:p>
          <a:p>
            <a:pPr marL="922337" marR="0" lvl="1" indent="-457200" algn="l" defTabSz="931863" rtl="0" eaLnBrk="0" fontAlgn="auto" latinLnBrk="0" hangingPunct="0">
              <a:lnSpc>
                <a:spcPct val="90000"/>
              </a:lnSpc>
              <a:spcBef>
                <a:spcPct val="20000"/>
              </a:spcBef>
              <a:spcAft>
                <a:spcPts val="0"/>
              </a:spcAft>
              <a:buClrTx/>
              <a:buSzTx/>
              <a:buFont typeface="Courier New" panose="02070309020205020404" pitchFamily="49" charset="0"/>
              <a:buChar char="o"/>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Bronchiectasis </a:t>
            </a:r>
            <a:endPar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mn-ea"/>
              <a:cs typeface="+mn-cs"/>
            </a:endParaRPr>
          </a:p>
          <a:p>
            <a:pPr marL="922337" marR="0" lvl="1" indent="-457200" algn="l" defTabSz="931863" rtl="0" eaLnBrk="0" fontAlgn="auto" latinLnBrk="0" hangingPunct="0">
              <a:lnSpc>
                <a:spcPct val="90000"/>
              </a:lnSpc>
              <a:spcBef>
                <a:spcPct val="20000"/>
              </a:spcBef>
              <a:spcAft>
                <a:spcPts val="0"/>
              </a:spcAft>
              <a:buClrTx/>
              <a:buSzTx/>
              <a:buFont typeface="Courier New" panose="02070309020205020404" pitchFamily="49" charset="0"/>
              <a:buChar char="o"/>
              <a:tabLst/>
              <a:defRPr/>
            </a:pPr>
            <a:r>
              <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mn-ea"/>
                <a:cs typeface="+mn-cs"/>
              </a:rPr>
              <a:t>Cardiac </a:t>
            </a: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disease</a:t>
            </a:r>
          </a:p>
          <a:p>
            <a:pPr marL="922337" marR="0" lvl="1" indent="-457200" algn="l" defTabSz="931863" rtl="0" eaLnBrk="0" fontAlgn="auto" latinLnBrk="0" hangingPunct="0">
              <a:lnSpc>
                <a:spcPct val="90000"/>
              </a:lnSpc>
              <a:spcBef>
                <a:spcPct val="20000"/>
              </a:spcBef>
              <a:spcAft>
                <a:spcPts val="0"/>
              </a:spcAft>
              <a:buClrTx/>
              <a:buSzTx/>
              <a:buFont typeface="Courier New" panose="02070309020205020404" pitchFamily="49" charset="0"/>
              <a:buChar char="o"/>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Bronchiolitis</a:t>
            </a:r>
          </a:p>
          <a:p>
            <a:pPr marL="922337" marR="0" lvl="1" indent="-457200" algn="l" defTabSz="931863" rtl="0" eaLnBrk="0" fontAlgn="auto" latinLnBrk="0" hangingPunct="0">
              <a:lnSpc>
                <a:spcPct val="90000"/>
              </a:lnSpc>
              <a:spcBef>
                <a:spcPct val="20000"/>
              </a:spcBef>
              <a:spcAft>
                <a:spcPts val="0"/>
              </a:spcAft>
              <a:buClrTx/>
              <a:buSzTx/>
              <a:buFont typeface="Courier New" panose="02070309020205020404" pitchFamily="49" charset="0"/>
              <a:buChar char="o"/>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ILD</a:t>
            </a:r>
            <a:endPar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mn-ea"/>
              <a:cs typeface="+mn-cs"/>
            </a:endParaRPr>
          </a:p>
          <a:p>
            <a:pPr marL="922337" marR="0" lvl="1" indent="-457200" algn="l" defTabSz="931863" rtl="0" eaLnBrk="0" fontAlgn="auto" latinLnBrk="0" hangingPunct="0">
              <a:lnSpc>
                <a:spcPct val="90000"/>
              </a:lnSpc>
              <a:spcBef>
                <a:spcPct val="20000"/>
              </a:spcBef>
              <a:spcAft>
                <a:spcPts val="0"/>
              </a:spcAft>
              <a:buClrTx/>
              <a:buSzTx/>
              <a:buFont typeface="Courier New" panose="02070309020205020404" pitchFamily="49" charset="0"/>
              <a:buChar char="o"/>
              <a:tabLst/>
              <a:defRPr/>
            </a:pPr>
            <a:r>
              <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mn-ea"/>
                <a:cs typeface="+mn-cs"/>
              </a:rPr>
              <a:t>Cystic </a:t>
            </a: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Fibrosis</a:t>
            </a:r>
          </a:p>
          <a:p>
            <a:pPr marL="922337" marR="0" lvl="1" indent="-457200" algn="l" defTabSz="931863" rtl="0" eaLnBrk="0" fontAlgn="auto" latinLnBrk="0" hangingPunct="0">
              <a:lnSpc>
                <a:spcPct val="90000"/>
              </a:lnSpc>
              <a:spcBef>
                <a:spcPct val="20000"/>
              </a:spcBef>
              <a:spcAft>
                <a:spcPts val="0"/>
              </a:spcAft>
              <a:buClrTx/>
              <a:buSzTx/>
              <a:buFont typeface="Courier New" panose="02070309020205020404" pitchFamily="49" charset="0"/>
              <a:buChar char="o"/>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Psychogenic</a:t>
            </a:r>
            <a:endPar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mn-ea"/>
              <a:cs typeface="+mn-cs"/>
            </a:endParaRPr>
          </a:p>
          <a:p>
            <a:pPr marL="922337" marR="0" lvl="1" indent="-457200" algn="l" defTabSz="931863" rtl="0" eaLnBrk="0" fontAlgn="auto" latinLnBrk="0" hangingPunct="0">
              <a:lnSpc>
                <a:spcPct val="90000"/>
              </a:lnSpc>
              <a:spcBef>
                <a:spcPct val="20000"/>
              </a:spcBef>
              <a:spcAft>
                <a:spcPts val="0"/>
              </a:spcAft>
              <a:buClrTx/>
              <a:buSzTx/>
              <a:buFont typeface="Courier New" panose="02070309020205020404" pitchFamily="49" charset="0"/>
              <a:buChar char="o"/>
              <a:tabLst/>
              <a:defRPr/>
            </a:pPr>
            <a:endPar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mn-ea"/>
              <a:cs typeface="+mn-cs"/>
            </a:endParaRPr>
          </a:p>
          <a:p>
            <a:pPr marL="352425" marR="0" lvl="0" indent="-352425" algn="l" defTabSz="931863" rtl="0" eaLnBrk="0" fontAlgn="auto" latinLnBrk="0" hangingPunct="0">
              <a:lnSpc>
                <a:spcPct val="90000"/>
              </a:lnSpc>
              <a:spcBef>
                <a:spcPct val="20000"/>
              </a:spcBef>
              <a:spcAft>
                <a:spcPts val="0"/>
              </a:spcAft>
              <a:buClrTx/>
              <a:buSzTx/>
              <a:buFontTx/>
              <a:buChar char="•"/>
              <a:tabLst/>
              <a:defRPr/>
            </a:pPr>
            <a:endParaRPr kumimoji="0" lang="en-US" sz="3200" b="1" i="0" u="none" strike="noStrike" kern="1200" cap="none" spc="0" normalizeH="0" baseline="0" noProof="0" dirty="0">
              <a:ln>
                <a:noFill/>
              </a:ln>
              <a:solidFill>
                <a:srgbClr val="FFFFFF"/>
              </a:solidFill>
              <a:effectLst/>
              <a:uLnTx/>
              <a:uFillTx/>
              <a:latin typeface="Candara" panose="020E0502030303020204" pitchFamily="34" charset="0"/>
              <a:ea typeface="+mn-ea"/>
              <a:cs typeface="+mn-cs"/>
            </a:endParaRPr>
          </a:p>
        </p:txBody>
      </p:sp>
      <p:sp>
        <p:nvSpPr>
          <p:cNvPr id="75780" name="Rectangle 4"/>
          <p:cNvSpPr>
            <a:spLocks noChangeArrowheads="1"/>
          </p:cNvSpPr>
          <p:nvPr/>
        </p:nvSpPr>
        <p:spPr bwMode="auto">
          <a:xfrm>
            <a:off x="5208918" y="1567657"/>
            <a:ext cx="3505199" cy="4530725"/>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a:lstStyle/>
          <a:p>
            <a:pPr marL="922337" marR="0" lvl="1" indent="-457200" algn="l" defTabSz="931863" rtl="0" eaLnBrk="0" fontAlgn="auto" latinLnBrk="0" hangingPunct="0">
              <a:lnSpc>
                <a:spcPct val="90000"/>
              </a:lnSpc>
              <a:spcBef>
                <a:spcPct val="20000"/>
              </a:spcBef>
              <a:spcAft>
                <a:spcPts val="0"/>
              </a:spcAft>
              <a:buClrTx/>
              <a:buSzTx/>
              <a:buFont typeface="Courier New" panose="02070309020205020404" pitchFamily="49" charset="0"/>
              <a:buChar char="o"/>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Foreign </a:t>
            </a:r>
            <a:r>
              <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mn-ea"/>
                <a:cs typeface="+mn-cs"/>
              </a:rPr>
              <a:t>body</a:t>
            </a:r>
          </a:p>
          <a:p>
            <a:pPr marL="922337" marR="0" lvl="1" indent="-457200" algn="l" defTabSz="931863" rtl="0" eaLnBrk="0" fontAlgn="auto" latinLnBrk="0" hangingPunct="0">
              <a:lnSpc>
                <a:spcPct val="90000"/>
              </a:lnSpc>
              <a:spcBef>
                <a:spcPct val="20000"/>
              </a:spcBef>
              <a:spcAft>
                <a:spcPts val="0"/>
              </a:spcAft>
              <a:buClrTx/>
              <a:buSzTx/>
              <a:buFont typeface="Courier New" panose="02070309020205020404" pitchFamily="49" charset="0"/>
              <a:buChar char="o"/>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Endobronchial </a:t>
            </a:r>
            <a:r>
              <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mn-ea"/>
                <a:cs typeface="+mn-cs"/>
              </a:rPr>
              <a:t>tumors</a:t>
            </a:r>
          </a:p>
          <a:p>
            <a:pPr marL="922337" marR="0" lvl="1" indent="-457200" algn="l" defTabSz="931863" rtl="0" eaLnBrk="0" fontAlgn="auto" latinLnBrk="0" hangingPunct="0">
              <a:lnSpc>
                <a:spcPct val="90000"/>
              </a:lnSpc>
              <a:spcBef>
                <a:spcPct val="20000"/>
              </a:spcBef>
              <a:spcAft>
                <a:spcPts val="0"/>
              </a:spcAft>
              <a:buClrTx/>
              <a:buSzTx/>
              <a:buFont typeface="Courier New" panose="02070309020205020404" pitchFamily="49" charset="0"/>
              <a:buChar char="o"/>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Extra bronchial obstruction</a:t>
            </a:r>
            <a:endPar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mn-ea"/>
              <a:cs typeface="+mn-cs"/>
            </a:endParaRPr>
          </a:p>
        </p:txBody>
      </p:sp>
    </p:spTree>
    <p:extLst>
      <p:ext uri="{BB962C8B-B14F-4D97-AF65-F5344CB8AC3E}">
        <p14:creationId xmlns:p14="http://schemas.microsoft.com/office/powerpoint/2010/main" val="32673673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2" name="Picture 2" descr="http://1.bp.blogspot.com/-qddzDyKBjpk/TgFHa9-GJOI/AAAAAAAAAA4/NgOYwfo10-c/s1600/Asthma+vs+COPD.png"/>
          <p:cNvPicPr>
            <a:picLocks noChangeAspect="1" noChangeArrowheads="1"/>
          </p:cNvPicPr>
          <p:nvPr/>
        </p:nvPicPr>
        <p:blipFill>
          <a:blip r:embed="rId3"/>
          <a:srcRect/>
          <a:stretch>
            <a:fillRect/>
          </a:stretch>
        </p:blipFill>
        <p:spPr bwMode="auto">
          <a:xfrm>
            <a:off x="0" y="25400"/>
            <a:ext cx="9144000" cy="6832600"/>
          </a:xfrm>
          <a:prstGeom prst="rect">
            <a:avLst/>
          </a:prstGeom>
          <a:noFill/>
          <a:ln w="9525">
            <a:noFill/>
            <a:miter lim="800000"/>
            <a:headEnd/>
            <a:tailEnd/>
          </a:ln>
        </p:spPr>
      </p:pic>
    </p:spTree>
    <p:extLst>
      <p:ext uri="{BB962C8B-B14F-4D97-AF65-F5344CB8AC3E}">
        <p14:creationId xmlns:p14="http://schemas.microsoft.com/office/powerpoint/2010/main" val="24979631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685800"/>
            <a:ext cx="7772400" cy="4495800"/>
          </a:xfrm>
        </p:spPr>
        <p:txBody>
          <a:bodyPr>
            <a:noAutofit/>
          </a:bodyPr>
          <a:lstStyle/>
          <a:p>
            <a:pPr algn="l"/>
            <a:r>
              <a:rPr lang="en-US" sz="2800" dirty="0" smtClean="0">
                <a:solidFill>
                  <a:schemeClr val="accent2"/>
                </a:solidFill>
              </a:rPr>
              <a:t/>
            </a:r>
            <a:br>
              <a:rPr lang="en-US" sz="2800" dirty="0" smtClean="0">
                <a:solidFill>
                  <a:schemeClr val="accent2"/>
                </a:solidFill>
              </a:rPr>
            </a:br>
            <a:r>
              <a:rPr lang="en-US" sz="2800" dirty="0" smtClean="0">
                <a:solidFill>
                  <a:srgbClr val="0070C0"/>
                </a:solidFill>
              </a:rPr>
              <a:t>All of the following are the main cause of airway obstruction in asthma except:</a:t>
            </a:r>
            <a:r>
              <a:rPr lang="en-US" sz="2800" dirty="0" smtClean="0">
                <a:solidFill>
                  <a:schemeClr val="accent2"/>
                </a:solidFill>
              </a:rPr>
              <a:t/>
            </a:r>
            <a:br>
              <a:rPr lang="en-US" sz="2800" dirty="0" smtClean="0">
                <a:solidFill>
                  <a:schemeClr val="accent2"/>
                </a:solidFill>
              </a:rPr>
            </a:br>
            <a:r>
              <a:rPr lang="en-US" sz="2800" dirty="0" smtClean="0">
                <a:solidFill>
                  <a:schemeClr val="accent2"/>
                </a:solidFill>
              </a:rPr>
              <a:t> </a:t>
            </a:r>
            <a:br>
              <a:rPr lang="en-US" sz="2800" dirty="0" smtClean="0">
                <a:solidFill>
                  <a:schemeClr val="accent2"/>
                </a:solidFill>
              </a:rPr>
            </a:br>
            <a:r>
              <a:rPr lang="en-US" sz="2800" dirty="0" smtClean="0">
                <a:solidFill>
                  <a:schemeClr val="accent2"/>
                </a:solidFill>
              </a:rPr>
              <a:t>a. Bronchospasm </a:t>
            </a:r>
            <a:br>
              <a:rPr lang="en-US" sz="2800" dirty="0" smtClean="0">
                <a:solidFill>
                  <a:schemeClr val="accent2"/>
                </a:solidFill>
              </a:rPr>
            </a:br>
            <a:r>
              <a:rPr lang="en-US" sz="2800" dirty="0" smtClean="0">
                <a:solidFill>
                  <a:schemeClr val="accent2"/>
                </a:solidFill>
              </a:rPr>
              <a:t>B. Mucus Hypersecretion</a:t>
            </a:r>
            <a:br>
              <a:rPr lang="en-US" sz="2800" dirty="0" smtClean="0">
                <a:solidFill>
                  <a:schemeClr val="accent2"/>
                </a:solidFill>
              </a:rPr>
            </a:br>
            <a:r>
              <a:rPr lang="en-US" sz="2800" dirty="0" smtClean="0">
                <a:solidFill>
                  <a:schemeClr val="accent2"/>
                </a:solidFill>
              </a:rPr>
              <a:t>C. Inflammation Of Bronchial Wall</a:t>
            </a:r>
            <a:br>
              <a:rPr lang="en-US" sz="2800" dirty="0" smtClean="0">
                <a:solidFill>
                  <a:schemeClr val="accent2"/>
                </a:solidFill>
              </a:rPr>
            </a:br>
            <a:r>
              <a:rPr lang="en-US" sz="2800" dirty="0" smtClean="0">
                <a:solidFill>
                  <a:schemeClr val="accent2"/>
                </a:solidFill>
              </a:rPr>
              <a:t>D. Extra bronchial compression</a:t>
            </a:r>
            <a:r>
              <a:rPr lang="en-US" sz="2800" dirty="0" smtClean="0">
                <a:solidFill>
                  <a:srgbClr val="FF0000"/>
                </a:solidFill>
                <a:effectLst/>
                <a:latin typeface="Source Sans Pro"/>
              </a:rPr>
              <a:t> </a:t>
            </a:r>
            <a:r>
              <a:rPr lang="en-US" sz="2800" dirty="0" smtClean="0">
                <a:solidFill>
                  <a:schemeClr val="accent2"/>
                </a:solidFill>
              </a:rPr>
              <a:t/>
            </a:r>
            <a:br>
              <a:rPr lang="en-US" sz="2800" dirty="0" smtClean="0">
                <a:solidFill>
                  <a:schemeClr val="accent2"/>
                </a:solidFill>
              </a:rPr>
            </a:br>
            <a:r>
              <a:rPr lang="en-US" sz="2800" dirty="0" smtClean="0">
                <a:solidFill>
                  <a:schemeClr val="accent2"/>
                </a:solidFill>
              </a:rPr>
              <a:t> </a:t>
            </a:r>
            <a:br>
              <a:rPr lang="en-US" sz="2800" dirty="0" smtClean="0">
                <a:solidFill>
                  <a:schemeClr val="accent2"/>
                </a:solidFill>
              </a:rPr>
            </a:br>
            <a:r>
              <a:rPr lang="en-US" sz="2800" dirty="0" smtClean="0">
                <a:solidFill>
                  <a:schemeClr val="accent2"/>
                </a:solidFill>
              </a:rPr>
              <a:t/>
            </a:r>
            <a:br>
              <a:rPr lang="en-US" sz="2800" dirty="0" smtClean="0">
                <a:solidFill>
                  <a:schemeClr val="accent2"/>
                </a:solidFill>
              </a:rPr>
            </a:br>
            <a:endParaRPr lang="en-US" sz="2800" dirty="0">
              <a:solidFill>
                <a:schemeClr val="accent2"/>
              </a:solidFill>
            </a:endParaRPr>
          </a:p>
        </p:txBody>
      </p:sp>
    </p:spTree>
    <p:extLst>
      <p:ext uri="{BB962C8B-B14F-4D97-AF65-F5344CB8AC3E}">
        <p14:creationId xmlns:p14="http://schemas.microsoft.com/office/powerpoint/2010/main" val="39977930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49300" y="1215424"/>
            <a:ext cx="178435" cy="4826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3600" b="1" i="0" u="heavy" strike="noStrike" kern="1200" cap="none" spc="0" normalizeH="0" baseline="0" noProof="0" dirty="0">
                <a:ln>
                  <a:noFill/>
                </a:ln>
                <a:solidFill>
                  <a:srgbClr val="98000E"/>
                </a:solidFill>
                <a:effectLst/>
                <a:uLnTx/>
                <a:uFillTx/>
                <a:latin typeface="Arial Black"/>
                <a:ea typeface="+mn-ea"/>
                <a:cs typeface="Arial Black"/>
              </a:rPr>
              <a:t> </a:t>
            </a:r>
            <a:endParaRPr kumimoji="0" sz="3600" b="0" i="0" u="none" strike="noStrike" kern="1200" cap="none" spc="0" normalizeH="0" baseline="0" noProof="0">
              <a:ln>
                <a:noFill/>
              </a:ln>
              <a:solidFill>
                <a:prstClr val="black"/>
              </a:solidFill>
              <a:effectLst/>
              <a:uLnTx/>
              <a:uFillTx/>
              <a:latin typeface="Arial Black"/>
              <a:ea typeface="+mn-ea"/>
              <a:cs typeface="Arial Black"/>
            </a:endParaRPr>
          </a:p>
        </p:txBody>
      </p:sp>
      <p:sp>
        <p:nvSpPr>
          <p:cNvPr id="3" name="object 3"/>
          <p:cNvSpPr txBox="1">
            <a:spLocks noGrp="1"/>
          </p:cNvSpPr>
          <p:nvPr>
            <p:ph type="title"/>
          </p:nvPr>
        </p:nvSpPr>
        <p:spPr>
          <a:xfrm>
            <a:off x="189411" y="127357"/>
            <a:ext cx="2971800" cy="2914797"/>
          </a:xfrm>
          <a:prstGeom prst="rect">
            <a:avLst/>
          </a:prstGeom>
        </p:spPr>
        <p:style>
          <a:lnRef idx="1">
            <a:schemeClr val="accent5"/>
          </a:lnRef>
          <a:fillRef idx="2">
            <a:schemeClr val="accent5"/>
          </a:fillRef>
          <a:effectRef idx="1">
            <a:schemeClr val="accent5"/>
          </a:effectRef>
          <a:fontRef idx="minor">
            <a:schemeClr val="dk1"/>
          </a:fontRef>
        </p:style>
        <p:txBody>
          <a:bodyPr vert="horz" wrap="square" lIns="0" tIns="692047" rIns="0" bIns="0" rtlCol="0">
            <a:spAutoFit/>
          </a:bodyPr>
          <a:lstStyle/>
          <a:p>
            <a:pPr marL="233363">
              <a:lnSpc>
                <a:spcPct val="100000"/>
              </a:lnSpc>
            </a:pPr>
            <a:r>
              <a:rPr lang="en-US" sz="2400" spc="-30" dirty="0" smtClean="0">
                <a:solidFill>
                  <a:srgbClr val="C00000"/>
                </a:solidFill>
                <a:effectLst>
                  <a:outerShdw blurRad="38100" dist="38100" dir="2700000" algn="tl">
                    <a:srgbClr val="000000">
                      <a:alpha val="43137"/>
                    </a:srgbClr>
                  </a:outerShdw>
                </a:effectLst>
                <a:latin typeface="Candara" panose="020E0502030303020204" pitchFamily="34" charset="0"/>
              </a:rPr>
              <a:t>Airway diseases</a:t>
            </a:r>
            <a:br>
              <a:rPr lang="en-US" sz="2400" spc="-30" dirty="0" smtClean="0">
                <a:solidFill>
                  <a:srgbClr val="C00000"/>
                </a:solidFill>
                <a:effectLst>
                  <a:outerShdw blurRad="38100" dist="38100" dir="2700000" algn="tl">
                    <a:srgbClr val="000000">
                      <a:alpha val="43137"/>
                    </a:srgbClr>
                  </a:outerShdw>
                </a:effectLst>
                <a:latin typeface="Candara" panose="020E0502030303020204" pitchFamily="34" charset="0"/>
              </a:rPr>
            </a:br>
            <a:r>
              <a:rPr lang="en-US" sz="2400" spc="-30" dirty="0" smtClean="0">
                <a:solidFill>
                  <a:srgbClr val="0070C0"/>
                </a:solidFill>
                <a:latin typeface="Candara" panose="020E0502030303020204" pitchFamily="34" charset="0"/>
              </a:rPr>
              <a:t>Bronchitis</a:t>
            </a:r>
            <a:br>
              <a:rPr lang="en-US" sz="2400" spc="-30" dirty="0" smtClean="0">
                <a:solidFill>
                  <a:srgbClr val="0070C0"/>
                </a:solidFill>
                <a:latin typeface="Candara" panose="020E0502030303020204" pitchFamily="34" charset="0"/>
              </a:rPr>
            </a:br>
            <a:r>
              <a:rPr lang="en-US" sz="2400" spc="-30" dirty="0" smtClean="0">
                <a:solidFill>
                  <a:srgbClr val="0070C0"/>
                </a:solidFill>
                <a:latin typeface="Candara" panose="020E0502030303020204" pitchFamily="34" charset="0"/>
              </a:rPr>
              <a:t>bronchiectasis</a:t>
            </a:r>
            <a:br>
              <a:rPr lang="en-US" sz="2400" spc="-30" dirty="0" smtClean="0">
                <a:solidFill>
                  <a:srgbClr val="0070C0"/>
                </a:solidFill>
                <a:latin typeface="Candara" panose="020E0502030303020204" pitchFamily="34" charset="0"/>
              </a:rPr>
            </a:br>
            <a:r>
              <a:rPr lang="en-US" sz="2400" spc="-30" dirty="0" smtClean="0">
                <a:solidFill>
                  <a:srgbClr val="0070C0"/>
                </a:solidFill>
                <a:latin typeface="Candara" panose="020E0502030303020204" pitchFamily="34" charset="0"/>
              </a:rPr>
              <a:t>B Asthma</a:t>
            </a:r>
            <a:br>
              <a:rPr lang="en-US" sz="2400" spc="-30" dirty="0" smtClean="0">
                <a:solidFill>
                  <a:srgbClr val="0070C0"/>
                </a:solidFill>
                <a:latin typeface="Candara" panose="020E0502030303020204" pitchFamily="34" charset="0"/>
              </a:rPr>
            </a:br>
            <a:r>
              <a:rPr lang="en-US" sz="2400" spc="-30" dirty="0" smtClean="0">
                <a:solidFill>
                  <a:srgbClr val="0070C0"/>
                </a:solidFill>
                <a:latin typeface="Candara" panose="020E0502030303020204" pitchFamily="34" charset="0"/>
              </a:rPr>
              <a:t>COPD</a:t>
            </a:r>
            <a:br>
              <a:rPr lang="en-US" sz="2400" spc="-30" dirty="0" smtClean="0">
                <a:solidFill>
                  <a:srgbClr val="0070C0"/>
                </a:solidFill>
                <a:latin typeface="Candara" panose="020E0502030303020204" pitchFamily="34" charset="0"/>
              </a:rPr>
            </a:br>
            <a:r>
              <a:rPr lang="en-US" sz="2400" spc="-30" dirty="0" smtClean="0">
                <a:solidFill>
                  <a:srgbClr val="0070C0"/>
                </a:solidFill>
                <a:latin typeface="Candara" panose="020E0502030303020204" pitchFamily="34" charset="0"/>
              </a:rPr>
              <a:t>Bronchiolitis</a:t>
            </a:r>
            <a:r>
              <a:rPr lang="en-US" sz="2400" dirty="0" smtClean="0">
                <a:solidFill>
                  <a:srgbClr val="0070C0"/>
                </a:solidFill>
                <a:latin typeface="Candara" panose="020E0502030303020204" pitchFamily="34" charset="0"/>
              </a:rPr>
              <a:t> </a:t>
            </a:r>
            <a:endParaRPr lang="en-US" sz="2400" dirty="0">
              <a:solidFill>
                <a:srgbClr val="0070C0"/>
              </a:solidFill>
              <a:latin typeface="Candara" panose="020E0502030303020204" pitchFamily="34" charset="0"/>
            </a:endParaRPr>
          </a:p>
        </p:txBody>
      </p:sp>
      <p:sp>
        <p:nvSpPr>
          <p:cNvPr id="4" name="object 4"/>
          <p:cNvSpPr txBox="1"/>
          <p:nvPr/>
        </p:nvSpPr>
        <p:spPr>
          <a:xfrm>
            <a:off x="3721100" y="476760"/>
            <a:ext cx="4051300" cy="1107996"/>
          </a:xfrm>
          <a:prstGeom prst="rect">
            <a:avLst/>
          </a:prstGeom>
        </p:spPr>
        <p:style>
          <a:lnRef idx="1">
            <a:schemeClr val="accent3"/>
          </a:lnRef>
          <a:fillRef idx="2">
            <a:schemeClr val="accent3"/>
          </a:fillRef>
          <a:effectRef idx="1">
            <a:schemeClr val="accent3"/>
          </a:effectRef>
          <a:fontRef idx="minor">
            <a:schemeClr val="dk1"/>
          </a:fontRef>
        </p:style>
        <p:txBody>
          <a:bodyPr vert="horz" wrap="square" lIns="0" tIns="0" rIns="0" bIns="0" rtlCol="0">
            <a:spAutoFit/>
          </a:bodyPr>
          <a:lstStyle/>
          <a:p>
            <a:pPr marL="355600" marR="5080" lvl="0" indent="-342900" algn="l" defTabSz="914400" rtl="0" eaLnBrk="1" fontAlgn="auto" latinLnBrk="0" hangingPunct="1">
              <a:lnSpc>
                <a:spcPct val="100000"/>
              </a:lnSpc>
              <a:spcBef>
                <a:spcPts val="0"/>
              </a:spcBef>
              <a:spcAft>
                <a:spcPts val="0"/>
              </a:spcAft>
              <a:buClr>
                <a:srgbClr val="CCCC98"/>
              </a:buClr>
              <a:buSzPct val="69696"/>
              <a:buFont typeface="OpenSymbol"/>
              <a:buChar char="•"/>
              <a:tabLst>
                <a:tab pos="355600" algn="l"/>
              </a:tabLst>
              <a:defRPr/>
            </a:pPr>
            <a:r>
              <a:rPr kumimoji="0" sz="2400" b="1" i="0" u="none" strike="noStrike" kern="1200" cap="none" spc="0" normalizeH="0" baseline="0" noProof="0" dirty="0" smtClean="0">
                <a:ln>
                  <a:noFill/>
                </a:ln>
                <a:solidFill>
                  <a:srgbClr val="C00000"/>
                </a:solidFill>
                <a:effectLst>
                  <a:outerShdw blurRad="38100" dist="38100" dir="2700000" algn="tl">
                    <a:srgbClr val="000000">
                      <a:alpha val="43137"/>
                    </a:srgbClr>
                  </a:outerShdw>
                </a:effectLst>
                <a:uLnTx/>
                <a:uFillTx/>
                <a:latin typeface="Candara" panose="020E0502030303020204" pitchFamily="34" charset="0"/>
                <a:cs typeface="Arial"/>
              </a:rPr>
              <a:t>L</a:t>
            </a:r>
            <a:r>
              <a:rPr kumimoji="0" sz="2400" b="1" i="0" u="none" strike="noStrike" kern="1200" cap="none" spc="-5" normalizeH="0" baseline="0" noProof="0" dirty="0" smtClean="0">
                <a:ln>
                  <a:noFill/>
                </a:ln>
                <a:solidFill>
                  <a:srgbClr val="C00000"/>
                </a:solidFill>
                <a:effectLst>
                  <a:outerShdw blurRad="38100" dist="38100" dir="2700000" algn="tl">
                    <a:srgbClr val="000000">
                      <a:alpha val="43137"/>
                    </a:srgbClr>
                  </a:outerShdw>
                </a:effectLst>
                <a:uLnTx/>
                <a:uFillTx/>
                <a:latin typeface="Candara" panose="020E0502030303020204" pitchFamily="34" charset="0"/>
                <a:cs typeface="Arial"/>
              </a:rPr>
              <a:t>u</a:t>
            </a:r>
            <a:r>
              <a:rPr kumimoji="0" sz="2400" b="1" i="0" u="none" strike="noStrike" kern="1200" cap="none" spc="0" normalizeH="0" baseline="0" noProof="0" dirty="0" smtClean="0">
                <a:ln>
                  <a:noFill/>
                </a:ln>
                <a:solidFill>
                  <a:srgbClr val="C00000"/>
                </a:solidFill>
                <a:effectLst>
                  <a:outerShdw blurRad="38100" dist="38100" dir="2700000" algn="tl">
                    <a:srgbClr val="000000">
                      <a:alpha val="43137"/>
                    </a:srgbClr>
                  </a:outerShdw>
                </a:effectLst>
                <a:uLnTx/>
                <a:uFillTx/>
                <a:latin typeface="Candara" panose="020E0502030303020204" pitchFamily="34" charset="0"/>
                <a:cs typeface="Arial"/>
              </a:rPr>
              <a:t>n</a:t>
            </a:r>
            <a:r>
              <a:rPr kumimoji="0" sz="2400" b="1" i="0" u="none" strike="noStrike" kern="1200" cap="none" spc="-5" normalizeH="0" baseline="0" noProof="0" dirty="0" smtClean="0">
                <a:ln>
                  <a:noFill/>
                </a:ln>
                <a:solidFill>
                  <a:srgbClr val="C00000"/>
                </a:solidFill>
                <a:effectLst>
                  <a:outerShdw blurRad="38100" dist="38100" dir="2700000" algn="tl">
                    <a:srgbClr val="000000">
                      <a:alpha val="43137"/>
                    </a:srgbClr>
                  </a:outerShdw>
                </a:effectLst>
                <a:uLnTx/>
                <a:uFillTx/>
                <a:latin typeface="Candara" panose="020E0502030303020204" pitchFamily="34" charset="0"/>
                <a:cs typeface="Arial"/>
              </a:rPr>
              <a:t>g</a:t>
            </a:r>
            <a:r>
              <a:rPr lang="en-US" sz="2400" b="1" dirty="0">
                <a:solidFill>
                  <a:srgbClr val="C00000"/>
                </a:solidFill>
                <a:effectLst>
                  <a:outerShdw blurRad="38100" dist="38100" dir="2700000" algn="tl">
                    <a:srgbClr val="000000">
                      <a:alpha val="43137"/>
                    </a:srgbClr>
                  </a:outerShdw>
                </a:effectLst>
                <a:latin typeface="Candara" panose="020E0502030303020204" pitchFamily="34" charset="0"/>
                <a:cs typeface="Arial"/>
              </a:rPr>
              <a:t> </a:t>
            </a:r>
            <a:r>
              <a:rPr lang="en-US" sz="2400" b="1" dirty="0" smtClean="0">
                <a:solidFill>
                  <a:srgbClr val="C00000"/>
                </a:solidFill>
                <a:effectLst>
                  <a:outerShdw blurRad="38100" dist="38100" dir="2700000" algn="tl">
                    <a:srgbClr val="000000">
                      <a:alpha val="43137"/>
                    </a:srgbClr>
                  </a:outerShdw>
                </a:effectLst>
                <a:latin typeface="Candara" panose="020E0502030303020204" pitchFamily="34" charset="0"/>
                <a:cs typeface="Arial"/>
              </a:rPr>
              <a:t>parenchyma </a:t>
            </a:r>
          </a:p>
          <a:p>
            <a:pPr marL="355600" marR="5080" lvl="0" indent="-342900" algn="l" defTabSz="914400" rtl="0" eaLnBrk="1" fontAlgn="auto" latinLnBrk="0" hangingPunct="1">
              <a:lnSpc>
                <a:spcPct val="100000"/>
              </a:lnSpc>
              <a:spcBef>
                <a:spcPts val="0"/>
              </a:spcBef>
              <a:spcAft>
                <a:spcPts val="0"/>
              </a:spcAft>
              <a:buClr>
                <a:srgbClr val="CCCC98"/>
              </a:buClr>
              <a:buSzPct val="69696"/>
              <a:buFont typeface="OpenSymbol"/>
              <a:buChar char="•"/>
              <a:tabLst>
                <a:tab pos="355600" algn="l"/>
              </a:tabLst>
              <a:defRPr/>
            </a:pPr>
            <a:r>
              <a:rPr lang="en-US" sz="2400" b="1" dirty="0" smtClean="0">
                <a:solidFill>
                  <a:srgbClr val="0070C0"/>
                </a:solidFill>
                <a:effectLst>
                  <a:outerShdw blurRad="38100" dist="38100" dir="2700000" algn="tl">
                    <a:srgbClr val="000000">
                      <a:alpha val="43137"/>
                    </a:srgbClr>
                  </a:outerShdw>
                </a:effectLst>
                <a:latin typeface="Candara" panose="020E0502030303020204" pitchFamily="34" charset="0"/>
                <a:cs typeface="Arial"/>
              </a:rPr>
              <a:t>Alveolar</a:t>
            </a:r>
            <a:r>
              <a:rPr lang="en-US" sz="2400" b="1" dirty="0" smtClean="0">
                <a:solidFill>
                  <a:srgbClr val="0070C0"/>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a:t>
            </a:r>
            <a:endParaRPr lang="en-US" sz="2400" b="1" dirty="0" smtClean="0">
              <a:solidFill>
                <a:srgbClr val="0070C0"/>
              </a:solidFill>
              <a:effectLst>
                <a:outerShdw blurRad="38100" dist="38100" dir="2700000" algn="tl">
                  <a:srgbClr val="000000">
                    <a:alpha val="43137"/>
                  </a:srgbClr>
                </a:outerShdw>
              </a:effectLst>
              <a:latin typeface="Candara" panose="020E0502030303020204" pitchFamily="34" charset="0"/>
              <a:cs typeface="Arial"/>
            </a:endParaRPr>
          </a:p>
          <a:p>
            <a:pPr marL="355600" marR="5080" lvl="0" indent="-342900" algn="l" defTabSz="914400" rtl="0" eaLnBrk="1" fontAlgn="auto" latinLnBrk="0" hangingPunct="1">
              <a:lnSpc>
                <a:spcPct val="100000"/>
              </a:lnSpc>
              <a:spcBef>
                <a:spcPts val="0"/>
              </a:spcBef>
              <a:spcAft>
                <a:spcPts val="0"/>
              </a:spcAft>
              <a:buClr>
                <a:srgbClr val="CCCC98"/>
              </a:buClr>
              <a:buSzPct val="69696"/>
              <a:buFont typeface="OpenSymbol"/>
              <a:buChar char="•"/>
              <a:tabLst>
                <a:tab pos="355600" algn="l"/>
              </a:tabLst>
              <a:defRPr/>
            </a:pPr>
            <a:r>
              <a:rPr kumimoji="0" lang="en-US" sz="2400" b="1" i="0" u="none" strike="noStrike" kern="1200" cap="none" spc="5" normalizeH="0" baseline="0" noProof="0" dirty="0" smtClean="0">
                <a:ln>
                  <a:noFill/>
                </a:ln>
                <a:solidFill>
                  <a:srgbClr val="0070C0"/>
                </a:solidFill>
                <a:effectLst>
                  <a:outerShdw blurRad="38100" dist="38100" dir="2700000" algn="tl">
                    <a:srgbClr val="000000">
                      <a:alpha val="43137"/>
                    </a:srgbClr>
                  </a:outerShdw>
                </a:effectLst>
                <a:uLnTx/>
                <a:uFillTx/>
                <a:latin typeface="Candara" panose="020E0502030303020204" pitchFamily="34" charset="0"/>
                <a:cs typeface="Arial"/>
              </a:rPr>
              <a:t>Interstitial</a:t>
            </a:r>
          </a:p>
        </p:txBody>
      </p:sp>
      <p:sp>
        <p:nvSpPr>
          <p:cNvPr id="5" name="object 5"/>
          <p:cNvSpPr/>
          <p:nvPr/>
        </p:nvSpPr>
        <p:spPr>
          <a:xfrm>
            <a:off x="4804410" y="2438400"/>
            <a:ext cx="4324350" cy="4277349"/>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TextBox 5"/>
          <p:cNvSpPr txBox="1"/>
          <p:nvPr/>
        </p:nvSpPr>
        <p:spPr>
          <a:xfrm>
            <a:off x="411890" y="4038600"/>
            <a:ext cx="2299027" cy="1938992"/>
          </a:xfrm>
          <a:prstGeom prst="rect">
            <a:avLst/>
          </a:prstGeom>
        </p:spPr>
        <p:style>
          <a:lnRef idx="1">
            <a:schemeClr val="accent6"/>
          </a:lnRef>
          <a:fillRef idx="2">
            <a:schemeClr val="accent6"/>
          </a:fillRef>
          <a:effectRef idx="1">
            <a:schemeClr val="accent6"/>
          </a:effectRef>
          <a:fontRef idx="minor">
            <a:schemeClr val="dk1"/>
          </a:fontRef>
        </p:style>
        <p:txBody>
          <a:bodyPr wrap="none" rtlCol="0">
            <a:spAutoFit/>
          </a:bodyPr>
          <a:lstStyle/>
          <a:p>
            <a:r>
              <a:rPr lang="en-US" sz="2400" b="1" dirty="0" smtClean="0">
                <a:solidFill>
                  <a:srgbClr val="C00000"/>
                </a:solidFill>
                <a:effectLst>
                  <a:outerShdw blurRad="38100" dist="38100" dir="2700000" algn="tl">
                    <a:srgbClr val="000000">
                      <a:alpha val="43137"/>
                    </a:srgbClr>
                  </a:outerShdw>
                </a:effectLst>
                <a:latin typeface="Candara" panose="020E0502030303020204" pitchFamily="34" charset="0"/>
              </a:rPr>
              <a:t>Pleura</a:t>
            </a:r>
          </a:p>
          <a:p>
            <a:r>
              <a:rPr lang="en-US" sz="2400" b="1" dirty="0" smtClean="0">
                <a:solidFill>
                  <a:srgbClr val="0070C0"/>
                </a:solidFill>
                <a:latin typeface="Candara" panose="020E0502030303020204" pitchFamily="34" charset="0"/>
              </a:rPr>
              <a:t>Pleural effusion</a:t>
            </a:r>
          </a:p>
          <a:p>
            <a:r>
              <a:rPr lang="en-US" sz="2400" b="1" dirty="0" smtClean="0">
                <a:solidFill>
                  <a:srgbClr val="0070C0"/>
                </a:solidFill>
                <a:latin typeface="Candara" panose="020E0502030303020204" pitchFamily="34" charset="0"/>
              </a:rPr>
              <a:t>Pleurisy</a:t>
            </a:r>
          </a:p>
          <a:p>
            <a:r>
              <a:rPr lang="en-US" sz="2400" b="1" dirty="0" err="1" smtClean="0">
                <a:solidFill>
                  <a:srgbClr val="0070C0"/>
                </a:solidFill>
                <a:latin typeface="Candara" panose="020E0502030303020204" pitchFamily="34" charset="0"/>
              </a:rPr>
              <a:t>Pneumotorax</a:t>
            </a:r>
            <a:endParaRPr lang="en-US" sz="2400" b="1" dirty="0" smtClean="0">
              <a:solidFill>
                <a:srgbClr val="0070C0"/>
              </a:solidFill>
              <a:latin typeface="Candara" panose="020E0502030303020204" pitchFamily="34" charset="0"/>
            </a:endParaRPr>
          </a:p>
          <a:p>
            <a:r>
              <a:rPr lang="en-US" sz="2400" b="1" dirty="0" smtClean="0">
                <a:solidFill>
                  <a:srgbClr val="0070C0"/>
                </a:solidFill>
                <a:latin typeface="Candara" panose="020E0502030303020204" pitchFamily="34" charset="0"/>
              </a:rPr>
              <a:t>Pleural </a:t>
            </a:r>
            <a:r>
              <a:rPr lang="en-US" sz="2400" b="1" dirty="0" err="1" smtClean="0">
                <a:solidFill>
                  <a:srgbClr val="0070C0"/>
                </a:solidFill>
                <a:latin typeface="Candara" panose="020E0502030303020204" pitchFamily="34" charset="0"/>
              </a:rPr>
              <a:t>tumours</a:t>
            </a:r>
            <a:endParaRPr lang="en-US" sz="2400" b="1" dirty="0">
              <a:solidFill>
                <a:srgbClr val="0070C0"/>
              </a:solidFill>
              <a:latin typeface="Candara" panose="020E0502030303020204" pitchFamily="34" charset="0"/>
            </a:endParaRPr>
          </a:p>
        </p:txBody>
      </p:sp>
      <p:sp>
        <p:nvSpPr>
          <p:cNvPr id="7" name="Path22"/>
          <p:cNvSpPr/>
          <p:nvPr/>
        </p:nvSpPr>
        <p:spPr>
          <a:xfrm rot="5400000">
            <a:off x="6636381" y="2288512"/>
            <a:ext cx="1680398" cy="322761"/>
          </a:xfrm>
          <a:custGeom>
            <a:avLst/>
            <a:gdLst/>
            <a:ahLst/>
            <a:cxnLst/>
            <a:rect l="l" t="t" r="r" b="b"/>
            <a:pathLst>
              <a:path w="823321" h="656042">
                <a:moveTo>
                  <a:pt x="25400" y="194671"/>
                </a:moveTo>
                <a:lnTo>
                  <a:pt x="520700" y="194671"/>
                </a:lnTo>
                <a:lnTo>
                  <a:pt x="520700" y="61321"/>
                </a:lnTo>
                <a:lnTo>
                  <a:pt x="787400" y="328021"/>
                </a:lnTo>
                <a:lnTo>
                  <a:pt x="520700" y="594721"/>
                </a:lnTo>
                <a:lnTo>
                  <a:pt x="520700" y="461371"/>
                </a:lnTo>
                <a:lnTo>
                  <a:pt x="25400" y="461371"/>
                </a:lnTo>
                <a:close/>
              </a:path>
            </a:pathLst>
          </a:custGeom>
          <a:solidFill>
            <a:srgbClr val="000000">
              <a:alpha val="0"/>
            </a:srgbClr>
          </a:solidFill>
          <a:ln w="25400" cap="sq">
            <a:solidFill>
              <a:srgbClr val="000000">
                <a:alpha val="100000"/>
              </a:srgbClr>
            </a:solidFill>
            <a:prstDash val="solid"/>
            <a:miter lim="8"/>
          </a:ln>
        </p:spPr>
        <p:style>
          <a:lnRef idx="2">
            <a:schemeClr val="accent1"/>
          </a:lnRef>
          <a:fillRef idx="1">
            <a:schemeClr val="accent1"/>
          </a:fillRef>
          <a:effectRef idx="0">
            <a:schemeClr val="accent1"/>
          </a:effectRef>
          <a:fontRef idx="major">
            <a:schemeClr val="accent1"/>
          </a:fontRef>
        </p:style>
        <p:txBody>
          <a:bodyPr rtlCol="0" anchor="ctr"/>
          <a:lstStyle/>
          <a:p>
            <a:pPr algn="ctr"/>
            <a:endParaRPr lang="en-US" altLang="zh-CN"/>
          </a:p>
        </p:txBody>
      </p:sp>
      <p:sp>
        <p:nvSpPr>
          <p:cNvPr id="8" name="Path22"/>
          <p:cNvSpPr/>
          <p:nvPr/>
        </p:nvSpPr>
        <p:spPr>
          <a:xfrm rot="583703">
            <a:off x="3039317" y="2109827"/>
            <a:ext cx="3947402" cy="268306"/>
          </a:xfrm>
          <a:custGeom>
            <a:avLst/>
            <a:gdLst/>
            <a:ahLst/>
            <a:cxnLst/>
            <a:rect l="l" t="t" r="r" b="b"/>
            <a:pathLst>
              <a:path w="823321" h="656042">
                <a:moveTo>
                  <a:pt x="25400" y="194671"/>
                </a:moveTo>
                <a:lnTo>
                  <a:pt x="520700" y="194671"/>
                </a:lnTo>
                <a:lnTo>
                  <a:pt x="520700" y="61321"/>
                </a:lnTo>
                <a:lnTo>
                  <a:pt x="787400" y="328021"/>
                </a:lnTo>
                <a:lnTo>
                  <a:pt x="520700" y="594721"/>
                </a:lnTo>
                <a:lnTo>
                  <a:pt x="520700" y="461371"/>
                </a:lnTo>
                <a:lnTo>
                  <a:pt x="25400" y="461371"/>
                </a:lnTo>
                <a:close/>
              </a:path>
            </a:pathLst>
          </a:custGeom>
          <a:solidFill>
            <a:srgbClr val="000000">
              <a:alpha val="0"/>
            </a:srgbClr>
          </a:solidFill>
          <a:ln w="25400" cap="sq">
            <a:solidFill>
              <a:srgbClr val="000000">
                <a:alpha val="100000"/>
              </a:srgbClr>
            </a:solidFill>
            <a:prstDash val="solid"/>
            <a:miter lim="8"/>
          </a:ln>
        </p:spPr>
        <p:style>
          <a:lnRef idx="2">
            <a:schemeClr val="accent1"/>
          </a:lnRef>
          <a:fillRef idx="1">
            <a:schemeClr val="accent1"/>
          </a:fillRef>
          <a:effectRef idx="0">
            <a:schemeClr val="accent1"/>
          </a:effectRef>
          <a:fontRef idx="major">
            <a:schemeClr val="accent1"/>
          </a:fontRef>
        </p:style>
        <p:txBody>
          <a:bodyPr rtlCol="0" anchor="ctr"/>
          <a:lstStyle/>
          <a:p>
            <a:pPr algn="ctr"/>
            <a:endParaRPr lang="en-US" altLang="zh-CN"/>
          </a:p>
        </p:txBody>
      </p:sp>
      <p:pic>
        <p:nvPicPr>
          <p:cNvPr id="9" name="Picture 8"/>
          <p:cNvPicPr>
            <a:picLocks noChangeAspect="1"/>
          </p:cNvPicPr>
          <p:nvPr/>
        </p:nvPicPr>
        <p:blipFill>
          <a:blip r:embed="rId4"/>
          <a:stretch>
            <a:fillRect/>
          </a:stretch>
        </p:blipFill>
        <p:spPr>
          <a:xfrm>
            <a:off x="2863317" y="5090521"/>
            <a:ext cx="2149700" cy="243479"/>
          </a:xfrm>
          <a:prstGeom prst="rect">
            <a:avLst/>
          </a:prstGeom>
        </p:spPr>
      </p:pic>
    </p:spTree>
    <p:extLst>
      <p:ext uri="{BB962C8B-B14F-4D97-AF65-F5344CB8AC3E}">
        <p14:creationId xmlns:p14="http://schemas.microsoft.com/office/powerpoint/2010/main" val="589047916"/>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bwMode="auto">
          <a:xfrm>
            <a:off x="172156" y="250832"/>
            <a:ext cx="7580489" cy="936625"/>
          </a:xfrm>
          <a:noFill/>
          <a:ln>
            <a:miter lim="800000"/>
            <a:headEnd/>
            <a:tailEnd/>
          </a:ln>
        </p:spPr>
        <p:txBody>
          <a:bodyPr vert="horz" wrap="square" lIns="91440" tIns="45720" rIns="91440" bIns="45720" numCol="1" anchorCtr="0" compatLnSpc="1">
            <a:prstTxWarp prst="textNoShape">
              <a:avLst/>
            </a:prstTxWarp>
          </a:bodyPr>
          <a:lstStyle/>
          <a:p>
            <a:r>
              <a:rPr lang="en-US" smtClean="0">
                <a:latin typeface="Times New Roman" pitchFamily="18" charset="0"/>
                <a:cs typeface="Times New Roman" pitchFamily="18" charset="0"/>
              </a:rPr>
              <a:t>Asthma: Pathological changes</a:t>
            </a:r>
          </a:p>
        </p:txBody>
      </p:sp>
      <p:pic>
        <p:nvPicPr>
          <p:cNvPr id="55299" name="Picture 4" descr="diagram"/>
          <p:cNvPicPr>
            <a:picLocks noGrp="1" noChangeAspect="1" noChangeArrowheads="1"/>
          </p:cNvPicPr>
          <p:nvPr>
            <p:ph type="body" idx="1"/>
          </p:nvPr>
        </p:nvPicPr>
        <p:blipFill>
          <a:blip r:embed="rId2"/>
          <a:srcRect/>
          <a:stretch>
            <a:fillRect/>
          </a:stretch>
        </p:blipFill>
        <p:spPr bwMode="auto">
          <a:xfrm>
            <a:off x="182034" y="1227138"/>
            <a:ext cx="8737600" cy="5630862"/>
          </a:xfrm>
          <a:noFill/>
          <a:ln>
            <a:miter lim="800000"/>
            <a:headEnd/>
            <a:tailEnd/>
          </a:ln>
        </p:spPr>
      </p:pic>
    </p:spTree>
    <p:extLst>
      <p:ext uri="{BB962C8B-B14F-4D97-AF65-F5344CB8AC3E}">
        <p14:creationId xmlns:p14="http://schemas.microsoft.com/office/powerpoint/2010/main" val="412579539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28600" y="1371601"/>
            <a:ext cx="8763000" cy="2123658"/>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400" b="1"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Calibri" pitchFamily="34" charset="0"/>
                <a:ea typeface="Times New Roman" pitchFamily="18" charset="0"/>
                <a:cs typeface="Calibri" pitchFamily="34" charset="0"/>
              </a:rPr>
              <a:t>What are Factors Influencing the Development and Expression of Asthma</a:t>
            </a:r>
            <a:endParaRPr kumimoji="0" lang="en-US" sz="5400" b="0"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1167338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66800" y="1295400"/>
            <a:ext cx="8458200" cy="4800600"/>
          </a:xfrm>
        </p:spPr>
        <p:txBody>
          <a:bodyPr/>
          <a:lstStyle/>
          <a:p>
            <a:pPr algn="l" rtl="0">
              <a:buNone/>
            </a:pPr>
            <a:r>
              <a:rPr lang="en-US" sz="2800" b="1" dirty="0" smtClean="0">
                <a:solidFill>
                  <a:srgbClr val="FF0000"/>
                </a:solidFill>
              </a:rPr>
              <a:t>Host factors:</a:t>
            </a:r>
          </a:p>
          <a:p>
            <a:pPr algn="l" rtl="0">
              <a:buNone/>
            </a:pPr>
            <a:endParaRPr lang="en-US" sz="2800" b="1" dirty="0" smtClean="0">
              <a:solidFill>
                <a:srgbClr val="FF0000"/>
              </a:solidFill>
            </a:endParaRPr>
          </a:p>
          <a:p>
            <a:pPr lvl="2">
              <a:buFont typeface="Wingdings" pitchFamily="2" charset="2"/>
              <a:buChar char="q"/>
            </a:pPr>
            <a:r>
              <a:rPr lang="en-US" sz="2600" b="1" dirty="0" smtClean="0">
                <a:solidFill>
                  <a:srgbClr val="00B050"/>
                </a:solidFill>
              </a:rPr>
              <a:t>Genetic</a:t>
            </a:r>
          </a:p>
          <a:p>
            <a:pPr marL="630936" lvl="2" indent="0">
              <a:buNone/>
            </a:pPr>
            <a:endParaRPr lang="en-US" sz="3000" dirty="0" smtClean="0">
              <a:solidFill>
                <a:srgbClr val="0070C0"/>
              </a:solidFill>
            </a:endParaRPr>
          </a:p>
          <a:p>
            <a:pPr lvl="2">
              <a:buFont typeface="Wingdings" pitchFamily="2" charset="2"/>
              <a:buChar char="q"/>
            </a:pPr>
            <a:r>
              <a:rPr lang="en-US" sz="2600" b="1" dirty="0" smtClean="0">
                <a:solidFill>
                  <a:srgbClr val="00B050"/>
                </a:solidFill>
              </a:rPr>
              <a:t>Obesity</a:t>
            </a:r>
          </a:p>
          <a:p>
            <a:pPr lvl="2">
              <a:buFont typeface="Wingdings" pitchFamily="2" charset="2"/>
              <a:buChar char="q"/>
            </a:pPr>
            <a:endParaRPr lang="en-US" sz="2600" b="1" dirty="0" smtClean="0">
              <a:solidFill>
                <a:srgbClr val="00B050"/>
              </a:solidFill>
            </a:endParaRPr>
          </a:p>
          <a:p>
            <a:pPr lvl="2">
              <a:buFont typeface="Wingdings" pitchFamily="2" charset="2"/>
              <a:buChar char="q"/>
            </a:pPr>
            <a:r>
              <a:rPr lang="en-US" sz="2600" b="1" dirty="0" smtClean="0">
                <a:solidFill>
                  <a:srgbClr val="00B050"/>
                </a:solidFill>
              </a:rPr>
              <a:t>Sex</a:t>
            </a:r>
          </a:p>
          <a:p>
            <a:pPr marL="537020" lvl="1" indent="-280988" algn="just">
              <a:buNone/>
            </a:pPr>
            <a:endParaRPr lang="en-US" sz="2400" dirty="0">
              <a:solidFill>
                <a:srgbClr val="000099"/>
              </a:solidFill>
              <a:latin typeface="Times New Roman" pitchFamily="18" charset="0"/>
              <a:cs typeface="Times New Roman" pitchFamily="18" charset="0"/>
            </a:endParaRPr>
          </a:p>
        </p:txBody>
      </p:sp>
    </p:spTree>
    <p:extLst>
      <p:ext uri="{BB962C8B-B14F-4D97-AF65-F5344CB8AC3E}">
        <p14:creationId xmlns:p14="http://schemas.microsoft.com/office/powerpoint/2010/main" val="8051584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90600" y="914400"/>
            <a:ext cx="6781800" cy="4625609"/>
          </a:xfrm>
        </p:spPr>
        <p:txBody>
          <a:bodyPr>
            <a:normAutofit fontScale="77500" lnSpcReduction="20000"/>
          </a:bodyPr>
          <a:lstStyle/>
          <a:p>
            <a:pPr lvl="0">
              <a:buNone/>
            </a:pPr>
            <a:r>
              <a:rPr lang="en-US" sz="3800" b="1" dirty="0" smtClean="0">
                <a:solidFill>
                  <a:srgbClr val="FF0000"/>
                </a:solidFill>
                <a:cs typeface="Times New Roman" pitchFamily="18" charset="0"/>
              </a:rPr>
              <a:t>Environmental factors</a:t>
            </a:r>
            <a:endParaRPr lang="en-US" sz="3800" dirty="0" smtClean="0">
              <a:solidFill>
                <a:srgbClr val="FF0000"/>
              </a:solidFill>
              <a:cs typeface="Times New Roman" pitchFamily="18" charset="0"/>
            </a:endParaRPr>
          </a:p>
          <a:p>
            <a:pPr>
              <a:buNone/>
            </a:pPr>
            <a:endParaRPr lang="en-US" sz="3000" b="1" dirty="0" smtClean="0">
              <a:solidFill>
                <a:srgbClr val="00B050"/>
              </a:solidFill>
              <a:latin typeface="Arial Narrow" pitchFamily="34" charset="0"/>
              <a:cs typeface="Times New Roman" pitchFamily="18" charset="0"/>
            </a:endParaRPr>
          </a:p>
          <a:p>
            <a:pPr>
              <a:buFont typeface="Wingdings" pitchFamily="2" charset="2"/>
              <a:buChar char="q"/>
            </a:pPr>
            <a:r>
              <a:rPr lang="en-US" sz="3000" b="1" dirty="0" smtClean="0">
                <a:solidFill>
                  <a:srgbClr val="00B050"/>
                </a:solidFill>
                <a:latin typeface="Arial Narrow" pitchFamily="34" charset="0"/>
                <a:cs typeface="Times New Roman" pitchFamily="18" charset="0"/>
              </a:rPr>
              <a:t>Allergens</a:t>
            </a:r>
          </a:p>
          <a:p>
            <a:pPr lvl="2">
              <a:buSzPct val="70000"/>
              <a:buFont typeface="Wingdings" pitchFamily="2" charset="2"/>
              <a:buChar char="q"/>
            </a:pPr>
            <a:r>
              <a:rPr lang="en-US" sz="3000" dirty="0" smtClean="0">
                <a:solidFill>
                  <a:srgbClr val="FF0000"/>
                </a:solidFill>
                <a:latin typeface="Times New Roman" pitchFamily="18" charset="0"/>
                <a:cs typeface="Times New Roman" pitchFamily="18" charset="0"/>
              </a:rPr>
              <a:t>Indoor:</a:t>
            </a:r>
            <a:r>
              <a:rPr lang="en-US" sz="3000" dirty="0" smtClean="0">
                <a:solidFill>
                  <a:srgbClr val="0070C0"/>
                </a:solidFill>
                <a:latin typeface="Times New Roman" pitchFamily="18" charset="0"/>
                <a:cs typeface="Times New Roman" pitchFamily="18" charset="0"/>
              </a:rPr>
              <a:t> Domestic mites, furred animals (dogs, cats, mice), cockroach allergen, fungi, molds, yeasts</a:t>
            </a:r>
          </a:p>
          <a:p>
            <a:pPr lvl="2">
              <a:buSzPct val="70000"/>
              <a:buFont typeface="Wingdings" pitchFamily="2" charset="2"/>
              <a:buChar char="q"/>
            </a:pPr>
            <a:r>
              <a:rPr lang="en-US" sz="3000" dirty="0" smtClean="0">
                <a:solidFill>
                  <a:srgbClr val="FF0000"/>
                </a:solidFill>
                <a:latin typeface="Times New Roman" pitchFamily="18" charset="0"/>
                <a:cs typeface="Times New Roman" pitchFamily="18" charset="0"/>
              </a:rPr>
              <a:t>Outdoor:</a:t>
            </a:r>
            <a:r>
              <a:rPr lang="en-US" sz="3000" dirty="0" smtClean="0">
                <a:solidFill>
                  <a:srgbClr val="0070C0"/>
                </a:solidFill>
                <a:latin typeface="Times New Roman" pitchFamily="18" charset="0"/>
                <a:cs typeface="Times New Roman" pitchFamily="18" charset="0"/>
              </a:rPr>
              <a:t> Pollens, fungi, molds, yeasts</a:t>
            </a:r>
          </a:p>
          <a:p>
            <a:pPr>
              <a:buNone/>
            </a:pPr>
            <a:endParaRPr lang="en-US" sz="2400" dirty="0" smtClean="0">
              <a:solidFill>
                <a:srgbClr val="0070C0"/>
              </a:solidFill>
              <a:latin typeface="Times New Roman" pitchFamily="18" charset="0"/>
              <a:cs typeface="Times New Roman" pitchFamily="18" charset="0"/>
            </a:endParaRPr>
          </a:p>
          <a:p>
            <a:pPr lvl="0">
              <a:buFont typeface="Wingdings" pitchFamily="2" charset="2"/>
              <a:buChar char="q"/>
            </a:pPr>
            <a:r>
              <a:rPr lang="en-US" sz="3000" b="1" dirty="0" smtClean="0">
                <a:solidFill>
                  <a:srgbClr val="00B050"/>
                </a:solidFill>
                <a:latin typeface="Arial Narrow" pitchFamily="34" charset="0"/>
                <a:cs typeface="Times New Roman" pitchFamily="18" charset="0"/>
              </a:rPr>
              <a:t>Infections</a:t>
            </a:r>
            <a:r>
              <a:rPr lang="en-US" dirty="0" smtClean="0">
                <a:solidFill>
                  <a:srgbClr val="0070C0"/>
                </a:solidFill>
                <a:latin typeface="Times New Roman" pitchFamily="18" charset="0"/>
                <a:cs typeface="Times New Roman" pitchFamily="18" charset="0"/>
              </a:rPr>
              <a:t> </a:t>
            </a:r>
            <a:r>
              <a:rPr lang="en-US" sz="3000" dirty="0" smtClean="0">
                <a:solidFill>
                  <a:srgbClr val="0070C0"/>
                </a:solidFill>
                <a:latin typeface="Times New Roman" pitchFamily="18" charset="0"/>
                <a:cs typeface="Times New Roman" pitchFamily="18" charset="0"/>
              </a:rPr>
              <a:t>(predominantly viral)</a:t>
            </a:r>
          </a:p>
          <a:p>
            <a:pPr lvl="0">
              <a:buFont typeface="Wingdings" pitchFamily="2" charset="2"/>
              <a:buChar char="q"/>
            </a:pPr>
            <a:r>
              <a:rPr lang="en-US" sz="3000" b="1" dirty="0" smtClean="0">
                <a:solidFill>
                  <a:srgbClr val="00B050"/>
                </a:solidFill>
                <a:latin typeface="Arial Narrow" pitchFamily="34" charset="0"/>
                <a:cs typeface="Times New Roman" pitchFamily="18" charset="0"/>
              </a:rPr>
              <a:t>Occupational sensitizers</a:t>
            </a:r>
          </a:p>
          <a:p>
            <a:pPr lvl="0">
              <a:buNone/>
            </a:pPr>
            <a:endParaRPr lang="en-US" sz="3000" b="1" dirty="0" smtClean="0">
              <a:solidFill>
                <a:srgbClr val="00B050"/>
              </a:solidFill>
              <a:latin typeface="Arial Narrow" pitchFamily="34" charset="0"/>
              <a:cs typeface="Times New Roman" pitchFamily="18" charset="0"/>
            </a:endParaRPr>
          </a:p>
          <a:p>
            <a:pPr lvl="0">
              <a:buFont typeface="Wingdings" pitchFamily="2" charset="2"/>
              <a:buChar char="q"/>
            </a:pPr>
            <a:r>
              <a:rPr lang="en-US" sz="3000" b="1" dirty="0" smtClean="0">
                <a:solidFill>
                  <a:srgbClr val="00B050"/>
                </a:solidFill>
                <a:latin typeface="Arial Narrow" pitchFamily="34" charset="0"/>
                <a:cs typeface="Times New Roman" pitchFamily="18" charset="0"/>
              </a:rPr>
              <a:t>Outdoor/Indoor Air Pollution</a:t>
            </a:r>
          </a:p>
          <a:p>
            <a:pPr>
              <a:buFont typeface="Wingdings" pitchFamily="2" charset="2"/>
              <a:buChar char="q"/>
            </a:pPr>
            <a:r>
              <a:rPr lang="en-US" sz="3000" b="1" dirty="0" smtClean="0">
                <a:solidFill>
                  <a:srgbClr val="00B050"/>
                </a:solidFill>
                <a:latin typeface="Arial Narrow" pitchFamily="34" charset="0"/>
                <a:cs typeface="Times New Roman" pitchFamily="18" charset="0"/>
              </a:rPr>
              <a:t>Diet</a:t>
            </a:r>
            <a:endParaRPr lang="en-US" sz="3000" b="1" dirty="0">
              <a:solidFill>
                <a:srgbClr val="00B050"/>
              </a:solidFill>
              <a:latin typeface="Arial Narrow" pitchFamily="34" charset="0"/>
              <a:cs typeface="Times New Roman" pitchFamily="18" charset="0"/>
            </a:endParaRPr>
          </a:p>
        </p:txBody>
      </p:sp>
    </p:spTree>
    <p:extLst>
      <p:ext uri="{BB962C8B-B14F-4D97-AF65-F5344CB8AC3E}">
        <p14:creationId xmlns:p14="http://schemas.microsoft.com/office/powerpoint/2010/main" val="27748356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219200" y="457200"/>
            <a:ext cx="6172200" cy="5791200"/>
          </a:xfrm>
        </p:spPr>
        <p:txBody>
          <a:bodyPr>
            <a:normAutofit fontScale="77500" lnSpcReduction="20000"/>
          </a:bodyPr>
          <a:lstStyle/>
          <a:p>
            <a:pPr>
              <a:buNone/>
            </a:pPr>
            <a:r>
              <a:rPr lang="en-US" sz="3800" b="1" dirty="0" smtClean="0">
                <a:solidFill>
                  <a:srgbClr val="FF0000"/>
                </a:solidFill>
                <a:cs typeface="Times New Roman" pitchFamily="18" charset="0"/>
              </a:rPr>
              <a:t>Contributing Factors</a:t>
            </a:r>
            <a:endParaRPr lang="en-US" sz="3800" dirty="0" smtClean="0">
              <a:solidFill>
                <a:srgbClr val="FF0000"/>
              </a:solidFill>
              <a:cs typeface="Times New Roman" pitchFamily="18" charset="0"/>
            </a:endParaRPr>
          </a:p>
          <a:p>
            <a:pPr>
              <a:buNone/>
            </a:pPr>
            <a:endParaRPr lang="en-US" sz="3000" b="1" dirty="0" smtClean="0">
              <a:solidFill>
                <a:srgbClr val="00B050"/>
              </a:solidFill>
              <a:latin typeface="Arial Narrow" pitchFamily="34" charset="0"/>
              <a:cs typeface="Times New Roman" pitchFamily="18" charset="0"/>
            </a:endParaRPr>
          </a:p>
          <a:p>
            <a:pPr>
              <a:buFont typeface="Wingdings" pitchFamily="2" charset="2"/>
              <a:buChar char="q"/>
            </a:pPr>
            <a:r>
              <a:rPr lang="en-US" sz="3400" b="1" dirty="0" smtClean="0">
                <a:solidFill>
                  <a:srgbClr val="00B050"/>
                </a:solidFill>
                <a:latin typeface="Arial Narrow" pitchFamily="34" charset="0"/>
                <a:cs typeface="Times New Roman" pitchFamily="18" charset="0"/>
              </a:rPr>
              <a:t>Respiratory infections;</a:t>
            </a:r>
            <a:r>
              <a:rPr lang="en-US" sz="3600" b="1" kern="0" dirty="0" smtClean="0">
                <a:solidFill>
                  <a:srgbClr val="2F2B20"/>
                </a:solidFill>
                <a:latin typeface="Arial"/>
                <a:cs typeface="Arial"/>
                <a:sym typeface="Arial"/>
              </a:rPr>
              <a:t> </a:t>
            </a:r>
            <a:r>
              <a:rPr lang="en-US" sz="3200" b="1" kern="0" dirty="0" smtClean="0">
                <a:solidFill>
                  <a:srgbClr val="00B0F0"/>
                </a:solidFill>
                <a:latin typeface="Corbel" pitchFamily="34" charset="0"/>
                <a:cs typeface="Calibri" pitchFamily="34" charset="0"/>
                <a:sym typeface="Arial"/>
              </a:rPr>
              <a:t>The most common cause of acute exacerbation of asthma.    Respiratory viruses are the major factors.</a:t>
            </a:r>
            <a:endParaRPr lang="en-US" sz="3800" b="1" dirty="0" smtClean="0">
              <a:solidFill>
                <a:srgbClr val="00B0F0"/>
              </a:solidFill>
              <a:latin typeface="Corbel" pitchFamily="34" charset="0"/>
              <a:cs typeface="Calibri" pitchFamily="34" charset="0"/>
            </a:endParaRPr>
          </a:p>
          <a:p>
            <a:pPr>
              <a:buFont typeface="Wingdings" pitchFamily="2" charset="2"/>
              <a:buChar char="q"/>
            </a:pPr>
            <a:r>
              <a:rPr lang="en-GB" sz="3400" b="1" dirty="0" smtClean="0">
                <a:solidFill>
                  <a:srgbClr val="00B050"/>
                </a:solidFill>
                <a:latin typeface="Arial Narrow" pitchFamily="34" charset="0"/>
                <a:cs typeface="Times New Roman" pitchFamily="18" charset="0"/>
              </a:rPr>
              <a:t>Physical activity</a:t>
            </a:r>
          </a:p>
          <a:p>
            <a:pPr>
              <a:buNone/>
            </a:pPr>
            <a:endParaRPr lang="en-GB" sz="3400" b="1" dirty="0" smtClean="0">
              <a:solidFill>
                <a:srgbClr val="00B050"/>
              </a:solidFill>
              <a:latin typeface="Arial Narrow" pitchFamily="34" charset="0"/>
              <a:cs typeface="Times New Roman" pitchFamily="18" charset="0"/>
            </a:endParaRPr>
          </a:p>
          <a:p>
            <a:pPr>
              <a:lnSpc>
                <a:spcPct val="120000"/>
              </a:lnSpc>
              <a:buFont typeface="Wingdings" pitchFamily="2" charset="2"/>
              <a:buChar char="q"/>
            </a:pPr>
            <a:r>
              <a:rPr lang="en-GB" sz="3400" b="1" dirty="0" smtClean="0">
                <a:solidFill>
                  <a:srgbClr val="00B050"/>
                </a:solidFill>
                <a:latin typeface="Arial Narrow" pitchFamily="34" charset="0"/>
                <a:cs typeface="Times New Roman" pitchFamily="18" charset="0"/>
              </a:rPr>
              <a:t>Psychological factors</a:t>
            </a:r>
          </a:p>
          <a:p>
            <a:pPr>
              <a:buFont typeface="Wingdings" pitchFamily="2" charset="2"/>
              <a:buChar char="q"/>
            </a:pPr>
            <a:r>
              <a:rPr lang="en-GB" sz="3400" b="1" dirty="0" smtClean="0">
                <a:solidFill>
                  <a:srgbClr val="00B050"/>
                </a:solidFill>
                <a:latin typeface="Arial Narrow" pitchFamily="34" charset="0"/>
                <a:cs typeface="Times New Roman" pitchFamily="18" charset="0"/>
              </a:rPr>
              <a:t>Medication</a:t>
            </a:r>
          </a:p>
          <a:p>
            <a:pPr>
              <a:buNone/>
            </a:pPr>
            <a:endParaRPr lang="en-GB" sz="3400" b="1" dirty="0" smtClean="0">
              <a:solidFill>
                <a:srgbClr val="00B050"/>
              </a:solidFill>
              <a:latin typeface="Arial Narrow" pitchFamily="34" charset="0"/>
              <a:cs typeface="Times New Roman" pitchFamily="18" charset="0"/>
            </a:endParaRPr>
          </a:p>
          <a:p>
            <a:pPr>
              <a:buFont typeface="Wingdings" pitchFamily="2" charset="2"/>
              <a:buChar char="q"/>
            </a:pPr>
            <a:r>
              <a:rPr lang="en-GB" sz="3400" b="1" dirty="0" smtClean="0">
                <a:solidFill>
                  <a:srgbClr val="00B050"/>
                </a:solidFill>
                <a:latin typeface="Arial Narrow" pitchFamily="34" charset="0"/>
                <a:cs typeface="Times New Roman" pitchFamily="18" charset="0"/>
              </a:rPr>
              <a:t>Gastroesophageal reflux disease</a:t>
            </a:r>
            <a:endParaRPr lang="en-US" sz="3400" b="1" dirty="0" smtClean="0">
              <a:solidFill>
                <a:srgbClr val="00B050"/>
              </a:solidFill>
              <a:latin typeface="Arial Narrow" pitchFamily="34" charset="0"/>
              <a:cs typeface="Times New Roman" pitchFamily="18" charset="0"/>
            </a:endParaRPr>
          </a:p>
          <a:p>
            <a:pPr>
              <a:buFont typeface="Wingdings" pitchFamily="2" charset="2"/>
              <a:buChar char="q"/>
            </a:pPr>
            <a:r>
              <a:rPr lang="en-US" sz="3400" b="1" dirty="0" smtClean="0">
                <a:solidFill>
                  <a:srgbClr val="00B050"/>
                </a:solidFill>
                <a:latin typeface="Arial Narrow" pitchFamily="34" charset="0"/>
                <a:cs typeface="Times New Roman" pitchFamily="18" charset="0"/>
              </a:rPr>
              <a:t>Smoking</a:t>
            </a:r>
          </a:p>
          <a:p>
            <a:pPr marL="850900" lvl="1" indent="-293688">
              <a:buFontTx/>
              <a:buChar char="–"/>
            </a:pPr>
            <a:r>
              <a:rPr lang="en-US" sz="3400" b="1" dirty="0" smtClean="0">
                <a:solidFill>
                  <a:srgbClr val="00B050"/>
                </a:solidFill>
                <a:latin typeface="Arial Narrow" pitchFamily="34" charset="0"/>
                <a:cs typeface="Times New Roman" pitchFamily="18" charset="0"/>
              </a:rPr>
              <a:t>Passive Smoking</a:t>
            </a:r>
          </a:p>
          <a:p>
            <a:pPr marL="850900" lvl="1" indent="-293688">
              <a:buFontTx/>
              <a:buChar char="–"/>
            </a:pPr>
            <a:r>
              <a:rPr lang="en-US" sz="3400" b="1" dirty="0" smtClean="0">
                <a:solidFill>
                  <a:srgbClr val="00B050"/>
                </a:solidFill>
                <a:latin typeface="Arial Narrow" pitchFamily="34" charset="0"/>
                <a:cs typeface="Times New Roman" pitchFamily="18" charset="0"/>
              </a:rPr>
              <a:t>Active Smoking</a:t>
            </a:r>
          </a:p>
          <a:p>
            <a:pPr lvl="0">
              <a:buNone/>
            </a:pPr>
            <a:endParaRPr lang="en-US" sz="3000" dirty="0" smtClean="0">
              <a:solidFill>
                <a:srgbClr val="0070C0"/>
              </a:solidFill>
              <a:latin typeface="Times New Roman" pitchFamily="18" charset="0"/>
              <a:cs typeface="Times New Roman" pitchFamily="18" charset="0"/>
            </a:endParaRPr>
          </a:p>
        </p:txBody>
      </p:sp>
    </p:spTree>
    <p:extLst>
      <p:ext uri="{BB962C8B-B14F-4D97-AF65-F5344CB8AC3E}">
        <p14:creationId xmlns:p14="http://schemas.microsoft.com/office/powerpoint/2010/main" val="9717703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685800"/>
            <a:ext cx="8077200" cy="3660775"/>
          </a:xfrm>
        </p:spPr>
        <p:txBody>
          <a:bodyPr>
            <a:noAutofit/>
          </a:bodyPr>
          <a:lstStyle/>
          <a:p>
            <a:pPr algn="l"/>
            <a:r>
              <a:rPr lang="en-US" sz="2800" dirty="0" smtClean="0">
                <a:solidFill>
                  <a:srgbClr val="FF0000"/>
                </a:solidFill>
              </a:rPr>
              <a:t/>
            </a:r>
            <a:br>
              <a:rPr lang="en-US" sz="2800" dirty="0" smtClean="0">
                <a:solidFill>
                  <a:srgbClr val="FF0000"/>
                </a:solidFill>
              </a:rPr>
            </a:br>
            <a:r>
              <a:rPr lang="en-US" sz="2800" dirty="0" smtClean="0">
                <a:solidFill>
                  <a:srgbClr val="FF0000"/>
                </a:solidFill>
              </a:rPr>
              <a:t> </a:t>
            </a:r>
            <a:r>
              <a:rPr lang="en-US" sz="2800" dirty="0" smtClean="0">
                <a:solidFill>
                  <a:srgbClr val="0070C0"/>
                </a:solidFill>
              </a:rPr>
              <a:t>Which is the diagnostic test you will order next for this asthmatic patient?</a:t>
            </a:r>
            <a:br>
              <a:rPr lang="en-US" sz="2800" dirty="0" smtClean="0">
                <a:solidFill>
                  <a:srgbClr val="0070C0"/>
                </a:solidFill>
              </a:rPr>
            </a:br>
            <a:r>
              <a:rPr lang="en-US" sz="2800" dirty="0" smtClean="0">
                <a:solidFill>
                  <a:srgbClr val="0070C0"/>
                </a:solidFill>
              </a:rPr>
              <a:t> </a:t>
            </a:r>
            <a:br>
              <a:rPr lang="en-US" sz="2800" dirty="0" smtClean="0">
                <a:solidFill>
                  <a:srgbClr val="0070C0"/>
                </a:solidFill>
              </a:rPr>
            </a:br>
            <a:r>
              <a:rPr lang="en-US" sz="2800" dirty="0" smtClean="0">
                <a:solidFill>
                  <a:srgbClr val="FF0000"/>
                </a:solidFill>
              </a:rPr>
              <a:t>(a) ABGs </a:t>
            </a:r>
            <a:br>
              <a:rPr lang="en-US" sz="2800" dirty="0" smtClean="0">
                <a:solidFill>
                  <a:srgbClr val="FF0000"/>
                </a:solidFill>
              </a:rPr>
            </a:br>
            <a:r>
              <a:rPr lang="en-US" sz="2800" dirty="0" smtClean="0">
                <a:solidFill>
                  <a:srgbClr val="FF0000"/>
                </a:solidFill>
              </a:rPr>
              <a:t>(b) PFTs (PEFR or FEV1) </a:t>
            </a:r>
            <a:br>
              <a:rPr lang="en-US" sz="2800" dirty="0" smtClean="0">
                <a:solidFill>
                  <a:srgbClr val="FF0000"/>
                </a:solidFill>
              </a:rPr>
            </a:br>
            <a:r>
              <a:rPr lang="en-US" sz="2800" dirty="0" smtClean="0">
                <a:solidFill>
                  <a:srgbClr val="FF0000"/>
                </a:solidFill>
              </a:rPr>
              <a:t>(c) Pulse oximetry </a:t>
            </a:r>
            <a:br>
              <a:rPr lang="en-US" sz="2800" dirty="0" smtClean="0">
                <a:solidFill>
                  <a:srgbClr val="FF0000"/>
                </a:solidFill>
              </a:rPr>
            </a:br>
            <a:r>
              <a:rPr lang="en-US" sz="2800" dirty="0" smtClean="0">
                <a:solidFill>
                  <a:srgbClr val="FF0000"/>
                </a:solidFill>
              </a:rPr>
              <a:t>(d) CXR </a:t>
            </a:r>
            <a:endParaRPr lang="en-US" sz="2800" dirty="0">
              <a:solidFill>
                <a:srgbClr val="FF0000"/>
              </a:solidFill>
            </a:endParaRPr>
          </a:p>
        </p:txBody>
      </p:sp>
    </p:spTree>
    <p:extLst>
      <p:ext uri="{BB962C8B-B14F-4D97-AF65-F5344CB8AC3E}">
        <p14:creationId xmlns:p14="http://schemas.microsoft.com/office/powerpoint/2010/main" val="267571037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1814" name="Rectangle 6"/>
          <p:cNvSpPr>
            <a:spLocks noGrp="1" noChangeArrowheads="1"/>
          </p:cNvSpPr>
          <p:nvPr>
            <p:ph type="title"/>
          </p:nvPr>
        </p:nvSpPr>
        <p:spPr>
          <a:xfrm>
            <a:off x="-3174" y="2"/>
            <a:ext cx="9147175" cy="1058863"/>
          </a:xfrm>
        </p:spPr>
        <p:txBody>
          <a:bodyPr/>
          <a:lstStyle/>
          <a:p>
            <a:pPr>
              <a:defRPr/>
            </a:pPr>
            <a:r>
              <a:rPr lang="en-US" sz="5000" dirty="0" smtClean="0">
                <a:solidFill>
                  <a:srgbClr val="FFC000"/>
                </a:solidFill>
                <a:ea typeface="+mj-ea"/>
              </a:rPr>
              <a:t>CXR</a:t>
            </a:r>
          </a:p>
        </p:txBody>
      </p:sp>
      <p:sp>
        <p:nvSpPr>
          <p:cNvPr id="73731" name="Rectangle 3"/>
          <p:cNvSpPr>
            <a:spLocks noGrp="1" noChangeArrowheads="1"/>
          </p:cNvSpPr>
          <p:nvPr>
            <p:ph type="body" sz="half" idx="4294967295"/>
          </p:nvPr>
        </p:nvSpPr>
        <p:spPr>
          <a:xfrm>
            <a:off x="0" y="1143000"/>
            <a:ext cx="5029200" cy="6019800"/>
          </a:xfrm>
        </p:spPr>
        <p:txBody>
          <a:bodyPr/>
          <a:lstStyle/>
          <a:p>
            <a:pPr marL="457200" indent="-457200"/>
            <a:r>
              <a:rPr lang="en-US" sz="2800" b="1" dirty="0" smtClean="0">
                <a:latin typeface="Candara" panose="020E0502030303020204" pitchFamily="34" charset="0"/>
              </a:rPr>
              <a:t>Most patients with asthma have </a:t>
            </a:r>
            <a:r>
              <a:rPr lang="en-US" sz="2800" b="1" dirty="0" smtClean="0">
                <a:solidFill>
                  <a:srgbClr val="FFFF00"/>
                </a:solidFill>
                <a:latin typeface="Candara" panose="020E0502030303020204" pitchFamily="34" charset="0"/>
              </a:rPr>
              <a:t>normal x-rays.</a:t>
            </a:r>
          </a:p>
          <a:p>
            <a:pPr marL="457200" indent="-457200">
              <a:buNone/>
            </a:pPr>
            <a:endParaRPr lang="en-US" sz="2800" b="1" dirty="0" smtClean="0">
              <a:solidFill>
                <a:srgbClr val="FFFF00"/>
              </a:solidFill>
              <a:latin typeface="Candara" panose="020E0502030303020204" pitchFamily="34" charset="0"/>
            </a:endParaRPr>
          </a:p>
          <a:p>
            <a:pPr marL="457200" indent="-457200"/>
            <a:r>
              <a:rPr lang="en-US" sz="2800" b="1" dirty="0" smtClean="0">
                <a:latin typeface="Candara" panose="020E0502030303020204" pitchFamily="34" charset="0"/>
              </a:rPr>
              <a:t>Signs of </a:t>
            </a:r>
            <a:r>
              <a:rPr lang="en-US" sz="2800" b="1" dirty="0" smtClean="0">
                <a:solidFill>
                  <a:srgbClr val="FFFF00"/>
                </a:solidFill>
                <a:latin typeface="Candara" panose="020E0502030303020204" pitchFamily="34" charset="0"/>
              </a:rPr>
              <a:t>Hyperinflation </a:t>
            </a:r>
            <a:r>
              <a:rPr lang="en-US" sz="2800" b="1" dirty="0" smtClean="0">
                <a:latin typeface="Candara" panose="020E0502030303020204" pitchFamily="34" charset="0"/>
              </a:rPr>
              <a:t>(Diaphragm is down to the 8</a:t>
            </a:r>
            <a:r>
              <a:rPr lang="en-US" sz="2800" b="1" baseline="30000" dirty="0" smtClean="0">
                <a:latin typeface="Candara" panose="020E0502030303020204" pitchFamily="34" charset="0"/>
              </a:rPr>
              <a:t>th</a:t>
            </a:r>
            <a:r>
              <a:rPr lang="en-US" sz="2800" b="1" dirty="0" smtClean="0">
                <a:latin typeface="Candara" panose="020E0502030303020204" pitchFamily="34" charset="0"/>
              </a:rPr>
              <a:t> rib anteriorly, MCL-ribbon-shaped heart…) as in ASA</a:t>
            </a:r>
          </a:p>
          <a:p>
            <a:pPr marL="457200" indent="-457200"/>
            <a:r>
              <a:rPr lang="en-US" sz="2800" b="1" dirty="0" smtClean="0">
                <a:solidFill>
                  <a:srgbClr val="FFFF00"/>
                </a:solidFill>
                <a:latin typeface="Candara" panose="020E0502030303020204" pitchFamily="34" charset="0"/>
              </a:rPr>
              <a:t>Diagnosis of Complications:</a:t>
            </a:r>
          </a:p>
          <a:p>
            <a:pPr marL="1028700" lvl="1"/>
            <a:r>
              <a:rPr lang="en-US" b="1" dirty="0" smtClean="0">
                <a:latin typeface="Candara" panose="020E0502030303020204" pitchFamily="34" charset="0"/>
              </a:rPr>
              <a:t>Pneumonia</a:t>
            </a:r>
          </a:p>
          <a:p>
            <a:pPr marL="1028700" lvl="1"/>
            <a:r>
              <a:rPr lang="en-US" b="1" dirty="0" smtClean="0">
                <a:latin typeface="Candara" panose="020E0502030303020204" pitchFamily="34" charset="0"/>
              </a:rPr>
              <a:t>Pneumothorax</a:t>
            </a:r>
          </a:p>
          <a:p>
            <a:pPr marL="457200" indent="-457200">
              <a:buFontTx/>
              <a:buAutoNum type="arabicPeriod"/>
            </a:pPr>
            <a:endParaRPr lang="en-US" sz="2800" dirty="0" smtClean="0">
              <a:latin typeface="Candara" panose="020E0502030303020204" pitchFamily="34" charset="0"/>
            </a:endParaRPr>
          </a:p>
        </p:txBody>
      </p:sp>
      <p:pic>
        <p:nvPicPr>
          <p:cNvPr id="73732" name="Picture 5" descr="Figure 3-16A"/>
          <p:cNvPicPr>
            <a:picLocks noGrp="1" noChangeAspect="1" noChangeArrowheads="1"/>
          </p:cNvPicPr>
          <p:nvPr>
            <p:ph idx="4294967295"/>
          </p:nvPr>
        </p:nvPicPr>
        <p:blipFill>
          <a:blip r:embed="rId3"/>
          <a:srcRect/>
          <a:stretch>
            <a:fillRect/>
          </a:stretch>
        </p:blipFill>
        <p:spPr>
          <a:xfrm>
            <a:off x="5029200" y="1752603"/>
            <a:ext cx="3886200" cy="4190997"/>
          </a:xfrm>
          <a:noFill/>
        </p:spPr>
      </p:pic>
    </p:spTree>
    <p:extLst>
      <p:ext uri="{BB962C8B-B14F-4D97-AF65-F5344CB8AC3E}">
        <p14:creationId xmlns:p14="http://schemas.microsoft.com/office/powerpoint/2010/main" val="362743882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685800"/>
            <a:ext cx="8077200" cy="3660775"/>
          </a:xfrm>
        </p:spPr>
        <p:txBody>
          <a:bodyPr>
            <a:noAutofit/>
          </a:bodyPr>
          <a:lstStyle/>
          <a:p>
            <a:pPr algn="l"/>
            <a:r>
              <a:rPr lang="en-US" sz="2800" dirty="0" smtClean="0">
                <a:solidFill>
                  <a:srgbClr val="FF0000"/>
                </a:solidFill>
              </a:rPr>
              <a:t/>
            </a:r>
            <a:br>
              <a:rPr lang="en-US" sz="2800" dirty="0" smtClean="0">
                <a:solidFill>
                  <a:srgbClr val="FF0000"/>
                </a:solidFill>
              </a:rPr>
            </a:br>
            <a:r>
              <a:rPr lang="en-US" sz="2800" dirty="0" smtClean="0">
                <a:solidFill>
                  <a:srgbClr val="FF0000"/>
                </a:solidFill>
              </a:rPr>
              <a:t> </a:t>
            </a:r>
            <a:r>
              <a:rPr lang="en-US" sz="2800" dirty="0" smtClean="0">
                <a:solidFill>
                  <a:srgbClr val="0070C0"/>
                </a:solidFill>
              </a:rPr>
              <a:t>Which is the diagnostic test you will order to confirm diagnosis of asthmatic patient?</a:t>
            </a:r>
            <a:br>
              <a:rPr lang="en-US" sz="2800" dirty="0" smtClean="0">
                <a:solidFill>
                  <a:srgbClr val="0070C0"/>
                </a:solidFill>
              </a:rPr>
            </a:br>
            <a:r>
              <a:rPr lang="en-US" sz="2800" dirty="0" smtClean="0">
                <a:solidFill>
                  <a:srgbClr val="0070C0"/>
                </a:solidFill>
              </a:rPr>
              <a:t> </a:t>
            </a:r>
            <a:br>
              <a:rPr lang="en-US" sz="2800" dirty="0" smtClean="0">
                <a:solidFill>
                  <a:srgbClr val="0070C0"/>
                </a:solidFill>
              </a:rPr>
            </a:br>
            <a:r>
              <a:rPr lang="en-US" sz="2800" dirty="0" smtClean="0">
                <a:solidFill>
                  <a:srgbClr val="FF0000"/>
                </a:solidFill>
              </a:rPr>
              <a:t>(a) ABGs </a:t>
            </a:r>
            <a:br>
              <a:rPr lang="en-US" sz="2800" dirty="0" smtClean="0">
                <a:solidFill>
                  <a:srgbClr val="FF0000"/>
                </a:solidFill>
              </a:rPr>
            </a:br>
            <a:r>
              <a:rPr lang="en-US" sz="2800" dirty="0" smtClean="0">
                <a:solidFill>
                  <a:srgbClr val="FF0000"/>
                </a:solidFill>
              </a:rPr>
              <a:t>(b) PFTs (PEFR or FEV1) </a:t>
            </a:r>
            <a:br>
              <a:rPr lang="en-US" sz="2800" dirty="0" smtClean="0">
                <a:solidFill>
                  <a:srgbClr val="FF0000"/>
                </a:solidFill>
              </a:rPr>
            </a:br>
            <a:r>
              <a:rPr lang="en-US" sz="2800" dirty="0" smtClean="0">
                <a:solidFill>
                  <a:srgbClr val="FF0000"/>
                </a:solidFill>
              </a:rPr>
              <a:t>(c) Pulse oximetry </a:t>
            </a:r>
            <a:br>
              <a:rPr lang="en-US" sz="2800" dirty="0" smtClean="0">
                <a:solidFill>
                  <a:srgbClr val="FF0000"/>
                </a:solidFill>
              </a:rPr>
            </a:br>
            <a:r>
              <a:rPr lang="en-US" sz="2800" dirty="0" smtClean="0">
                <a:solidFill>
                  <a:srgbClr val="FF0000"/>
                </a:solidFill>
              </a:rPr>
              <a:t>(d) CXR </a:t>
            </a:r>
            <a:endParaRPr lang="en-US" sz="2800" dirty="0">
              <a:solidFill>
                <a:srgbClr val="FF0000"/>
              </a:solidFill>
            </a:endParaRPr>
          </a:p>
        </p:txBody>
      </p:sp>
    </p:spTree>
    <p:extLst>
      <p:ext uri="{BB962C8B-B14F-4D97-AF65-F5344CB8AC3E}">
        <p14:creationId xmlns:p14="http://schemas.microsoft.com/office/powerpoint/2010/main" val="166606482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457200"/>
            <a:ext cx="7772400" cy="5257800"/>
          </a:xfrm>
        </p:spPr>
        <p:txBody>
          <a:bodyPr>
            <a:noAutofit/>
          </a:bodyPr>
          <a:lstStyle/>
          <a:p>
            <a:pPr algn="l"/>
            <a:r>
              <a:rPr lang="en-US" sz="2800" dirty="0" smtClean="0">
                <a:solidFill>
                  <a:srgbClr val="0070C0"/>
                </a:solidFill>
              </a:rPr>
              <a:t>Obstructive airway defect is characterized on PFT by which one of the following</a:t>
            </a:r>
            <a:br>
              <a:rPr lang="en-US" sz="2800" dirty="0" smtClean="0">
                <a:solidFill>
                  <a:srgbClr val="0070C0"/>
                </a:solidFill>
              </a:rPr>
            </a:br>
            <a:r>
              <a:rPr lang="en-US" sz="2800" dirty="0" smtClean="0">
                <a:solidFill>
                  <a:srgbClr val="0070C0"/>
                </a:solidFill>
              </a:rPr>
              <a:t> </a:t>
            </a:r>
            <a:br>
              <a:rPr lang="en-US" sz="2800" dirty="0" smtClean="0">
                <a:solidFill>
                  <a:srgbClr val="0070C0"/>
                </a:solidFill>
              </a:rPr>
            </a:br>
            <a:r>
              <a:rPr lang="en-US" sz="2800" dirty="0" smtClean="0">
                <a:solidFill>
                  <a:schemeClr val="accent2"/>
                </a:solidFill>
              </a:rPr>
              <a:t>a. Reduced FEV1/FVC ratio</a:t>
            </a:r>
            <a:br>
              <a:rPr lang="en-US" sz="2800" dirty="0" smtClean="0">
                <a:solidFill>
                  <a:schemeClr val="accent2"/>
                </a:solidFill>
              </a:rPr>
            </a:br>
            <a:r>
              <a:rPr lang="en-US" sz="2800" dirty="0" smtClean="0">
                <a:solidFill>
                  <a:schemeClr val="accent2"/>
                </a:solidFill>
              </a:rPr>
              <a:t>b. Decreased total lung capacity </a:t>
            </a:r>
            <a:br>
              <a:rPr lang="en-US" sz="2800" dirty="0" smtClean="0">
                <a:solidFill>
                  <a:schemeClr val="accent2"/>
                </a:solidFill>
              </a:rPr>
            </a:br>
            <a:r>
              <a:rPr lang="en-US" sz="2800" dirty="0" smtClean="0">
                <a:solidFill>
                  <a:schemeClr val="accent2"/>
                </a:solidFill>
              </a:rPr>
              <a:t>c. Reduced residual volume </a:t>
            </a:r>
            <a:br>
              <a:rPr lang="en-US" sz="2800" dirty="0" smtClean="0">
                <a:solidFill>
                  <a:schemeClr val="accent2"/>
                </a:solidFill>
              </a:rPr>
            </a:br>
            <a:r>
              <a:rPr lang="en-US" sz="2800" dirty="0" smtClean="0">
                <a:solidFill>
                  <a:schemeClr val="accent2"/>
                </a:solidFill>
              </a:rPr>
              <a:t>d. Decrease in diffusing capacity</a:t>
            </a:r>
            <a:br>
              <a:rPr lang="en-US" sz="2800" dirty="0" smtClean="0">
                <a:solidFill>
                  <a:schemeClr val="accent2"/>
                </a:solidFill>
              </a:rPr>
            </a:br>
            <a:endParaRPr lang="en-US" sz="2800" dirty="0">
              <a:solidFill>
                <a:schemeClr val="accent2"/>
              </a:solidFill>
            </a:endParaRPr>
          </a:p>
        </p:txBody>
      </p:sp>
    </p:spTree>
    <p:extLst>
      <p:ext uri="{BB962C8B-B14F-4D97-AF65-F5344CB8AC3E}">
        <p14:creationId xmlns:p14="http://schemas.microsoft.com/office/powerpoint/2010/main" val="190523909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2"/>
          <p:cNvSpPr>
            <a:spLocks noGrp="1" noChangeArrowheads="1"/>
          </p:cNvSpPr>
          <p:nvPr>
            <p:ph type="title"/>
          </p:nvPr>
        </p:nvSpPr>
        <p:spPr/>
        <p:txBody>
          <a:bodyPr/>
          <a:lstStyle/>
          <a:p>
            <a:r>
              <a:rPr lang="en-US" dirty="0" smtClean="0">
                <a:latin typeface="Times New Roman" pitchFamily="18" charset="0"/>
                <a:cs typeface="Times New Roman" pitchFamily="18" charset="0"/>
              </a:rPr>
              <a:t>Diagnostic testing</a:t>
            </a:r>
          </a:p>
        </p:txBody>
      </p:sp>
      <p:sp>
        <p:nvSpPr>
          <p:cNvPr id="3076" name="Rectangle 3"/>
          <p:cNvSpPr>
            <a:spLocks noGrp="1" noChangeArrowheads="1"/>
          </p:cNvSpPr>
          <p:nvPr>
            <p:ph type="body" idx="1"/>
          </p:nvPr>
        </p:nvSpPr>
        <p:spPr/>
        <p:txBody>
          <a:bodyPr/>
          <a:lstStyle/>
          <a:p>
            <a:pPr>
              <a:buFont typeface="Wingdings" pitchFamily="2" charset="2"/>
              <a:buNone/>
            </a:pPr>
            <a:r>
              <a:rPr lang="en-US" b="1" smtClean="0">
                <a:latin typeface="Times New Roman" pitchFamily="18" charset="0"/>
                <a:cs typeface="Times New Roman" pitchFamily="18" charset="0"/>
              </a:rPr>
              <a:t>      Diagnosis of asthma can be confirmed by demonstrating the presence of </a:t>
            </a:r>
            <a:r>
              <a:rPr lang="en-US" b="1" smtClean="0">
                <a:solidFill>
                  <a:srgbClr val="FFFF00"/>
                </a:solidFill>
                <a:latin typeface="Times New Roman" pitchFamily="18" charset="0"/>
                <a:cs typeface="Times New Roman" pitchFamily="18" charset="0"/>
              </a:rPr>
              <a:t>reversible airway obstruction</a:t>
            </a:r>
            <a:r>
              <a:rPr lang="en-US" b="1" smtClean="0">
                <a:latin typeface="Times New Roman" pitchFamily="18" charset="0"/>
                <a:cs typeface="Times New Roman" pitchFamily="18" charset="0"/>
              </a:rPr>
              <a:t> using PFT ; </a:t>
            </a:r>
            <a:r>
              <a:rPr lang="en-US" b="1" i="1" smtClean="0">
                <a:solidFill>
                  <a:srgbClr val="FFFF00"/>
                </a:solidFill>
                <a:latin typeface="Times New Roman" pitchFamily="18" charset="0"/>
                <a:cs typeface="Times New Roman" pitchFamily="18" charset="0"/>
              </a:rPr>
              <a:t>Spirometry</a:t>
            </a:r>
            <a:r>
              <a:rPr lang="en-US" b="1" smtClean="0">
                <a:latin typeface="Times New Roman" pitchFamily="18" charset="0"/>
                <a:cs typeface="Times New Roman" pitchFamily="18" charset="0"/>
              </a:rPr>
              <a:t> or </a:t>
            </a:r>
            <a:r>
              <a:rPr lang="en-US" b="1" i="1" smtClean="0">
                <a:solidFill>
                  <a:srgbClr val="FFFF00"/>
                </a:solidFill>
                <a:latin typeface="Times New Roman" pitchFamily="18" charset="0"/>
                <a:cs typeface="Times New Roman" pitchFamily="18" charset="0"/>
              </a:rPr>
              <a:t>Peak flow meter</a:t>
            </a:r>
            <a:r>
              <a:rPr lang="en-US" b="1" i="1" smtClean="0">
                <a:latin typeface="Times New Roman" pitchFamily="18" charset="0"/>
                <a:cs typeface="Times New Roman" pitchFamily="18" charset="0"/>
              </a:rPr>
              <a:t>.</a:t>
            </a:r>
          </a:p>
          <a:p>
            <a:pPr lvl="1">
              <a:buFontTx/>
              <a:buNone/>
            </a:pPr>
            <a:endParaRPr lang="en-US" b="1" i="1" smtClean="0">
              <a:latin typeface="Times New Roman" pitchFamily="18" charset="0"/>
              <a:cs typeface="Times New Roman" pitchFamily="18" charset="0"/>
            </a:endParaRPr>
          </a:p>
          <a:p>
            <a:pPr lvl="1">
              <a:buFontTx/>
              <a:buNone/>
            </a:pPr>
            <a:endParaRPr lang="en-US" b="1" smtClean="0">
              <a:latin typeface="Times New Roman" pitchFamily="18" charset="0"/>
              <a:cs typeface="Times New Roman" pitchFamily="18" charset="0"/>
            </a:endParaRPr>
          </a:p>
        </p:txBody>
      </p:sp>
      <p:graphicFrame>
        <p:nvGraphicFramePr>
          <p:cNvPr id="3074" name="Object 0"/>
          <p:cNvGraphicFramePr>
            <a:graphicFrameLocks noChangeAspect="1"/>
          </p:cNvGraphicFramePr>
          <p:nvPr/>
        </p:nvGraphicFramePr>
        <p:xfrm>
          <a:off x="2321278" y="3981457"/>
          <a:ext cx="4120444" cy="2695575"/>
        </p:xfrm>
        <a:graphic>
          <a:graphicData uri="http://schemas.openxmlformats.org/presentationml/2006/ole">
            <mc:AlternateContent xmlns:mc="http://schemas.openxmlformats.org/markup-compatibility/2006">
              <mc:Choice xmlns:v="urn:schemas-microsoft-com:vml" Requires="v">
                <p:oleObj spid="_x0000_s292872" name="Photo Editor Photo" r:id="rId3" imgW="4219048" imgH="3638095" progId="">
                  <p:embed/>
                </p:oleObj>
              </mc:Choice>
              <mc:Fallback>
                <p:oleObj name="Photo Editor Photo" r:id="rId3" imgW="4219048" imgH="3638095" progId="">
                  <p:embed/>
                  <p:pic>
                    <p:nvPicPr>
                      <p:cNvPr id="3074" name="Object 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21278" y="3981457"/>
                        <a:ext cx="4120444" cy="2695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4041997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8313" y="142875"/>
            <a:ext cx="8135937" cy="928688"/>
          </a:xfrm>
        </p:spPr>
        <p:txBody>
          <a:bodyPr/>
          <a:lstStyle/>
          <a:p>
            <a:pPr>
              <a:defRPr/>
            </a:pPr>
            <a:r>
              <a:rPr lang="en-US" sz="4800" b="1" u="sng" dirty="0">
                <a:solidFill>
                  <a:srgbClr val="FFC000"/>
                </a:solidFill>
                <a:latin typeface="Candara" panose="020E0502030303020204" pitchFamily="34" charset="0"/>
              </a:rPr>
              <a:t>History</a:t>
            </a:r>
          </a:p>
        </p:txBody>
      </p:sp>
      <p:sp>
        <p:nvSpPr>
          <p:cNvPr id="3" name="Content Placeholder 2"/>
          <p:cNvSpPr>
            <a:spLocks noGrp="1"/>
          </p:cNvSpPr>
          <p:nvPr>
            <p:ph idx="1"/>
          </p:nvPr>
        </p:nvSpPr>
        <p:spPr>
          <a:xfrm>
            <a:off x="539750" y="1143000"/>
            <a:ext cx="8064500" cy="5238750"/>
          </a:xfrm>
        </p:spPr>
        <p:txBody>
          <a:bodyPr/>
          <a:lstStyle/>
          <a:p>
            <a:pPr>
              <a:buFont typeface="Wingdings" panose="05000000000000000000" pitchFamily="2" charset="2"/>
              <a:buNone/>
              <a:defRPr/>
            </a:pPr>
            <a:r>
              <a:rPr lang="en-US" sz="2800" b="1" dirty="0" smtClean="0">
                <a:latin typeface="Candara" panose="020E0502030303020204" pitchFamily="34" charset="0"/>
              </a:rPr>
              <a:t>        A </a:t>
            </a:r>
            <a:r>
              <a:rPr lang="en-US" sz="2800" b="1" dirty="0">
                <a:latin typeface="Candara" panose="020E0502030303020204" pitchFamily="34" charset="0"/>
              </a:rPr>
              <a:t>60 years old farmer developed a </a:t>
            </a:r>
            <a:r>
              <a:rPr lang="en-US" sz="2800" b="1" dirty="0">
                <a:solidFill>
                  <a:srgbClr val="FFFF00"/>
                </a:solidFill>
                <a:latin typeface="Candara" panose="020E0502030303020204" pitchFamily="34" charset="0"/>
              </a:rPr>
              <a:t>fever </a:t>
            </a:r>
            <a:r>
              <a:rPr lang="en-US" sz="2800" b="1" dirty="0">
                <a:latin typeface="Candara" panose="020E0502030303020204" pitchFamily="34" charset="0"/>
              </a:rPr>
              <a:t>and </a:t>
            </a:r>
            <a:r>
              <a:rPr lang="en-US" sz="2800" b="1" dirty="0">
                <a:solidFill>
                  <a:srgbClr val="FFFF00"/>
                </a:solidFill>
                <a:latin typeface="Candara" panose="020E0502030303020204" pitchFamily="34" charset="0"/>
              </a:rPr>
              <a:t>rigors</a:t>
            </a:r>
            <a:r>
              <a:rPr lang="en-US" sz="2800" b="1" dirty="0">
                <a:latin typeface="Candara" panose="020E0502030303020204" pitchFamily="34" charset="0"/>
              </a:rPr>
              <a:t>. Over the next 6 hrs he developed dry </a:t>
            </a:r>
            <a:r>
              <a:rPr lang="en-US" sz="2800" b="1" dirty="0">
                <a:solidFill>
                  <a:srgbClr val="FFFF00"/>
                </a:solidFill>
                <a:latin typeface="Candara" panose="020E0502030303020204" pitchFamily="34" charset="0"/>
              </a:rPr>
              <a:t>cough</a:t>
            </a:r>
            <a:r>
              <a:rPr lang="en-US" sz="2800" b="1" dirty="0">
                <a:latin typeface="Candara" panose="020E0502030303020204" pitchFamily="34" charset="0"/>
              </a:rPr>
              <a:t> and complains of right sided chest </a:t>
            </a:r>
            <a:r>
              <a:rPr lang="en-US" sz="2800" b="1" dirty="0">
                <a:solidFill>
                  <a:srgbClr val="FFFF00"/>
                </a:solidFill>
                <a:latin typeface="Candara" panose="020E0502030303020204" pitchFamily="34" charset="0"/>
              </a:rPr>
              <a:t>pain</a:t>
            </a:r>
            <a:r>
              <a:rPr lang="en-US" sz="2800" b="1" dirty="0">
                <a:latin typeface="Candara" panose="020E0502030303020204" pitchFamily="34" charset="0"/>
              </a:rPr>
              <a:t>. He felt progressively more unwell and is brought </a:t>
            </a:r>
            <a:r>
              <a:rPr lang="en-US" sz="2800" b="1" dirty="0" smtClean="0">
                <a:latin typeface="Candara" panose="020E0502030303020204" pitchFamily="34" charset="0"/>
              </a:rPr>
              <a:t>to emergency </a:t>
            </a:r>
            <a:r>
              <a:rPr lang="en-US" sz="2800" b="1" dirty="0">
                <a:latin typeface="Candara" panose="020E0502030303020204" pitchFamily="34" charset="0"/>
              </a:rPr>
              <a:t>department. </a:t>
            </a:r>
            <a:endParaRPr lang="en-US" sz="2800" b="1" dirty="0" smtClean="0">
              <a:latin typeface="Candara" panose="020E0502030303020204" pitchFamily="34" charset="0"/>
            </a:endParaRPr>
          </a:p>
          <a:p>
            <a:pPr>
              <a:buFont typeface="Wingdings" panose="05000000000000000000" pitchFamily="2" charset="2"/>
              <a:buNone/>
              <a:defRPr/>
            </a:pPr>
            <a:endParaRPr lang="en-US" sz="2800" b="1" dirty="0" smtClean="0">
              <a:latin typeface="Candara" panose="020E0502030303020204" pitchFamily="34" charset="0"/>
            </a:endParaRPr>
          </a:p>
          <a:p>
            <a:pPr>
              <a:buFont typeface="Wingdings" panose="05000000000000000000" pitchFamily="2" charset="2"/>
              <a:buNone/>
              <a:defRPr/>
            </a:pPr>
            <a:r>
              <a:rPr lang="en-US" sz="2800" b="1" dirty="0">
                <a:latin typeface="Candara" panose="020E0502030303020204" pitchFamily="34" charset="0"/>
              </a:rPr>
              <a:t> </a:t>
            </a:r>
            <a:r>
              <a:rPr lang="en-US" sz="2800" b="1" dirty="0" smtClean="0">
                <a:latin typeface="Candara" panose="020E0502030303020204" pitchFamily="34" charset="0"/>
              </a:rPr>
              <a:t> He </a:t>
            </a:r>
            <a:r>
              <a:rPr lang="en-US" sz="2800" b="1" dirty="0">
                <a:latin typeface="Candara" panose="020E0502030303020204" pitchFamily="34" charset="0"/>
              </a:rPr>
              <a:t>had been well previously with </a:t>
            </a:r>
            <a:r>
              <a:rPr lang="en-US" sz="2800" b="1" dirty="0">
                <a:solidFill>
                  <a:srgbClr val="FFFF00"/>
                </a:solidFill>
                <a:latin typeface="Candara" panose="020E0502030303020204" pitchFamily="34" charset="0"/>
              </a:rPr>
              <a:t>no significant medical history</a:t>
            </a:r>
            <a:r>
              <a:rPr lang="en-US" sz="2800" b="1" dirty="0">
                <a:latin typeface="Candara" panose="020E0502030303020204" pitchFamily="34" charset="0"/>
              </a:rPr>
              <a:t>. There is no relevant family history. His farm is a small dairy farm that he manages with his wife and 18- year- old son.                               </a:t>
            </a:r>
            <a:endParaRPr lang="ar-EG" sz="2800" b="1" dirty="0">
              <a:latin typeface="Candara" panose="020E0502030303020204" pitchFamily="34" charset="0"/>
            </a:endParaRPr>
          </a:p>
          <a:p>
            <a:pPr>
              <a:buFont typeface="Wingdings" panose="05000000000000000000" pitchFamily="2" charset="2"/>
              <a:buNone/>
              <a:defRPr/>
            </a:pPr>
            <a:endParaRPr lang="en-US" dirty="0">
              <a:latin typeface="Candara" panose="020E0502030303020204" pitchFamily="34" charset="0"/>
            </a:endParaRPr>
          </a:p>
        </p:txBody>
      </p:sp>
    </p:spTree>
    <p:extLst>
      <p:ext uri="{BB962C8B-B14F-4D97-AF65-F5344CB8AC3E}">
        <p14:creationId xmlns:p14="http://schemas.microsoft.com/office/powerpoint/2010/main" val="340870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5" descr="as7_spirom"/>
          <p:cNvPicPr>
            <a:picLocks noChangeAspect="1" noChangeArrowheads="1"/>
          </p:cNvPicPr>
          <p:nvPr/>
        </p:nvPicPr>
        <p:blipFill>
          <a:blip r:embed="rId3"/>
          <a:srcRect b="6483"/>
          <a:stretch>
            <a:fillRect/>
          </a:stretch>
        </p:blipFill>
        <p:spPr bwMode="auto">
          <a:xfrm>
            <a:off x="0" y="17465"/>
            <a:ext cx="9296400" cy="6670675"/>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249696783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p:cNvSpPr>
            <a:spLocks noGrp="1"/>
          </p:cNvSpPr>
          <p:nvPr>
            <p:ph type="title"/>
          </p:nvPr>
        </p:nvSpPr>
        <p:spPr>
          <a:xfrm>
            <a:off x="228600" y="304807"/>
            <a:ext cx="8669870" cy="609593"/>
          </a:xfrm>
        </p:spPr>
        <p:txBody>
          <a:bodyPr/>
          <a:lstStyle/>
          <a:p>
            <a:r>
              <a:rPr lang="en-US" sz="2800" dirty="0" smtClean="0">
                <a:solidFill>
                  <a:srgbClr val="FFC000"/>
                </a:solidFill>
                <a:latin typeface="Times New Roman" pitchFamily="18" charset="0"/>
                <a:cs typeface="Times New Roman" pitchFamily="18" charset="0"/>
              </a:rPr>
              <a:t>Reversibility and variability of Airflow Obstruction</a:t>
            </a:r>
          </a:p>
        </p:txBody>
      </p:sp>
      <p:sp>
        <p:nvSpPr>
          <p:cNvPr id="3" name="Content Placeholder 2"/>
          <p:cNvSpPr>
            <a:spLocks noGrp="1"/>
          </p:cNvSpPr>
          <p:nvPr>
            <p:ph idx="1"/>
          </p:nvPr>
        </p:nvSpPr>
        <p:spPr>
          <a:xfrm>
            <a:off x="299159" y="1309688"/>
            <a:ext cx="8599311" cy="5700712"/>
          </a:xfrm>
        </p:spPr>
        <p:txBody>
          <a:bodyPr/>
          <a:lstStyle/>
          <a:p>
            <a:pPr>
              <a:defRPr/>
            </a:pPr>
            <a:r>
              <a:rPr lang="en-AU" sz="2000" b="1" dirty="0" smtClean="0">
                <a:solidFill>
                  <a:srgbClr val="FFFF00"/>
                </a:solidFill>
                <a:latin typeface="Lucida Sans Unicode" panose="020B0602030504020204" pitchFamily="34" charset="0"/>
                <a:cs typeface="Lucida Sans Unicode" panose="020B0602030504020204" pitchFamily="34" charset="0"/>
              </a:rPr>
              <a:t>Confirm presence of airflow obstruction</a:t>
            </a:r>
          </a:p>
          <a:p>
            <a:pPr lvl="1">
              <a:defRPr/>
            </a:pPr>
            <a:r>
              <a:rPr lang="en-AU" sz="1800" b="1" dirty="0" smtClean="0">
                <a:latin typeface="Lucida Sans Unicode" panose="020B0602030504020204" pitchFamily="34" charset="0"/>
                <a:cs typeface="Lucida Sans Unicode" panose="020B0602030504020204" pitchFamily="34" charset="0"/>
              </a:rPr>
              <a:t>FEV</a:t>
            </a:r>
            <a:r>
              <a:rPr lang="en-AU" sz="1800" b="1" baseline="-25000" dirty="0" smtClean="0">
                <a:latin typeface="Lucida Sans Unicode" panose="020B0602030504020204" pitchFamily="34" charset="0"/>
                <a:cs typeface="Lucida Sans Unicode" panose="020B0602030504020204" pitchFamily="34" charset="0"/>
              </a:rPr>
              <a:t>1</a:t>
            </a:r>
            <a:r>
              <a:rPr lang="en-AU" sz="1800" b="1" dirty="0" smtClean="0">
                <a:latin typeface="Lucida Sans Unicode" panose="020B0602030504020204" pitchFamily="34" charset="0"/>
                <a:cs typeface="Lucida Sans Unicode" panose="020B0602030504020204" pitchFamily="34" charset="0"/>
              </a:rPr>
              <a:t>/FVC is reduced  +  Reduced FEV</a:t>
            </a:r>
            <a:r>
              <a:rPr lang="en-AU" sz="1800" b="1" baseline="-25000" dirty="0" smtClean="0">
                <a:latin typeface="Lucida Sans Unicode" panose="020B0602030504020204" pitchFamily="34" charset="0"/>
                <a:cs typeface="Lucida Sans Unicode" panose="020B0602030504020204" pitchFamily="34" charset="0"/>
              </a:rPr>
              <a:t>1</a:t>
            </a:r>
            <a:r>
              <a:rPr lang="en-AU" sz="1800" b="1" dirty="0" smtClean="0">
                <a:latin typeface="Lucida Sans Unicode" panose="020B0602030504020204" pitchFamily="34" charset="0"/>
                <a:cs typeface="Lucida Sans Unicode" panose="020B0602030504020204" pitchFamily="34" charset="0"/>
              </a:rPr>
              <a:t> </a:t>
            </a:r>
          </a:p>
          <a:p>
            <a:pPr lvl="1">
              <a:defRPr/>
            </a:pPr>
            <a:r>
              <a:rPr lang="en-AU" sz="1800" b="1" dirty="0" smtClean="0">
                <a:latin typeface="Lucida Sans Unicode" panose="020B0602030504020204" pitchFamily="34" charset="0"/>
                <a:cs typeface="Lucida Sans Unicode" panose="020B0602030504020204" pitchFamily="34" charset="0"/>
              </a:rPr>
              <a:t>FEV</a:t>
            </a:r>
            <a:r>
              <a:rPr lang="en-AU" sz="1800" b="1" baseline="-25000" dirty="0" smtClean="0">
                <a:latin typeface="Lucida Sans Unicode" panose="020B0602030504020204" pitchFamily="34" charset="0"/>
                <a:cs typeface="Lucida Sans Unicode" panose="020B0602030504020204" pitchFamily="34" charset="0"/>
              </a:rPr>
              <a:t>1</a:t>
            </a:r>
            <a:r>
              <a:rPr lang="en-AU" sz="1800" b="1" dirty="0" smtClean="0">
                <a:latin typeface="Lucida Sans Unicode" panose="020B0602030504020204" pitchFamily="34" charset="0"/>
                <a:cs typeface="Lucida Sans Unicode" panose="020B0602030504020204" pitchFamily="34" charset="0"/>
              </a:rPr>
              <a:t>/ FVC ratio is normally </a:t>
            </a:r>
            <a:r>
              <a:rPr lang="en-AU" sz="1800" b="1" dirty="0" smtClean="0">
                <a:solidFill>
                  <a:srgbClr val="FFFF00"/>
                </a:solidFill>
                <a:latin typeface="Lucida Sans Unicode" panose="020B0602030504020204" pitchFamily="34" charset="0"/>
                <a:cs typeface="Lucida Sans Unicode" panose="020B0602030504020204" pitchFamily="34" charset="0"/>
              </a:rPr>
              <a:t>&gt; 0.75  </a:t>
            </a:r>
            <a:r>
              <a:rPr lang="en-AU" sz="1800" b="1" dirty="0" smtClean="0">
                <a:latin typeface="Lucida Sans Unicode" panose="020B0602030504020204" pitchFamily="34" charset="0"/>
                <a:cs typeface="Lucida Sans Unicode" panose="020B0602030504020204" pitchFamily="34" charset="0"/>
              </a:rPr>
              <a:t>in healthy adults, and </a:t>
            </a:r>
            <a:br>
              <a:rPr lang="en-AU" sz="1800" b="1" dirty="0" smtClean="0">
                <a:latin typeface="Lucida Sans Unicode" panose="020B0602030504020204" pitchFamily="34" charset="0"/>
                <a:cs typeface="Lucida Sans Unicode" panose="020B0602030504020204" pitchFamily="34" charset="0"/>
              </a:rPr>
            </a:br>
            <a:r>
              <a:rPr lang="en-AU" sz="1800" b="1" dirty="0" smtClean="0">
                <a:latin typeface="Lucida Sans Unicode" panose="020B0602030504020204" pitchFamily="34" charset="0"/>
                <a:cs typeface="Lucida Sans Unicode" panose="020B0602030504020204" pitchFamily="34" charset="0"/>
              </a:rPr>
              <a:t>&gt; </a:t>
            </a:r>
            <a:r>
              <a:rPr lang="en-AU" sz="1800" b="1" dirty="0" smtClean="0">
                <a:solidFill>
                  <a:srgbClr val="FFFF00"/>
                </a:solidFill>
                <a:latin typeface="Lucida Sans Unicode" panose="020B0602030504020204" pitchFamily="34" charset="0"/>
                <a:cs typeface="Lucida Sans Unicode" panose="020B0602030504020204" pitchFamily="34" charset="0"/>
              </a:rPr>
              <a:t>0.90</a:t>
            </a:r>
            <a:r>
              <a:rPr lang="en-AU" sz="1800" b="1" dirty="0" smtClean="0">
                <a:latin typeface="Lucida Sans Unicode" panose="020B0602030504020204" pitchFamily="34" charset="0"/>
                <a:cs typeface="Lucida Sans Unicode" panose="020B0602030504020204" pitchFamily="34" charset="0"/>
              </a:rPr>
              <a:t> in children</a:t>
            </a:r>
          </a:p>
          <a:p>
            <a:pPr marL="800100" lvl="1" indent="0">
              <a:buFontTx/>
              <a:buNone/>
              <a:defRPr/>
            </a:pPr>
            <a:endParaRPr lang="en-AU" sz="1800" b="1" dirty="0" smtClean="0">
              <a:latin typeface="Lucida Sans Unicode" panose="020B0602030504020204" pitchFamily="34" charset="0"/>
              <a:cs typeface="Lucida Sans Unicode" panose="020B0602030504020204" pitchFamily="34" charset="0"/>
            </a:endParaRPr>
          </a:p>
          <a:p>
            <a:pPr marL="685800" lvl="1" indent="-685800">
              <a:buClr>
                <a:srgbClr val="FF3300"/>
              </a:buClr>
              <a:buSzPct val="80000"/>
              <a:buFont typeface="Wingdings" pitchFamily="2" charset="2"/>
              <a:buChar char="l"/>
              <a:defRPr/>
            </a:pPr>
            <a:r>
              <a:rPr lang="en-AU" sz="2000" b="1" dirty="0" smtClean="0">
                <a:solidFill>
                  <a:srgbClr val="FFFF00"/>
                </a:solidFill>
                <a:latin typeface="Lucida Sans Unicode" panose="020B0602030504020204" pitchFamily="34" charset="0"/>
                <a:cs typeface="Lucida Sans Unicode" panose="020B0602030504020204" pitchFamily="34" charset="0"/>
              </a:rPr>
              <a:t>Confirm  presence of  Bronchodilator reversibility</a:t>
            </a:r>
          </a:p>
          <a:p>
            <a:pPr marL="1028700" lvl="3" indent="-342900">
              <a:buClr>
                <a:srgbClr val="FF3300"/>
              </a:buClr>
              <a:buSzPct val="80000"/>
              <a:defRPr/>
            </a:pPr>
            <a:r>
              <a:rPr lang="en-AU" b="1" dirty="0" smtClean="0">
                <a:latin typeface="Lucida Sans Unicode" panose="020B0602030504020204" pitchFamily="34" charset="0"/>
                <a:cs typeface="Lucida Sans Unicode" panose="020B0602030504020204" pitchFamily="34" charset="0"/>
              </a:rPr>
              <a:t>Increase in FEV</a:t>
            </a:r>
            <a:r>
              <a:rPr lang="en-AU" b="1" baseline="-25000" dirty="0" smtClean="0">
                <a:latin typeface="Lucida Sans Unicode" panose="020B0602030504020204" pitchFamily="34" charset="0"/>
                <a:cs typeface="Lucida Sans Unicode" panose="020B0602030504020204" pitchFamily="34" charset="0"/>
              </a:rPr>
              <a:t>1</a:t>
            </a:r>
            <a:r>
              <a:rPr lang="en-AU" b="1" dirty="0" smtClean="0">
                <a:latin typeface="Lucida Sans Unicode" panose="020B0602030504020204" pitchFamily="34" charset="0"/>
                <a:cs typeface="Lucida Sans Unicode" panose="020B0602030504020204" pitchFamily="34" charset="0"/>
              </a:rPr>
              <a:t> &gt; 12%of predicted or &gt;200mL after bronchodilator</a:t>
            </a:r>
          </a:p>
          <a:p>
            <a:pPr marL="800100" lvl="1" indent="0">
              <a:buFontTx/>
              <a:buNone/>
              <a:defRPr/>
            </a:pPr>
            <a:endParaRPr lang="en-AU" sz="1800" b="1" dirty="0">
              <a:latin typeface="Lucida Sans Unicode" panose="020B0602030504020204" pitchFamily="34" charset="0"/>
              <a:cs typeface="Lucida Sans Unicode" panose="020B0602030504020204" pitchFamily="34" charset="0"/>
            </a:endParaRPr>
          </a:p>
          <a:p>
            <a:pPr>
              <a:defRPr/>
            </a:pPr>
            <a:r>
              <a:rPr lang="en-AU" sz="2200" b="1" dirty="0" smtClean="0">
                <a:solidFill>
                  <a:srgbClr val="FF0000"/>
                </a:solidFill>
                <a:latin typeface="Lucida Sans Unicode" panose="020B0602030504020204" pitchFamily="34" charset="0"/>
                <a:cs typeface="Lucida Sans Unicode" panose="020B0602030504020204" pitchFamily="34" charset="0"/>
              </a:rPr>
              <a:t>If initial testing is negative:</a:t>
            </a:r>
            <a:r>
              <a:rPr lang="en-AU" sz="2200" b="1" dirty="0" smtClean="0">
                <a:latin typeface="Lucida Sans Unicode" panose="020B0602030504020204" pitchFamily="34" charset="0"/>
                <a:cs typeface="Lucida Sans Unicode" panose="020B0602030504020204" pitchFamily="34" charset="0"/>
              </a:rPr>
              <a:t> </a:t>
            </a:r>
            <a:r>
              <a:rPr lang="en-AU" sz="2000" b="1" dirty="0" smtClean="0">
                <a:latin typeface="Lucida Sans Unicode" panose="020B0602030504020204" pitchFamily="34" charset="0"/>
                <a:cs typeface="Lucida Sans Unicode" panose="020B0602030504020204" pitchFamily="34" charset="0"/>
              </a:rPr>
              <a:t>Repeat when patient is symptomatic, or after withholding bronchodilators</a:t>
            </a:r>
          </a:p>
          <a:p>
            <a:pPr lvl="1">
              <a:defRPr/>
            </a:pPr>
            <a:endParaRPr lang="en-AU" sz="1800" b="1" dirty="0" smtClean="0">
              <a:latin typeface="Lucida Sans Unicode" panose="020B0602030504020204" pitchFamily="34" charset="0"/>
              <a:cs typeface="Lucida Sans Unicode" panose="020B0602030504020204" pitchFamily="34" charset="0"/>
            </a:endParaRPr>
          </a:p>
          <a:p>
            <a:pPr lvl="1">
              <a:defRPr/>
            </a:pPr>
            <a:endParaRPr lang="en-AU" sz="1800" b="1" dirty="0" smtClean="0">
              <a:latin typeface="Lucida Sans Unicode" panose="020B0602030504020204" pitchFamily="34" charset="0"/>
              <a:cs typeface="Lucida Sans Unicode" panose="020B0602030504020204" pitchFamily="34" charset="0"/>
            </a:endParaRPr>
          </a:p>
          <a:p>
            <a:pPr>
              <a:defRPr/>
            </a:pPr>
            <a:endParaRPr lang="en-US" sz="2000" b="1" dirty="0">
              <a:latin typeface="Lucida Sans Unicode" panose="020B0602030504020204" pitchFamily="34" charset="0"/>
              <a:cs typeface="Lucida Sans Unicode" panose="020B0602030504020204" pitchFamily="34" charset="0"/>
            </a:endParaRPr>
          </a:p>
        </p:txBody>
      </p:sp>
    </p:spTree>
    <p:extLst>
      <p:ext uri="{BB962C8B-B14F-4D97-AF65-F5344CB8AC3E}">
        <p14:creationId xmlns:p14="http://schemas.microsoft.com/office/powerpoint/2010/main" val="354517469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62000" y="1219200"/>
            <a:ext cx="7391400" cy="307776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smtClean="0">
                <a:ln>
                  <a:noFill/>
                </a:ln>
                <a:solidFill>
                  <a:prstClr val="black"/>
                </a:solidFill>
                <a:effectLst/>
                <a:uLnTx/>
                <a:uFillTx/>
                <a:latin typeface="Lucida Sans Unicode"/>
                <a:ea typeface="+mn-ea"/>
                <a:cs typeface="+mn-cs"/>
              </a:rPr>
              <a:t>Pulmonary function test (PFT) </a:t>
            </a:r>
            <a:r>
              <a:rPr kumimoji="0" lang="en-US" sz="3000" b="0" i="0" u="none" strike="noStrike" kern="1200" cap="none" spc="0" normalizeH="0" baseline="0" noProof="0" dirty="0" smtClean="0">
                <a:ln>
                  <a:noFill/>
                </a:ln>
                <a:solidFill>
                  <a:prstClr val="black"/>
                </a:solidFill>
                <a:effectLst/>
                <a:uLnTx/>
                <a:uFillTx/>
                <a:latin typeface="Lucida Sans Unicode"/>
                <a:ea typeface="+mn-ea"/>
                <a:cs typeface="+mn-cs"/>
              </a:rPr>
              <a:t>show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smtClean="0">
                <a:ln>
                  <a:noFill/>
                </a:ln>
                <a:solidFill>
                  <a:srgbClr val="FF0000"/>
                </a:solidFill>
                <a:effectLst/>
                <a:uLnTx/>
                <a:uFillTx/>
                <a:latin typeface="Lucida Sans Unicode"/>
                <a:ea typeface="+mn-ea"/>
                <a:cs typeface="+mn-cs"/>
              </a:rPr>
              <a:t>FEV1/FVC</a:t>
            </a:r>
            <a:r>
              <a:rPr kumimoji="0" lang="en-US" sz="2600" b="0" i="0" u="none" strike="noStrike" kern="1200" cap="none" spc="0" normalizeH="0" baseline="0" noProof="0" dirty="0" smtClean="0">
                <a:ln>
                  <a:noFill/>
                </a:ln>
                <a:solidFill>
                  <a:prstClr val="black"/>
                </a:solidFill>
                <a:effectLst/>
                <a:uLnTx/>
                <a:uFillTx/>
                <a:latin typeface="Lucida Sans Unicode"/>
                <a:ea typeface="+mn-ea"/>
                <a:cs typeface="+mn-cs"/>
              </a:rPr>
              <a:t> </a:t>
            </a:r>
            <a:r>
              <a:rPr kumimoji="0" lang="en-US" sz="2600" b="1" i="0" u="none" strike="noStrike" kern="1200" cap="none" spc="0" normalizeH="0" baseline="0" noProof="0" dirty="0" smtClean="0">
                <a:ln>
                  <a:noFill/>
                </a:ln>
                <a:solidFill>
                  <a:srgbClr val="0070C0"/>
                </a:solidFill>
                <a:effectLst/>
                <a:uLnTx/>
                <a:uFillTx/>
                <a:latin typeface="Lucida Sans Unicode"/>
                <a:ea typeface="+mn-ea"/>
                <a:cs typeface="+mn-cs"/>
              </a:rPr>
              <a:t>⇛</a:t>
            </a:r>
            <a:r>
              <a:rPr kumimoji="0" lang="en-US" sz="2600" b="0" i="0" u="none" strike="noStrike" kern="1200" cap="none" spc="0" normalizeH="0" baseline="0" noProof="0" dirty="0" smtClean="0">
                <a:ln>
                  <a:noFill/>
                </a:ln>
                <a:solidFill>
                  <a:srgbClr val="FF0000"/>
                </a:solidFill>
                <a:effectLst/>
                <a:uLnTx/>
                <a:uFillTx/>
                <a:latin typeface="Lucida Sans Unicode"/>
                <a:ea typeface="+mn-ea"/>
                <a:cs typeface="+mn-cs"/>
              </a:rPr>
              <a:t>0.65</a:t>
            </a:r>
            <a:r>
              <a:rPr kumimoji="0" lang="en-US" sz="2600" b="0" i="0" u="none" strike="noStrike" kern="1200" cap="none" spc="0" normalizeH="0" baseline="0" noProof="0" dirty="0" smtClean="0">
                <a:ln>
                  <a:noFill/>
                </a:ln>
                <a:solidFill>
                  <a:prstClr val="black"/>
                </a:solidFill>
                <a:effectLst/>
                <a:uLnTx/>
                <a:uFillTx/>
                <a:latin typeface="Lucida Sans Unicode"/>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smtClean="0">
                <a:ln>
                  <a:noFill/>
                </a:ln>
                <a:solidFill>
                  <a:srgbClr val="FF0000"/>
                </a:solidFill>
                <a:effectLst/>
                <a:uLnTx/>
                <a:uFillTx/>
                <a:latin typeface="Lucida Sans Unicode"/>
                <a:ea typeface="+mn-ea"/>
                <a:cs typeface="+mn-cs"/>
              </a:rPr>
              <a:t>FEV</a:t>
            </a:r>
            <a:r>
              <a:rPr kumimoji="0" lang="en-US" sz="2600" b="1" i="0" u="none" strike="noStrike" kern="1200" cap="none" spc="0" normalizeH="0" baseline="0" noProof="0" dirty="0" smtClean="0">
                <a:ln>
                  <a:noFill/>
                </a:ln>
                <a:solidFill>
                  <a:srgbClr val="0070C0"/>
                </a:solidFill>
                <a:effectLst/>
                <a:uLnTx/>
                <a:uFillTx/>
                <a:latin typeface="Lucida Sans Unicode"/>
                <a:ea typeface="+mn-ea"/>
                <a:cs typeface="+mn-cs"/>
              </a:rPr>
              <a:t> ⇛</a:t>
            </a:r>
            <a:r>
              <a:rPr kumimoji="0" lang="en-US" sz="2600" b="0" i="0" u="none" strike="noStrike" kern="1200" cap="none" spc="0" normalizeH="0" baseline="0" noProof="0" dirty="0" smtClean="0">
                <a:ln>
                  <a:noFill/>
                </a:ln>
                <a:solidFill>
                  <a:prstClr val="black"/>
                </a:solidFill>
                <a:effectLst/>
                <a:uLnTx/>
                <a:uFillTx/>
                <a:latin typeface="Lucida Sans Unicode"/>
                <a:ea typeface="+mn-ea"/>
                <a:cs typeface="+mn-cs"/>
              </a:rPr>
              <a:t> </a:t>
            </a:r>
            <a:r>
              <a:rPr kumimoji="0" lang="en-US" sz="2600" b="0" i="0" u="none" strike="noStrike" kern="1200" cap="none" spc="0" normalizeH="0" baseline="0" noProof="0" dirty="0" smtClean="0">
                <a:ln>
                  <a:noFill/>
                </a:ln>
                <a:solidFill>
                  <a:srgbClr val="FF0000"/>
                </a:solidFill>
                <a:effectLst/>
                <a:uLnTx/>
                <a:uFillTx/>
                <a:latin typeface="Lucida Sans Unicode"/>
                <a:ea typeface="+mn-ea"/>
                <a:cs typeface="+mn-cs"/>
              </a:rPr>
              <a:t>60% </a:t>
            </a:r>
            <a:r>
              <a:rPr kumimoji="0" lang="en-US" sz="2600" b="0" i="0" u="none" strike="noStrike" kern="1200" cap="none" spc="0" normalizeH="0" baseline="0" noProof="0" dirty="0" smtClean="0">
                <a:ln>
                  <a:noFill/>
                </a:ln>
                <a:solidFill>
                  <a:prstClr val="black"/>
                </a:solidFill>
                <a:effectLst/>
                <a:uLnTx/>
                <a:uFillTx/>
                <a:latin typeface="Lucida Sans Unicode"/>
                <a:ea typeface="+mn-ea"/>
                <a:cs typeface="+mn-cs"/>
              </a:rPr>
              <a:t>of predictive and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smtClean="0">
                <a:ln>
                  <a:noFill/>
                </a:ln>
                <a:solidFill>
                  <a:prstClr val="black"/>
                </a:solidFill>
                <a:effectLst/>
                <a:uLnTx/>
                <a:uFillTx/>
                <a:latin typeface="Lucida Sans Unicode"/>
                <a:ea typeface="+mn-ea"/>
                <a:cs typeface="+mn-cs"/>
              </a:rPr>
              <a:t>Post-bronchodilator FEV1</a:t>
            </a:r>
            <a:r>
              <a:rPr kumimoji="0" lang="en-US" sz="2600" b="1" i="0" u="none" strike="noStrike" kern="1200" cap="none" spc="0" normalizeH="0" baseline="0" noProof="0" dirty="0" smtClean="0">
                <a:ln>
                  <a:noFill/>
                </a:ln>
                <a:solidFill>
                  <a:srgbClr val="0070C0"/>
                </a:solidFill>
                <a:effectLst/>
                <a:uLnTx/>
                <a:uFillTx/>
                <a:latin typeface="Lucida Sans Unicode"/>
                <a:ea typeface="+mn-ea"/>
                <a:cs typeface="+mn-cs"/>
              </a:rPr>
              <a:t>⇛</a:t>
            </a:r>
            <a:r>
              <a:rPr kumimoji="0" lang="en-US" sz="2600" b="0" i="0" u="none" strike="noStrike" kern="1200" cap="none" spc="0" normalizeH="0" baseline="0" noProof="0" dirty="0" smtClean="0">
                <a:ln>
                  <a:noFill/>
                </a:ln>
                <a:solidFill>
                  <a:prstClr val="black"/>
                </a:solidFill>
                <a:effectLst/>
                <a:uLnTx/>
                <a:uFillTx/>
                <a:latin typeface="Lucida Sans Unicode"/>
                <a:ea typeface="+mn-ea"/>
                <a:cs typeface="+mn-cs"/>
              </a:rPr>
              <a:t> </a:t>
            </a:r>
            <a:r>
              <a:rPr kumimoji="0" lang="en-US" sz="2600" b="0" i="0" u="none" strike="noStrike" kern="1200" cap="none" spc="0" normalizeH="0" baseline="0" noProof="0" dirty="0" smtClean="0">
                <a:ln>
                  <a:noFill/>
                </a:ln>
                <a:solidFill>
                  <a:srgbClr val="FF0000"/>
                </a:solidFill>
                <a:effectLst/>
                <a:uLnTx/>
                <a:uFillTx/>
                <a:latin typeface="Lucida Sans Unicode"/>
                <a:ea typeface="+mn-ea"/>
                <a:cs typeface="+mn-cs"/>
              </a:rPr>
              <a:t>74%</a:t>
            </a:r>
            <a:r>
              <a:rPr kumimoji="0" lang="en-US" sz="2600" b="0" i="0" u="none" strike="noStrike" kern="1200" cap="none" spc="0" normalizeH="0" baseline="0" noProof="0" dirty="0" smtClean="0">
                <a:ln>
                  <a:noFill/>
                </a:ln>
                <a:solidFill>
                  <a:prstClr val="black"/>
                </a:solidFill>
                <a:effectLst/>
                <a:uLnTx/>
                <a:uFillTx/>
                <a:latin typeface="Lucida Sans Unicode"/>
                <a:ea typeface="+mn-ea"/>
                <a:cs typeface="+mn-cs"/>
              </a:rPr>
              <a:t> of predictiv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smtClean="0">
              <a:ln>
                <a:noFill/>
              </a:ln>
              <a:solidFill>
                <a:prstClr val="black"/>
              </a:solidFill>
              <a:effectLst/>
              <a:uLnTx/>
              <a:uFillTx/>
              <a:latin typeface="Lucida Sans Unicod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smtClean="0">
                <a:ln>
                  <a:noFill/>
                </a:ln>
                <a:solidFill>
                  <a:prstClr val="black"/>
                </a:solidFill>
                <a:effectLst/>
                <a:uLnTx/>
                <a:uFillTx/>
                <a:latin typeface="Lucida Sans Unicode"/>
                <a:ea typeface="+mn-ea"/>
                <a:cs typeface="+mn-cs"/>
              </a:rPr>
              <a:t> </a:t>
            </a:r>
            <a:endParaRPr kumimoji="0" lang="en-US" sz="1800" b="0" i="0" u="none" strike="noStrike" kern="1200" cap="none" spc="0" normalizeH="0" baseline="0" noProof="0" dirty="0">
              <a:ln>
                <a:noFill/>
              </a:ln>
              <a:solidFill>
                <a:prstClr val="black"/>
              </a:solidFill>
              <a:effectLst/>
              <a:uLnTx/>
              <a:uFillTx/>
              <a:latin typeface="Lucida Sans Unicode"/>
              <a:ea typeface="+mn-ea"/>
              <a:cs typeface="+mn-cs"/>
            </a:endParaRPr>
          </a:p>
        </p:txBody>
      </p:sp>
    </p:spTree>
    <p:extLst>
      <p:ext uri="{BB962C8B-B14F-4D97-AF65-F5344CB8AC3E}">
        <p14:creationId xmlns:p14="http://schemas.microsoft.com/office/powerpoint/2010/main" val="181294832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685800"/>
            <a:ext cx="8077200" cy="3660775"/>
          </a:xfrm>
        </p:spPr>
        <p:txBody>
          <a:bodyPr>
            <a:noAutofit/>
          </a:bodyPr>
          <a:lstStyle/>
          <a:p>
            <a:pPr algn="l"/>
            <a:r>
              <a:rPr lang="en-US" sz="2800" dirty="0" smtClean="0">
                <a:solidFill>
                  <a:srgbClr val="FF0000"/>
                </a:solidFill>
              </a:rPr>
              <a:t/>
            </a:r>
            <a:br>
              <a:rPr lang="en-US" sz="2800" dirty="0" smtClean="0">
                <a:solidFill>
                  <a:srgbClr val="FF0000"/>
                </a:solidFill>
              </a:rPr>
            </a:br>
            <a:r>
              <a:rPr lang="en-US" sz="2800" dirty="0" smtClean="0">
                <a:solidFill>
                  <a:srgbClr val="FF0000"/>
                </a:solidFill>
              </a:rPr>
              <a:t> </a:t>
            </a:r>
            <a:r>
              <a:rPr lang="en-US" sz="2800" dirty="0" smtClean="0">
                <a:solidFill>
                  <a:srgbClr val="0070C0"/>
                </a:solidFill>
              </a:rPr>
              <a:t>Which is the other diagnostic test you will order to this asthmatic patient?</a:t>
            </a:r>
            <a:br>
              <a:rPr lang="en-US" sz="2800" dirty="0" smtClean="0">
                <a:solidFill>
                  <a:srgbClr val="0070C0"/>
                </a:solidFill>
              </a:rPr>
            </a:br>
            <a:r>
              <a:rPr lang="en-US" sz="2800" dirty="0" smtClean="0">
                <a:solidFill>
                  <a:srgbClr val="0070C0"/>
                </a:solidFill>
              </a:rPr>
              <a:t> </a:t>
            </a:r>
            <a:br>
              <a:rPr lang="en-US" sz="2800" dirty="0" smtClean="0">
                <a:solidFill>
                  <a:srgbClr val="0070C0"/>
                </a:solidFill>
              </a:rPr>
            </a:br>
            <a:r>
              <a:rPr lang="en-US" sz="2800" dirty="0" smtClean="0">
                <a:solidFill>
                  <a:srgbClr val="FF0000"/>
                </a:solidFill>
              </a:rPr>
              <a:t>(a) ABGs </a:t>
            </a:r>
            <a:br>
              <a:rPr lang="en-US" sz="2800" dirty="0" smtClean="0">
                <a:solidFill>
                  <a:srgbClr val="FF0000"/>
                </a:solidFill>
              </a:rPr>
            </a:br>
            <a:r>
              <a:rPr lang="en-US" sz="2800" dirty="0" smtClean="0">
                <a:solidFill>
                  <a:srgbClr val="FF0000"/>
                </a:solidFill>
              </a:rPr>
              <a:t>(b) PFTs (PEFR or FEV1) </a:t>
            </a:r>
            <a:br>
              <a:rPr lang="en-US" sz="2800" dirty="0" smtClean="0">
                <a:solidFill>
                  <a:srgbClr val="FF0000"/>
                </a:solidFill>
              </a:rPr>
            </a:br>
            <a:r>
              <a:rPr lang="en-US" sz="2800" dirty="0" smtClean="0">
                <a:solidFill>
                  <a:srgbClr val="FF0000"/>
                </a:solidFill>
              </a:rPr>
              <a:t>(c) Pulse oximetry </a:t>
            </a:r>
            <a:br>
              <a:rPr lang="en-US" sz="2800" dirty="0" smtClean="0">
                <a:solidFill>
                  <a:srgbClr val="FF0000"/>
                </a:solidFill>
              </a:rPr>
            </a:br>
            <a:r>
              <a:rPr lang="en-US" sz="2800" dirty="0" smtClean="0">
                <a:solidFill>
                  <a:srgbClr val="FF0000"/>
                </a:solidFill>
              </a:rPr>
              <a:t>(d) CXR </a:t>
            </a:r>
            <a:endParaRPr lang="en-US" sz="2800" dirty="0">
              <a:solidFill>
                <a:srgbClr val="FF0000"/>
              </a:solidFill>
            </a:endParaRPr>
          </a:p>
        </p:txBody>
      </p:sp>
    </p:spTree>
    <p:extLst>
      <p:ext uri="{BB962C8B-B14F-4D97-AF65-F5344CB8AC3E}">
        <p14:creationId xmlns:p14="http://schemas.microsoft.com/office/powerpoint/2010/main" val="283526451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4"/>
          <p:cNvSpPr>
            <a:spLocks noChangeArrowheads="1"/>
          </p:cNvSpPr>
          <p:nvPr/>
        </p:nvSpPr>
        <p:spPr bwMode="auto">
          <a:xfrm>
            <a:off x="533400" y="228600"/>
            <a:ext cx="7645400" cy="685800"/>
          </a:xfrm>
          <a:prstGeom prst="rect">
            <a:avLst/>
          </a:prstGeom>
          <a:noFill/>
          <a:ln w="9525">
            <a:noFill/>
            <a:miter lim="800000"/>
            <a:headEnd/>
            <a:tailEnd/>
          </a:ln>
        </p:spPr>
        <p:txBody>
          <a:bodyPr anchor="b"/>
          <a:lstStyle/>
          <a:p>
            <a:pPr marL="0" marR="0" lvl="0" indent="0" algn="ctr" defTabSz="931863" rtl="0" eaLnBrk="0" fontAlgn="auto" latinLnBrk="0" hangingPunct="0">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C000"/>
                </a:solidFill>
                <a:effectLst/>
                <a:uLnTx/>
                <a:uFillTx/>
                <a:latin typeface="Verdana" pitchFamily="34" charset="0"/>
                <a:ea typeface="+mn-ea"/>
                <a:cs typeface="+mn-cs"/>
              </a:rPr>
              <a:t>Blood Gas </a:t>
            </a:r>
            <a:r>
              <a:rPr kumimoji="0" lang="en-US" sz="3200" b="1" i="0" u="none" strike="noStrike" kern="1200" cap="none" spc="0" normalizeH="0" baseline="0" noProof="0" dirty="0" smtClean="0">
                <a:ln>
                  <a:noFill/>
                </a:ln>
                <a:solidFill>
                  <a:srgbClr val="FFC000"/>
                </a:solidFill>
                <a:effectLst/>
                <a:uLnTx/>
                <a:uFillTx/>
                <a:latin typeface="Verdana" pitchFamily="34" charset="0"/>
                <a:ea typeface="+mn-ea"/>
                <a:cs typeface="+mn-cs"/>
              </a:rPr>
              <a:t>Measurements</a:t>
            </a:r>
            <a:endParaRPr kumimoji="0" lang="en-US" sz="3200" b="1" i="0" u="none" strike="noStrike" kern="1200" cap="none" spc="0" normalizeH="0" baseline="0" noProof="0" dirty="0">
              <a:ln>
                <a:noFill/>
              </a:ln>
              <a:solidFill>
                <a:srgbClr val="FFC000"/>
              </a:solidFill>
              <a:effectLst/>
              <a:uLnTx/>
              <a:uFillTx/>
              <a:latin typeface="Verdana" pitchFamily="34" charset="0"/>
              <a:ea typeface="+mn-ea"/>
              <a:cs typeface="+mn-cs"/>
            </a:endParaRPr>
          </a:p>
        </p:txBody>
      </p:sp>
      <p:sp>
        <p:nvSpPr>
          <p:cNvPr id="74755" name="Rectangle 5"/>
          <p:cNvSpPr>
            <a:spLocks noChangeArrowheads="1"/>
          </p:cNvSpPr>
          <p:nvPr/>
        </p:nvSpPr>
        <p:spPr bwMode="auto">
          <a:xfrm>
            <a:off x="304800" y="1447800"/>
            <a:ext cx="8610600" cy="4953000"/>
          </a:xfrm>
          <a:prstGeom prst="rect">
            <a:avLst/>
          </a:prstGeom>
          <a:noFill/>
          <a:ln w="9525">
            <a:noFill/>
            <a:miter lim="800000"/>
            <a:headEnd/>
            <a:tailEnd/>
          </a:ln>
        </p:spPr>
        <p:txBody>
          <a:bodyPr/>
          <a:lstStyle/>
          <a:p>
            <a:pPr marL="352425" marR="0" lvl="0" indent="-352425" algn="l" defTabSz="931863" rtl="0" eaLnBrk="0" fontAlgn="auto" latinLnBrk="0" hangingPunct="0">
              <a:lnSpc>
                <a:spcPct val="100000"/>
              </a:lnSpc>
              <a:spcBef>
                <a:spcPct val="20000"/>
              </a:spcBef>
              <a:spcAft>
                <a:spcPts val="0"/>
              </a:spcAft>
              <a:buClrTx/>
              <a:buSzTx/>
              <a:buFontTx/>
              <a:buChar char="•"/>
              <a:tabLst/>
              <a:defRPr/>
            </a:pPr>
            <a:r>
              <a:rPr kumimoji="0" lang="en-US" sz="2800" b="1" i="0" u="none" strike="noStrike" kern="1200" cap="none" spc="0" normalizeH="0" baseline="0" noProof="0" dirty="0">
                <a:ln>
                  <a:noFill/>
                </a:ln>
                <a:solidFill>
                  <a:srgbClr val="FFFFFF"/>
                </a:solidFill>
                <a:effectLst/>
                <a:uLnTx/>
                <a:uFillTx/>
                <a:latin typeface="Lucida Sans Unicode" panose="020B0602030504020204" pitchFamily="34" charset="0"/>
                <a:ea typeface="+mn-ea"/>
                <a:cs typeface="Lucida Sans Unicode" panose="020B0602030504020204" pitchFamily="34" charset="0"/>
              </a:rPr>
              <a:t>Best indicators of overall lung function are arterial blood gases</a:t>
            </a:r>
          </a:p>
          <a:p>
            <a:pPr marL="758825" marR="0" lvl="1" indent="-293688" algn="l" defTabSz="931863" rtl="0" eaLnBrk="0" fontAlgn="auto" latinLnBrk="0" hangingPunct="0">
              <a:lnSpc>
                <a:spcPct val="100000"/>
              </a:lnSpc>
              <a:spcBef>
                <a:spcPct val="20000"/>
              </a:spcBef>
              <a:spcAft>
                <a:spcPts val="0"/>
              </a:spcAft>
              <a:buClrTx/>
              <a:buSzTx/>
              <a:buFontTx/>
              <a:buChar char="–"/>
              <a:tabLst/>
              <a:defRPr/>
            </a:pPr>
            <a:r>
              <a:rPr kumimoji="0" lang="en-US" sz="2800" b="1" i="0" u="none" strike="noStrike" kern="1200" cap="none" spc="0" normalizeH="0" baseline="0" noProof="0" dirty="0" smtClean="0">
                <a:ln>
                  <a:noFill/>
                </a:ln>
                <a:solidFill>
                  <a:srgbClr val="FFFF00"/>
                </a:solidFill>
                <a:effectLst/>
                <a:uLnTx/>
                <a:uFillTx/>
                <a:latin typeface="Lucida Sans Unicode" panose="020B0602030504020204" pitchFamily="34" charset="0"/>
                <a:ea typeface="+mn-ea"/>
                <a:cs typeface="Lucida Sans Unicode" panose="020B0602030504020204" pitchFamily="34" charset="0"/>
              </a:rPr>
              <a:t>pH, PaO2</a:t>
            </a:r>
            <a:r>
              <a:rPr kumimoji="0" lang="en-US" sz="2800" b="1" i="0" u="none" strike="noStrike" kern="1200" cap="none" spc="0" normalizeH="0" baseline="0" noProof="0" dirty="0">
                <a:ln>
                  <a:noFill/>
                </a:ln>
                <a:solidFill>
                  <a:srgbClr val="FFFF00"/>
                </a:solidFill>
                <a:effectLst/>
                <a:uLnTx/>
                <a:uFillTx/>
                <a:latin typeface="Lucida Sans Unicode" panose="020B0602030504020204" pitchFamily="34" charset="0"/>
                <a:ea typeface="+mn-ea"/>
                <a:cs typeface="Lucida Sans Unicode" panose="020B0602030504020204" pitchFamily="34" charset="0"/>
              </a:rPr>
              <a:t>, </a:t>
            </a:r>
            <a:r>
              <a:rPr kumimoji="0" lang="en-US" sz="2800" b="1" i="0" u="none" strike="noStrike" kern="1200" cap="none" spc="0" normalizeH="0" baseline="0" noProof="0" dirty="0" smtClean="0">
                <a:ln>
                  <a:noFill/>
                </a:ln>
                <a:solidFill>
                  <a:srgbClr val="FFFF00"/>
                </a:solidFill>
                <a:effectLst/>
                <a:uLnTx/>
                <a:uFillTx/>
                <a:latin typeface="Lucida Sans Unicode" panose="020B0602030504020204" pitchFamily="34" charset="0"/>
                <a:ea typeface="+mn-ea"/>
                <a:cs typeface="Lucida Sans Unicode" panose="020B0602030504020204" pitchFamily="34" charset="0"/>
              </a:rPr>
              <a:t>PaCO2</a:t>
            </a:r>
            <a:endParaRPr kumimoji="0" lang="en-US" sz="2800" b="1" i="0" u="none" strike="noStrike" kern="1200" cap="none" spc="0" normalizeH="0" baseline="0" noProof="0" dirty="0">
              <a:ln>
                <a:noFill/>
              </a:ln>
              <a:solidFill>
                <a:srgbClr val="FFFF00"/>
              </a:solidFill>
              <a:effectLst/>
              <a:uLnTx/>
              <a:uFillTx/>
              <a:latin typeface="Lucida Sans Unicode" panose="020B0602030504020204" pitchFamily="34" charset="0"/>
              <a:ea typeface="+mn-ea"/>
              <a:cs typeface="Lucida Sans Unicode" panose="020B0602030504020204" pitchFamily="34" charset="0"/>
            </a:endParaRPr>
          </a:p>
          <a:p>
            <a:pPr marL="758825" marR="0" lvl="1" indent="-293688" algn="l" defTabSz="931863" rtl="0" eaLnBrk="0" fontAlgn="auto" latinLnBrk="0" hangingPunct="0">
              <a:lnSpc>
                <a:spcPct val="100000"/>
              </a:lnSpc>
              <a:spcBef>
                <a:spcPct val="2000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Lucida Sans Unicode" panose="020B0602030504020204" pitchFamily="34" charset="0"/>
              <a:ea typeface="+mn-ea"/>
              <a:cs typeface="Lucida Sans Unicode" panose="020B0602030504020204" pitchFamily="34" charset="0"/>
            </a:endParaRPr>
          </a:p>
          <a:p>
            <a:pPr marL="352425" marR="0" lvl="0" indent="-352425" algn="l" defTabSz="931863" rtl="0" eaLnBrk="0" fontAlgn="auto" latinLnBrk="0" hangingPunct="0">
              <a:lnSpc>
                <a:spcPct val="100000"/>
              </a:lnSpc>
              <a:spcBef>
                <a:spcPct val="20000"/>
              </a:spcBef>
              <a:spcAft>
                <a:spcPts val="0"/>
              </a:spcAft>
              <a:buClrTx/>
              <a:buSzTx/>
              <a:buFontTx/>
              <a:buChar char="•"/>
              <a:tabLst/>
              <a:defRPr/>
            </a:pPr>
            <a:r>
              <a:rPr kumimoji="0" lang="en-US" sz="2800" b="1" i="0" u="none" strike="noStrike" kern="1200" cap="none" spc="0" normalizeH="0" baseline="0" noProof="0" dirty="0">
                <a:ln>
                  <a:noFill/>
                </a:ln>
                <a:solidFill>
                  <a:srgbClr val="FFFFFF"/>
                </a:solidFill>
                <a:effectLst/>
                <a:uLnTx/>
                <a:uFillTx/>
                <a:latin typeface="Lucida Sans Unicode" panose="020B0602030504020204" pitchFamily="34" charset="0"/>
                <a:ea typeface="+mn-ea"/>
                <a:cs typeface="Lucida Sans Unicode" panose="020B0602030504020204" pitchFamily="34" charset="0"/>
              </a:rPr>
              <a:t>Oxygen saturation (O2 sat)</a:t>
            </a:r>
          </a:p>
          <a:p>
            <a:pPr marL="758825" marR="0" lvl="1" indent="-293688" algn="l" defTabSz="931863" rtl="0" eaLnBrk="0" fontAlgn="auto" latinLnBrk="0" hangingPunct="0">
              <a:lnSpc>
                <a:spcPct val="100000"/>
              </a:lnSpc>
              <a:spcBef>
                <a:spcPct val="20000"/>
              </a:spcBef>
              <a:spcAft>
                <a:spcPts val="0"/>
              </a:spcAft>
              <a:buClrTx/>
              <a:buSzTx/>
              <a:buFontTx/>
              <a:buChar char="–"/>
              <a:tabLst/>
              <a:defRPr/>
            </a:pPr>
            <a:r>
              <a:rPr kumimoji="0" lang="en-US" sz="2800" b="1" i="0" u="none" strike="noStrike" kern="1200" cap="none" spc="0" normalizeH="0" baseline="0" noProof="0" dirty="0" smtClean="0">
                <a:ln>
                  <a:noFill/>
                </a:ln>
                <a:solidFill>
                  <a:srgbClr val="FFFFFF"/>
                </a:solidFill>
                <a:effectLst/>
                <a:uLnTx/>
                <a:uFillTx/>
                <a:latin typeface="Lucida Sans Unicode" panose="020B0602030504020204" pitchFamily="34" charset="0"/>
                <a:ea typeface="+mn-ea"/>
                <a:cs typeface="Lucida Sans Unicode" panose="020B0602030504020204" pitchFamily="34" charset="0"/>
              </a:rPr>
              <a:t>Detect the percent of </a:t>
            </a:r>
            <a:r>
              <a:rPr kumimoji="0" lang="en-US" sz="2800" b="1" i="0" u="none" strike="noStrike" kern="1200" cap="none" spc="0" normalizeH="0" baseline="0" noProof="0" dirty="0" smtClean="0">
                <a:ln>
                  <a:noFill/>
                </a:ln>
                <a:solidFill>
                  <a:srgbClr val="FFFF00"/>
                </a:solidFill>
                <a:effectLst/>
                <a:uLnTx/>
                <a:uFillTx/>
                <a:latin typeface="Lucida Sans Unicode" panose="020B0602030504020204" pitchFamily="34" charset="0"/>
                <a:ea typeface="+mn-ea"/>
                <a:cs typeface="Lucida Sans Unicode" panose="020B0602030504020204" pitchFamily="34" charset="0"/>
              </a:rPr>
              <a:t>oxyhaemoglobin</a:t>
            </a:r>
            <a:endParaRPr kumimoji="0" lang="en-US" sz="2800" b="1" i="0" u="none" strike="noStrike" kern="1200" cap="none" spc="0" normalizeH="0" baseline="0" noProof="0" dirty="0">
              <a:ln>
                <a:noFill/>
              </a:ln>
              <a:solidFill>
                <a:srgbClr val="FFFF00"/>
              </a:solidFill>
              <a:effectLst/>
              <a:uLnTx/>
              <a:uFillTx/>
              <a:latin typeface="Lucida Sans Unicode" panose="020B0602030504020204" pitchFamily="34" charset="0"/>
              <a:ea typeface="+mn-ea"/>
              <a:cs typeface="Lucida Sans Unicode" panose="020B0602030504020204" pitchFamily="34" charset="0"/>
            </a:endParaRPr>
          </a:p>
          <a:p>
            <a:pPr marL="758825" marR="0" lvl="1" indent="-293688" algn="l" defTabSz="931863" rtl="0" eaLnBrk="0" fontAlgn="auto" latinLnBrk="0" hangingPunct="0">
              <a:lnSpc>
                <a:spcPct val="100000"/>
              </a:lnSpc>
              <a:spcBef>
                <a:spcPct val="20000"/>
              </a:spcBef>
              <a:spcAft>
                <a:spcPts val="0"/>
              </a:spcAft>
              <a:buClrTx/>
              <a:buSzTx/>
              <a:buFontTx/>
              <a:buChar char="–"/>
              <a:tabLst/>
              <a:defRPr/>
            </a:pPr>
            <a:r>
              <a:rPr kumimoji="0" lang="en-US" sz="2800" b="1" i="0" u="none" strike="noStrike" kern="1200" cap="none" spc="0" normalizeH="0" baseline="0" noProof="0" dirty="0">
                <a:ln>
                  <a:noFill/>
                </a:ln>
                <a:solidFill>
                  <a:srgbClr val="FFFFFF"/>
                </a:solidFill>
                <a:effectLst/>
                <a:uLnTx/>
                <a:uFillTx/>
                <a:latin typeface="Lucida Sans Unicode" panose="020B0602030504020204" pitchFamily="34" charset="0"/>
                <a:ea typeface="+mn-ea"/>
                <a:cs typeface="Lucida Sans Unicode" panose="020B0602030504020204" pitchFamily="34" charset="0"/>
              </a:rPr>
              <a:t>Normal O2 sat </a:t>
            </a:r>
            <a:r>
              <a:rPr kumimoji="0" lang="en-US" sz="2800" b="1" i="0" u="none" strike="noStrike" kern="1200" cap="none" spc="0" normalizeH="0" baseline="0" noProof="0" dirty="0" smtClean="0">
                <a:ln>
                  <a:noFill/>
                </a:ln>
                <a:solidFill>
                  <a:srgbClr val="FFFF00"/>
                </a:solidFill>
                <a:effectLst/>
                <a:uLnTx/>
                <a:uFillTx/>
                <a:latin typeface="Lucida Sans Unicode" panose="020B0602030504020204" pitchFamily="34" charset="0"/>
                <a:ea typeface="+mn-ea"/>
                <a:cs typeface="Lucida Sans Unicode" panose="020B0602030504020204" pitchFamily="34" charset="0"/>
              </a:rPr>
              <a:t>95 – 99 % </a:t>
            </a:r>
            <a:endParaRPr kumimoji="0" lang="en-US" sz="2800" b="1" i="0" u="none" strike="noStrike" kern="1200" cap="none" spc="0" normalizeH="0" baseline="0" noProof="0" dirty="0">
              <a:ln>
                <a:noFill/>
              </a:ln>
              <a:solidFill>
                <a:srgbClr val="FFFF00"/>
              </a:solidFill>
              <a:effectLst/>
              <a:uLnTx/>
              <a:uFillTx/>
              <a:latin typeface="Lucida Sans Unicode" panose="020B0602030504020204" pitchFamily="34" charset="0"/>
              <a:ea typeface="+mn-ea"/>
              <a:cs typeface="Lucida Sans Unicode" panose="020B0602030504020204" pitchFamily="34" charset="0"/>
            </a:endParaRPr>
          </a:p>
        </p:txBody>
      </p:sp>
    </p:spTree>
    <p:extLst>
      <p:ext uri="{BB962C8B-B14F-4D97-AF65-F5344CB8AC3E}">
        <p14:creationId xmlns:p14="http://schemas.microsoft.com/office/powerpoint/2010/main" val="127148015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685800"/>
            <a:ext cx="7772400" cy="4495800"/>
          </a:xfrm>
        </p:spPr>
        <p:txBody>
          <a:bodyPr>
            <a:noAutofit/>
          </a:bodyPr>
          <a:lstStyle/>
          <a:p>
            <a:pPr algn="l"/>
            <a:r>
              <a:rPr lang="en-US" sz="2800" dirty="0" smtClean="0">
                <a:solidFill>
                  <a:schemeClr val="accent2"/>
                </a:solidFill>
              </a:rPr>
              <a:t/>
            </a:r>
            <a:br>
              <a:rPr lang="en-US" sz="2800" dirty="0" smtClean="0">
                <a:solidFill>
                  <a:schemeClr val="accent2"/>
                </a:solidFill>
              </a:rPr>
            </a:br>
            <a:r>
              <a:rPr lang="en-US" sz="2800" dirty="0" smtClean="0">
                <a:solidFill>
                  <a:srgbClr val="0070C0"/>
                </a:solidFill>
              </a:rPr>
              <a:t>Which one of the following is the first-line therapy in the management of an acute asthma attack</a:t>
            </a:r>
            <a:r>
              <a:rPr lang="en-US" sz="2800" dirty="0" smtClean="0">
                <a:solidFill>
                  <a:schemeClr val="accent2"/>
                </a:solidFill>
              </a:rPr>
              <a:t/>
            </a:r>
            <a:br>
              <a:rPr lang="en-US" sz="2800" dirty="0" smtClean="0">
                <a:solidFill>
                  <a:schemeClr val="accent2"/>
                </a:solidFill>
              </a:rPr>
            </a:br>
            <a:r>
              <a:rPr lang="en-US" sz="2800" dirty="0" smtClean="0">
                <a:solidFill>
                  <a:schemeClr val="accent2"/>
                </a:solidFill>
              </a:rPr>
              <a:t> </a:t>
            </a:r>
            <a:br>
              <a:rPr lang="en-US" sz="2800" dirty="0" smtClean="0">
                <a:solidFill>
                  <a:schemeClr val="accent2"/>
                </a:solidFill>
              </a:rPr>
            </a:br>
            <a:r>
              <a:rPr lang="en-US" sz="2800" dirty="0" smtClean="0">
                <a:solidFill>
                  <a:schemeClr val="accent2"/>
                </a:solidFill>
              </a:rPr>
              <a:t>a. Steroids</a:t>
            </a:r>
            <a:br>
              <a:rPr lang="en-US" sz="2800" dirty="0" smtClean="0">
                <a:solidFill>
                  <a:schemeClr val="accent2"/>
                </a:solidFill>
              </a:rPr>
            </a:br>
            <a:r>
              <a:rPr lang="en-US" sz="2800" dirty="0" smtClean="0">
                <a:solidFill>
                  <a:schemeClr val="accent2"/>
                </a:solidFill>
              </a:rPr>
              <a:t>b. β2-agonists</a:t>
            </a:r>
            <a:br>
              <a:rPr lang="en-US" sz="2800" dirty="0" smtClean="0">
                <a:solidFill>
                  <a:schemeClr val="accent2"/>
                </a:solidFill>
              </a:rPr>
            </a:br>
            <a:r>
              <a:rPr lang="en-US" sz="2800" dirty="0" smtClean="0">
                <a:solidFill>
                  <a:schemeClr val="accent2"/>
                </a:solidFill>
              </a:rPr>
              <a:t>c. Theophylline</a:t>
            </a:r>
            <a:br>
              <a:rPr lang="en-US" sz="2800" dirty="0" smtClean="0">
                <a:solidFill>
                  <a:schemeClr val="accent2"/>
                </a:solidFill>
              </a:rPr>
            </a:br>
            <a:r>
              <a:rPr lang="en-US" sz="2800" dirty="0" smtClean="0">
                <a:solidFill>
                  <a:schemeClr val="accent2"/>
                </a:solidFill>
              </a:rPr>
              <a:t>d. Antibiotics</a:t>
            </a:r>
            <a:br>
              <a:rPr lang="en-US" sz="2800" dirty="0" smtClean="0">
                <a:solidFill>
                  <a:schemeClr val="accent2"/>
                </a:solidFill>
              </a:rPr>
            </a:br>
            <a:r>
              <a:rPr lang="en-US" sz="2800" dirty="0" smtClean="0">
                <a:solidFill>
                  <a:schemeClr val="accent2"/>
                </a:solidFill>
              </a:rPr>
              <a:t>e. Magnesium sulfate</a:t>
            </a:r>
            <a:br>
              <a:rPr lang="en-US" sz="2800" dirty="0" smtClean="0">
                <a:solidFill>
                  <a:schemeClr val="accent2"/>
                </a:solidFill>
              </a:rPr>
            </a:br>
            <a:endParaRPr lang="en-US" sz="2800" dirty="0">
              <a:solidFill>
                <a:schemeClr val="accent2"/>
              </a:solidFill>
            </a:endParaRPr>
          </a:p>
        </p:txBody>
      </p:sp>
    </p:spTree>
    <p:extLst>
      <p:ext uri="{BB962C8B-B14F-4D97-AF65-F5344CB8AC3E}">
        <p14:creationId xmlns:p14="http://schemas.microsoft.com/office/powerpoint/2010/main" val="413363653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990600" y="1981200"/>
            <a:ext cx="7696200" cy="2124075"/>
          </a:xfrm>
          <a:prstGeom prst="rect">
            <a:avLst/>
          </a:prstGeom>
          <a:noFill/>
          <a:ln w="9525">
            <a:noFill/>
            <a:miter lim="800000"/>
            <a:headEnd/>
            <a:tailEnd/>
          </a:ln>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FFC000"/>
                </a:solidFill>
                <a:effectLst/>
                <a:uLnTx/>
                <a:uFillTx/>
                <a:latin typeface="Arial"/>
                <a:ea typeface="+mn-ea"/>
                <a:cs typeface="+mn-cs"/>
              </a:rPr>
              <a:t>Management of Acute exacerbation of Bronchial Asthma</a:t>
            </a:r>
          </a:p>
        </p:txBody>
      </p:sp>
    </p:spTree>
    <p:extLst>
      <p:ext uri="{BB962C8B-B14F-4D97-AF65-F5344CB8AC3E}">
        <p14:creationId xmlns:p14="http://schemas.microsoft.com/office/powerpoint/2010/main" val="198785086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5"/>
          <p:cNvSpPr>
            <a:spLocks noChangeArrowheads="1"/>
          </p:cNvSpPr>
          <p:nvPr/>
        </p:nvSpPr>
        <p:spPr bwMode="auto">
          <a:xfrm>
            <a:off x="533400" y="838200"/>
            <a:ext cx="7848600" cy="5262979"/>
          </a:xfrm>
          <a:prstGeom prst="rect">
            <a:avLst/>
          </a:prstGeom>
          <a:noFill/>
          <a:ln w="9525">
            <a:noFill/>
            <a:miter lim="800000"/>
            <a:headEnd/>
            <a:tailEnd/>
          </a:ln>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FF3300"/>
              </a:solidFill>
              <a:effectLst/>
              <a:uLnTx/>
              <a:uFillTx/>
              <a:latin typeface="Candara" panose="020E05020303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a:ln>
                  <a:noFill/>
                </a:ln>
                <a:solidFill>
                  <a:srgbClr val="FFFF66"/>
                </a:solidFill>
                <a:effectLst/>
                <a:uLnTx/>
                <a:uFillTx/>
                <a:latin typeface="Candara" panose="020E0502030303020204" pitchFamily="34" charset="0"/>
                <a:ea typeface="+mn-ea"/>
                <a:cs typeface="+mn-cs"/>
              </a:rPr>
              <a:t>Oxygen Therapy</a:t>
            </a:r>
            <a:r>
              <a:rPr kumimoji="0" lang="en-US" sz="2800" b="1" i="0" u="sng" strike="noStrike" kern="1200" cap="none" spc="0" normalizeH="0" baseline="0" noProof="0" dirty="0" smtClean="0">
                <a:ln>
                  <a:noFill/>
                </a:ln>
                <a:solidFill>
                  <a:srgbClr val="FFFF66"/>
                </a:solidFill>
                <a:effectLst/>
                <a:uLnTx/>
                <a:uFillTx/>
                <a:latin typeface="Candara" panose="020E0502030303020204" pitchFamily="34" charset="0"/>
                <a:ea typeface="+mn-ea"/>
                <a:cs typeface="+mn-cs"/>
              </a:rPr>
              <a:t>:</a:t>
            </a:r>
            <a:endParaRPr kumimoji="0" lang="en-US" sz="2800" b="0" i="0" u="sng" strike="noStrike" kern="1200" cap="none" spc="0" normalizeH="0" baseline="0" noProof="0" dirty="0">
              <a:ln>
                <a:noFill/>
              </a:ln>
              <a:solidFill>
                <a:srgbClr val="FFFFFF"/>
              </a:solidFill>
              <a:effectLst/>
              <a:uLnTx/>
              <a:uFillTx/>
              <a:latin typeface="Candara" panose="020E05020303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
                <a:srgbClr val="FFC000"/>
              </a:buClr>
              <a:buSzPct val="80000"/>
              <a:buFont typeface="Wingdings" pitchFamily="2" charset="2"/>
              <a:buChar char="v"/>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Cambria" pitchFamily="18" charset="0"/>
                <a:cs typeface="+mn-cs"/>
              </a:rPr>
              <a:t> By </a:t>
            </a:r>
            <a:r>
              <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Cambria" pitchFamily="18" charset="0"/>
                <a:cs typeface="+mn-cs"/>
              </a:rPr>
              <a:t>nasal </a:t>
            </a: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Cambria" pitchFamily="18" charset="0"/>
                <a:cs typeface="+mn-cs"/>
              </a:rPr>
              <a:t>Cannula </a:t>
            </a:r>
            <a:r>
              <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Cambria" pitchFamily="18" charset="0"/>
                <a:cs typeface="+mn-cs"/>
              </a:rPr>
              <a:t>or mask to achieve </a:t>
            </a: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Cambria" pitchFamily="18" charset="0"/>
                <a:cs typeface="+mn-cs"/>
              </a:rPr>
              <a:t>SpO2 </a:t>
            </a:r>
            <a:r>
              <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Cambria" pitchFamily="18" charset="0"/>
                <a:cs typeface="+mn-cs"/>
              </a:rPr>
              <a:t>&gt; 90</a:t>
            </a: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Cambria" pitchFamily="18" charset="0"/>
                <a:cs typeface="+mn-cs"/>
              </a:rPr>
              <a:t>% </a:t>
            </a:r>
          </a:p>
          <a:p>
            <a:pPr marL="0" marR="0" lvl="0" indent="0" algn="l" defTabSz="914400" rtl="0" eaLnBrk="1" fontAlgn="auto" latinLnBrk="0" hangingPunct="1">
              <a:lnSpc>
                <a:spcPct val="100000"/>
              </a:lnSpc>
              <a:spcBef>
                <a:spcPts val="0"/>
              </a:spcBef>
              <a:spcAft>
                <a:spcPts val="0"/>
              </a:spcAft>
              <a:buClr>
                <a:srgbClr val="FFC000"/>
              </a:buClr>
              <a:buSzPct val="80000"/>
              <a:buFont typeface="Wingdings" pitchFamily="2" charset="2"/>
              <a:buChar char="v"/>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Cambria" pitchFamily="18" charset="0"/>
                <a:cs typeface="+mn-cs"/>
              </a:rPr>
              <a:t> Controlled </a:t>
            </a:r>
            <a:r>
              <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Cambria" pitchFamily="18" charset="0"/>
                <a:cs typeface="+mn-cs"/>
              </a:rPr>
              <a:t>O2 therapy in patients with elevated CO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Candara" panose="020E05020303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smtClean="0">
                <a:ln>
                  <a:noFill/>
                </a:ln>
                <a:solidFill>
                  <a:srgbClr val="FFFF66"/>
                </a:solidFill>
                <a:effectLst/>
                <a:uLnTx/>
                <a:uFillTx/>
                <a:latin typeface="Candara" panose="020E0502030303020204" pitchFamily="34" charset="0"/>
                <a:ea typeface="+mn-ea"/>
                <a:cs typeface="+mn-cs"/>
              </a:rPr>
              <a:t>Bronchodilators:</a:t>
            </a:r>
            <a:endParaRPr kumimoji="0" lang="en-US" sz="2800" b="0" i="0" u="sng" strike="noStrike" kern="1200" cap="none" spc="0" normalizeH="0" baseline="0" noProof="0" dirty="0">
              <a:ln>
                <a:noFill/>
              </a:ln>
              <a:solidFill>
                <a:srgbClr val="FFFF66"/>
              </a:solidFill>
              <a:effectLst/>
              <a:uLnTx/>
              <a:uFillTx/>
              <a:latin typeface="Candara" panose="020E05020303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
                <a:srgbClr val="FFC000"/>
              </a:buClr>
              <a:buSzPct val="80000"/>
              <a:buFont typeface="Wingdings" pitchFamily="2" charset="2"/>
              <a:buChar char="v"/>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  Nebulized </a:t>
            </a:r>
            <a:r>
              <a:rPr kumimoji="0" lang="en-US" sz="2800" b="1" i="0" u="none" strike="noStrike" kern="1200" cap="none" spc="0" normalizeH="0" baseline="0" noProof="0" dirty="0">
                <a:ln>
                  <a:noFill/>
                </a:ln>
                <a:solidFill>
                  <a:srgbClr val="FF7C80"/>
                </a:solidFill>
                <a:effectLst/>
                <a:uLnTx/>
                <a:uFillTx/>
                <a:latin typeface="Candara" panose="020E0502030303020204" pitchFamily="34" charset="0"/>
                <a:ea typeface="+mn-ea"/>
                <a:cs typeface="+mn-cs"/>
              </a:rPr>
              <a:t>B2 agonists </a:t>
            </a:r>
            <a:r>
              <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mn-ea"/>
                <a:cs typeface="+mn-cs"/>
              </a:rPr>
              <a:t>Combined with </a:t>
            </a:r>
            <a:r>
              <a:rPr kumimoji="0" lang="en-US" sz="2800" b="1" i="0" u="none" strike="noStrike" kern="1200" cap="none" spc="0" normalizeH="0" baseline="0" noProof="0" dirty="0">
                <a:ln>
                  <a:noFill/>
                </a:ln>
                <a:solidFill>
                  <a:srgbClr val="FF7C80"/>
                </a:solidFill>
                <a:effectLst/>
                <a:uLnTx/>
                <a:uFillTx/>
                <a:latin typeface="Candara" panose="020E0502030303020204" pitchFamily="34" charset="0"/>
                <a:ea typeface="+mn-ea"/>
                <a:cs typeface="+mn-cs"/>
              </a:rPr>
              <a:t>nebulised  </a:t>
            </a:r>
            <a:r>
              <a:rPr kumimoji="0" lang="en-US" sz="2800" b="1" i="0" u="none" strike="noStrike" kern="1200" cap="none" spc="0" normalizeH="0" baseline="0" noProof="0" dirty="0" smtClean="0">
                <a:ln>
                  <a:noFill/>
                </a:ln>
                <a:solidFill>
                  <a:srgbClr val="FF7C80"/>
                </a:solidFill>
                <a:effectLst/>
                <a:uLnTx/>
                <a:uFillTx/>
                <a:latin typeface="Candara" panose="020E0502030303020204" pitchFamily="34" charset="0"/>
                <a:ea typeface="+mn-ea"/>
                <a:cs typeface="+mn-cs"/>
              </a:rPr>
              <a:t>  Ipratropium bromide</a:t>
            </a:r>
          </a:p>
          <a:p>
            <a:pPr marL="0" marR="0" lvl="0" indent="0" algn="l" defTabSz="914400" rtl="0" eaLnBrk="1" fontAlgn="auto" latinLnBrk="0" hangingPunct="1">
              <a:lnSpc>
                <a:spcPct val="100000"/>
              </a:lnSpc>
              <a:spcBef>
                <a:spcPts val="0"/>
              </a:spcBef>
              <a:spcAft>
                <a:spcPts val="0"/>
              </a:spcAft>
              <a:buClr>
                <a:srgbClr val="FFC000"/>
              </a:buClr>
              <a:buSzPct val="80000"/>
              <a:buFont typeface="Wingdings" pitchFamily="2" charset="2"/>
              <a:buChar char="v"/>
              <a:tabLst/>
              <a:defRPr/>
            </a:pPr>
            <a:r>
              <a:rPr kumimoji="0" lang="en-US" sz="2800" b="1" i="0" u="none" strike="noStrike" kern="1200" cap="none" spc="0" normalizeH="0" baseline="0" noProof="0" dirty="0" smtClean="0">
                <a:ln>
                  <a:noFill/>
                </a:ln>
                <a:solidFill>
                  <a:srgbClr val="FF7C80"/>
                </a:solidFill>
                <a:effectLst/>
                <a:uLnTx/>
                <a:uFillTx/>
                <a:latin typeface="Candara" panose="020E0502030303020204" pitchFamily="34" charset="0"/>
                <a:ea typeface="+mn-ea"/>
                <a:cs typeface="+mn-cs"/>
              </a:rPr>
              <a:t>  </a:t>
            </a: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Given continuously </a:t>
            </a:r>
            <a:r>
              <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mn-ea"/>
                <a:cs typeface="+mn-cs"/>
              </a:rPr>
              <a:t>for one hour, then every 60 min, after that regularly every 4-6 hours, </a:t>
            </a:r>
            <a:endPar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
                <a:srgbClr val="FFC000"/>
              </a:buClr>
              <a:buSzPct val="80000"/>
              <a:buFont typeface="Wingdings" pitchFamily="2" charset="2"/>
              <a:buChar char="v"/>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  Reduced </a:t>
            </a:r>
            <a:r>
              <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mn-ea"/>
                <a:cs typeface="+mn-cs"/>
              </a:rPr>
              <a:t>according to response.</a:t>
            </a:r>
          </a:p>
        </p:txBody>
      </p:sp>
    </p:spTree>
    <p:extLst>
      <p:ext uri="{BB962C8B-B14F-4D97-AF65-F5344CB8AC3E}">
        <p14:creationId xmlns:p14="http://schemas.microsoft.com/office/powerpoint/2010/main" val="68452051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4"/>
          <p:cNvSpPr>
            <a:spLocks noChangeArrowheads="1"/>
          </p:cNvSpPr>
          <p:nvPr/>
        </p:nvSpPr>
        <p:spPr bwMode="auto">
          <a:xfrm>
            <a:off x="257355" y="341098"/>
            <a:ext cx="8915400" cy="6124754"/>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sng" strike="noStrike" kern="1200" cap="none" spc="0" normalizeH="0" baseline="0" noProof="0" dirty="0" smtClean="0">
              <a:ln>
                <a:noFill/>
              </a:ln>
              <a:solidFill>
                <a:srgbClr val="FFFF66"/>
              </a:solidFill>
              <a:effectLst/>
              <a:uLnTx/>
              <a:uFillTx/>
              <a:latin typeface="Candara" panose="020E05020303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sng" strike="noStrike" kern="1200" cap="none" spc="0" normalizeH="0" baseline="0" noProof="0" dirty="0" smtClean="0">
              <a:ln>
                <a:noFill/>
              </a:ln>
              <a:solidFill>
                <a:srgbClr val="FFFF66"/>
              </a:solidFill>
              <a:effectLst/>
              <a:uLnTx/>
              <a:uFillTx/>
              <a:latin typeface="Candara" panose="020E05020303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smtClean="0">
                <a:ln>
                  <a:noFill/>
                </a:ln>
                <a:solidFill>
                  <a:srgbClr val="FFFF66"/>
                </a:solidFill>
                <a:effectLst>
                  <a:outerShdw blurRad="38100" dist="38100" dir="2700000" algn="tl">
                    <a:srgbClr val="000000">
                      <a:alpha val="43137"/>
                    </a:srgbClr>
                  </a:outerShdw>
                </a:effectLst>
                <a:uLnTx/>
                <a:uFillTx/>
                <a:latin typeface="Candara" panose="020E0502030303020204" pitchFamily="34" charset="0"/>
                <a:ea typeface="+mn-ea"/>
                <a:cs typeface="+mn-cs"/>
              </a:rPr>
              <a:t>Corticosteroids</a:t>
            </a:r>
            <a:r>
              <a:rPr kumimoji="0" lang="en-US" sz="2800" b="1" i="0" u="sng" strike="noStrike" kern="1200" cap="none" spc="0" normalizeH="0" baseline="0" noProof="0" dirty="0">
                <a:ln>
                  <a:noFill/>
                </a:ln>
                <a:solidFill>
                  <a:srgbClr val="FFFF66"/>
                </a:solidFill>
                <a:effectLst>
                  <a:outerShdw blurRad="38100" dist="38100" dir="2700000" algn="tl">
                    <a:srgbClr val="000000">
                      <a:alpha val="43137"/>
                    </a:srgbClr>
                  </a:outerShdw>
                </a:effectLst>
                <a:uLnTx/>
                <a:uFillTx/>
                <a:latin typeface="Candara" panose="020E0502030303020204" pitchFamily="34" charset="0"/>
                <a:ea typeface="+mn-ea"/>
                <a:cs typeface="+mn-cs"/>
              </a:rPr>
              <a:t>:</a:t>
            </a:r>
            <a:endParaRPr kumimoji="0" lang="en-US" sz="2800" b="0" i="0" u="sng" strike="noStrike" kern="1200" cap="none" spc="0" normalizeH="0" baseline="0" noProof="0" dirty="0">
              <a:ln>
                <a:noFill/>
              </a:ln>
              <a:solidFill>
                <a:srgbClr val="FFFF66"/>
              </a:solidFill>
              <a:effectLst>
                <a:outerShdw blurRad="38100" dist="38100" dir="2700000" algn="tl">
                  <a:srgbClr val="000000">
                    <a:alpha val="43137"/>
                  </a:srgbClr>
                </a:outerShdw>
              </a:effectLst>
              <a:uLnTx/>
              <a:uFillTx/>
              <a:latin typeface="Candara" panose="020E05020303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
                <a:srgbClr val="FFC000"/>
              </a:buClr>
              <a:buSzPct val="80000"/>
              <a:buFont typeface="Wingdings" pitchFamily="2" charset="2"/>
              <a:buChar char="v"/>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Cambria" pitchFamily="18" charset="0"/>
                <a:cs typeface="+mn-cs"/>
              </a:rPr>
              <a:t>  Hydrocortisone 100 </a:t>
            </a:r>
            <a:r>
              <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Cambria" pitchFamily="18" charset="0"/>
                <a:cs typeface="+mn-cs"/>
              </a:rPr>
              <a:t>mg every 6-8 hours to be reduced to </a:t>
            </a: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Cambria" pitchFamily="18" charset="0"/>
                <a:cs typeface="+mn-cs"/>
              </a:rPr>
              <a:t>Dexamethazone </a:t>
            </a:r>
            <a:r>
              <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Cambria" pitchFamily="18" charset="0"/>
                <a:cs typeface="+mn-cs"/>
              </a:rPr>
              <a:t>or oral preparation </a:t>
            </a:r>
            <a:endPar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Cambria" pitchFamily="18" charset="0"/>
              <a:cs typeface="+mn-cs"/>
            </a:endParaRPr>
          </a:p>
          <a:p>
            <a:pPr marL="0" marR="0" lvl="0" indent="0" algn="l" defTabSz="914400" rtl="0" eaLnBrk="1" fontAlgn="auto" latinLnBrk="0" hangingPunct="1">
              <a:lnSpc>
                <a:spcPct val="100000"/>
              </a:lnSpc>
              <a:spcBef>
                <a:spcPts val="0"/>
              </a:spcBef>
              <a:spcAft>
                <a:spcPts val="0"/>
              </a:spcAft>
              <a:buClr>
                <a:srgbClr val="FFC000"/>
              </a:buClr>
              <a:buSzPct val="80000"/>
              <a:buFont typeface="Wingdings" pitchFamily="2" charset="2"/>
              <a:buChar char="v"/>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Cambria" pitchFamily="18" charset="0"/>
                <a:cs typeface="+mn-cs"/>
              </a:rPr>
              <a:t>  Later ,</a:t>
            </a:r>
            <a:r>
              <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Cambria" pitchFamily="18" charset="0"/>
                <a:cs typeface="+mn-cs"/>
              </a:rPr>
              <a:t>then inhaled preparations </a:t>
            </a: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Cambria" pitchFamily="18" charset="0"/>
                <a:cs typeface="+mn-cs"/>
              </a:rPr>
              <a:t>star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 </a:t>
            </a:r>
            <a:r>
              <a:rPr kumimoji="0" lang="en-US" sz="2800" b="1" i="0" u="sng" strike="noStrike" kern="1200" cap="none" spc="0" normalizeH="0" baseline="0" noProof="0" dirty="0" smtClean="0">
                <a:ln>
                  <a:noFill/>
                </a:ln>
                <a:solidFill>
                  <a:srgbClr val="FFFF66"/>
                </a:solidFill>
                <a:effectLst/>
                <a:uLnTx/>
                <a:uFillTx/>
                <a:latin typeface="Candara" panose="020E0502030303020204" pitchFamily="34" charset="0"/>
                <a:ea typeface="+mn-ea"/>
                <a:cs typeface="+mn-cs"/>
              </a:rPr>
              <a:t>Antibiotics</a:t>
            </a:r>
            <a:r>
              <a:rPr kumimoji="0" lang="en-US" sz="2800" b="0" i="0" u="sng" strike="noStrike" kern="1200" cap="none" spc="0" normalizeH="0" baseline="0" noProof="0" dirty="0" smtClean="0">
                <a:ln>
                  <a:noFill/>
                </a:ln>
                <a:solidFill>
                  <a:srgbClr val="FFFF66"/>
                </a:solidFill>
                <a:effectLst/>
                <a:uLnTx/>
                <a:uFillTx/>
                <a:latin typeface="Candara" panose="020E0502030303020204" pitchFamily="34" charset="0"/>
                <a:ea typeface="+mn-ea"/>
                <a:cs typeface="+mn-cs"/>
              </a:rPr>
              <a:t> </a:t>
            </a:r>
            <a:r>
              <a:rPr kumimoji="0" lang="en-US" sz="2800" b="0" i="0" u="sng" strike="noStrike" kern="1200" cap="none" spc="0" normalizeH="0" baseline="0" noProof="0" dirty="0" smtClean="0">
                <a:ln>
                  <a:noFill/>
                </a:ln>
                <a:solidFill>
                  <a:srgbClr val="FFFFFF"/>
                </a:solidFill>
                <a:effectLst/>
                <a:uLnTx/>
                <a:uFillTx/>
                <a:latin typeface="Candara" panose="020E0502030303020204" pitchFamily="34" charset="0"/>
                <a:ea typeface="+mn-ea"/>
                <a:cs typeface="+mn-cs"/>
              </a:rPr>
              <a:t>: </a:t>
            </a: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Cambria" pitchFamily="18" charset="0"/>
                <a:cs typeface="+mn-cs"/>
              </a:rPr>
              <a:t>when signs of bacterial inf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Candara" panose="020E05020303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Candara" panose="020E05020303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Candara" panose="020E05020303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Candara" panose="020E05020303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Candara" panose="020E05020303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Candara" panose="020E0502030303020204" pitchFamily="34" charset="0"/>
              <a:ea typeface="+mn-ea"/>
              <a:cs typeface="+mn-cs"/>
            </a:endParaRPr>
          </a:p>
        </p:txBody>
      </p:sp>
      <p:sp>
        <p:nvSpPr>
          <p:cNvPr id="3" name="Rectangle 3"/>
          <p:cNvSpPr>
            <a:spLocks noChangeArrowheads="1"/>
          </p:cNvSpPr>
          <p:nvPr/>
        </p:nvSpPr>
        <p:spPr bwMode="auto">
          <a:xfrm>
            <a:off x="381000" y="5410200"/>
            <a:ext cx="4589718" cy="1077218"/>
          </a:xfrm>
          <a:prstGeom prst="rect">
            <a:avLst/>
          </a:prstGeom>
          <a:noFill/>
          <a:ln w="9525">
            <a:noFill/>
            <a:miter lim="800000"/>
            <a:headEnd/>
            <a:tailEnd/>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smtClean="0">
              <a:ln>
                <a:noFill/>
              </a:ln>
              <a:solidFill>
                <a:srgbClr val="FFFF66"/>
              </a:solidFill>
              <a:effectLst>
                <a:outerShdw blurRad="38100" dist="38100" dir="2700000" algn="tl">
                  <a:srgbClr val="000000">
                    <a:alpha val="43137"/>
                  </a:srgbClr>
                </a:outerShdw>
              </a:effectLst>
              <a:uLnTx/>
              <a:uFillTx/>
              <a:latin typeface="Sitka Heading"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sng" strike="noStrike" kern="1200" cap="none" spc="0" normalizeH="0" baseline="0" noProof="0" dirty="0" smtClean="0">
                <a:ln>
                  <a:noFill/>
                </a:ln>
                <a:solidFill>
                  <a:srgbClr val="FFFF66"/>
                </a:solidFill>
                <a:effectLst>
                  <a:outerShdw blurRad="38100" dist="38100" dir="2700000" algn="tl">
                    <a:srgbClr val="000000">
                      <a:alpha val="43137"/>
                    </a:srgbClr>
                  </a:outerShdw>
                </a:effectLst>
                <a:uLnTx/>
                <a:uFillTx/>
                <a:latin typeface="Candara" panose="020E0502030303020204" pitchFamily="34" charset="0"/>
                <a:ea typeface="+mn-ea"/>
                <a:cs typeface="+mn-cs"/>
              </a:rPr>
              <a:t>Intravenous</a:t>
            </a:r>
            <a:r>
              <a:rPr kumimoji="0" lang="en-US" sz="3200" b="1" i="0" u="sng" strike="noStrike" kern="1200" cap="none" spc="0" normalizeH="0" baseline="0" noProof="0" dirty="0" smtClean="0">
                <a:ln>
                  <a:noFill/>
                </a:ln>
                <a:solidFill>
                  <a:srgbClr val="FFFF66"/>
                </a:solidFill>
                <a:effectLst>
                  <a:outerShdw blurRad="38100" dist="38100" dir="2700000" algn="tl">
                    <a:srgbClr val="000000">
                      <a:alpha val="43137"/>
                    </a:srgbClr>
                  </a:outerShdw>
                </a:effectLst>
                <a:uLnTx/>
                <a:uFillTx/>
                <a:latin typeface="Sitka Heading" pitchFamily="2" charset="0"/>
                <a:ea typeface="+mn-ea"/>
                <a:cs typeface="+mn-cs"/>
              </a:rPr>
              <a:t> </a:t>
            </a:r>
            <a:r>
              <a:rPr kumimoji="0" lang="en-US" sz="3200" b="1" i="0" u="sng" strike="noStrike" kern="1200" cap="none" spc="0" normalizeH="0" baseline="0" noProof="0" dirty="0">
                <a:ln>
                  <a:noFill/>
                </a:ln>
                <a:solidFill>
                  <a:srgbClr val="FFFF66"/>
                </a:solidFill>
                <a:effectLst>
                  <a:outerShdw blurRad="38100" dist="38100" dir="2700000" algn="tl">
                    <a:srgbClr val="000000">
                      <a:alpha val="43137"/>
                    </a:srgbClr>
                  </a:outerShdw>
                </a:effectLst>
                <a:uLnTx/>
                <a:uFillTx/>
                <a:latin typeface="Sitka Heading" pitchFamily="2" charset="0"/>
                <a:ea typeface="+mn-ea"/>
                <a:cs typeface="+mn-cs"/>
              </a:rPr>
              <a:t>magnesium</a:t>
            </a:r>
          </a:p>
        </p:txBody>
      </p:sp>
      <p:sp>
        <p:nvSpPr>
          <p:cNvPr id="4" name="Rectangle 3"/>
          <p:cNvSpPr/>
          <p:nvPr/>
        </p:nvSpPr>
        <p:spPr>
          <a:xfrm>
            <a:off x="381000" y="4038600"/>
            <a:ext cx="8458200" cy="181588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smtClean="0">
                <a:ln>
                  <a:noFill/>
                </a:ln>
                <a:solidFill>
                  <a:srgbClr val="FFFF66"/>
                </a:solidFill>
                <a:effectLst/>
                <a:uLnTx/>
                <a:uFillTx/>
                <a:latin typeface="Candara" panose="020E0502030303020204" pitchFamily="34" charset="0"/>
                <a:ea typeface="Cambria" pitchFamily="18" charset="0"/>
                <a:cs typeface="+mn-cs"/>
              </a:rPr>
              <a:t>Aminophyl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smtClean="0">
                <a:ln>
                  <a:noFill/>
                </a:ln>
                <a:solidFill>
                  <a:srgbClr val="FFFFFF"/>
                </a:solidFill>
                <a:effectLst/>
                <a:uLnTx/>
                <a:uFillTx/>
                <a:latin typeface="Candara" panose="020E0502030303020204" pitchFamily="34" charset="0"/>
                <a:ea typeface="Cambria" pitchFamily="18" charset="0"/>
                <a:cs typeface="+mn-cs"/>
              </a:rPr>
              <a:t> Intravenous infusion every 8 hours to be transformed into oral long acting preparation after improvement of acute attack. </a:t>
            </a:r>
            <a:endParaRPr kumimoji="0" lang="en-US" sz="2800" b="1" i="0" u="none" strike="noStrike" kern="1200" cap="none" spc="0" normalizeH="0" baseline="0" noProof="0" dirty="0">
              <a:ln>
                <a:noFill/>
              </a:ln>
              <a:solidFill>
                <a:srgbClr val="FFFFFF"/>
              </a:solidFill>
              <a:effectLst/>
              <a:uLnTx/>
              <a:uFillTx/>
              <a:latin typeface="Candara" panose="020E0502030303020204" pitchFamily="34" charset="0"/>
              <a:ea typeface="Cambria" pitchFamily="18" charset="0"/>
              <a:cs typeface="+mn-cs"/>
            </a:endParaRPr>
          </a:p>
        </p:txBody>
      </p:sp>
    </p:spTree>
    <p:extLst>
      <p:ext uri="{BB962C8B-B14F-4D97-AF65-F5344CB8AC3E}">
        <p14:creationId xmlns:p14="http://schemas.microsoft.com/office/powerpoint/2010/main" val="285194368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533400"/>
            <a:ext cx="8534400" cy="4419600"/>
          </a:xfrm>
        </p:spPr>
        <p:txBody>
          <a:bodyPr>
            <a:noAutofit/>
          </a:bodyPr>
          <a:lstStyle/>
          <a:p>
            <a:pPr algn="l"/>
            <a:r>
              <a:rPr lang="en-US" sz="2800" dirty="0" smtClean="0">
                <a:solidFill>
                  <a:srgbClr val="FF0000"/>
                </a:solidFill>
              </a:rPr>
              <a:t/>
            </a:r>
            <a:br>
              <a:rPr lang="en-US" sz="2800" dirty="0" smtClean="0">
                <a:solidFill>
                  <a:srgbClr val="FF0000"/>
                </a:solidFill>
              </a:rPr>
            </a:br>
            <a:r>
              <a:rPr lang="en-US" sz="2800" dirty="0" smtClean="0">
                <a:solidFill>
                  <a:srgbClr val="FF0000"/>
                </a:solidFill>
              </a:rPr>
              <a:t> </a:t>
            </a:r>
            <a:r>
              <a:rPr lang="en-US" sz="2800" dirty="0" smtClean="0">
                <a:solidFill>
                  <a:srgbClr val="0070C0"/>
                </a:solidFill>
              </a:rPr>
              <a:t>All of the following are accurate indicators of a life threating asthma except: </a:t>
            </a:r>
            <a:br>
              <a:rPr lang="en-US" sz="2800" dirty="0" smtClean="0">
                <a:solidFill>
                  <a:srgbClr val="0070C0"/>
                </a:solidFill>
              </a:rPr>
            </a:br>
            <a:r>
              <a:rPr lang="en-US" sz="2800" dirty="0" smtClean="0">
                <a:solidFill>
                  <a:srgbClr val="FF0000"/>
                </a:solidFill>
              </a:rPr>
              <a:t/>
            </a:r>
            <a:br>
              <a:rPr lang="en-US" sz="2800" dirty="0" smtClean="0">
                <a:solidFill>
                  <a:srgbClr val="FF0000"/>
                </a:solidFill>
              </a:rPr>
            </a:br>
            <a:r>
              <a:rPr lang="en-US" sz="2800" dirty="0" smtClean="0">
                <a:solidFill>
                  <a:srgbClr val="FF0000"/>
                </a:solidFill>
              </a:rPr>
              <a:t>(a) The presence of wheezing </a:t>
            </a:r>
            <a:br>
              <a:rPr lang="en-US" sz="2800" dirty="0" smtClean="0">
                <a:solidFill>
                  <a:srgbClr val="FF0000"/>
                </a:solidFill>
              </a:rPr>
            </a:br>
            <a:r>
              <a:rPr lang="en-US" sz="2800" dirty="0" smtClean="0">
                <a:solidFill>
                  <a:srgbClr val="FF0000"/>
                </a:solidFill>
              </a:rPr>
              <a:t>(b) The use of accessory muscles </a:t>
            </a:r>
            <a:br>
              <a:rPr lang="en-US" sz="2800" dirty="0" smtClean="0">
                <a:solidFill>
                  <a:srgbClr val="FF0000"/>
                </a:solidFill>
              </a:rPr>
            </a:br>
            <a:r>
              <a:rPr lang="en-US" sz="2800" dirty="0" smtClean="0">
                <a:solidFill>
                  <a:srgbClr val="FF0000"/>
                </a:solidFill>
              </a:rPr>
              <a:t>(c) The presence of diaphoresis and cyanosis </a:t>
            </a:r>
            <a:br>
              <a:rPr lang="en-US" sz="2800" dirty="0" smtClean="0">
                <a:solidFill>
                  <a:srgbClr val="FF0000"/>
                </a:solidFill>
              </a:rPr>
            </a:br>
            <a:r>
              <a:rPr lang="en-US" sz="2800" dirty="0" smtClean="0">
                <a:solidFill>
                  <a:srgbClr val="FF0000"/>
                </a:solidFill>
              </a:rPr>
              <a:t>(d) The presence of a </a:t>
            </a:r>
            <a:r>
              <a:rPr lang="en-US" sz="2800" dirty="0" err="1" smtClean="0">
                <a:solidFill>
                  <a:srgbClr val="FF0000"/>
                </a:solidFill>
              </a:rPr>
              <a:t>pulsus</a:t>
            </a:r>
            <a:r>
              <a:rPr lang="en-US" sz="2800" dirty="0" smtClean="0">
                <a:solidFill>
                  <a:srgbClr val="FF0000"/>
                </a:solidFill>
              </a:rPr>
              <a:t> paradoxus &gt; 12mmHg </a:t>
            </a:r>
            <a:endParaRPr lang="en-US" sz="2800" dirty="0">
              <a:solidFill>
                <a:srgbClr val="FF0000"/>
              </a:solidFill>
            </a:endParaRPr>
          </a:p>
        </p:txBody>
      </p:sp>
    </p:spTree>
    <p:extLst>
      <p:ext uri="{BB962C8B-B14F-4D97-AF65-F5344CB8AC3E}">
        <p14:creationId xmlns:p14="http://schemas.microsoft.com/office/powerpoint/2010/main" val="28024241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8313" y="214313"/>
            <a:ext cx="8135937" cy="571500"/>
          </a:xfrm>
        </p:spPr>
        <p:txBody>
          <a:bodyPr>
            <a:normAutofit fontScale="90000"/>
          </a:bodyPr>
          <a:lstStyle/>
          <a:p>
            <a:pPr>
              <a:defRPr/>
            </a:pPr>
            <a:r>
              <a:rPr lang="en-US" sz="3600" b="1" u="sng" dirty="0">
                <a:solidFill>
                  <a:srgbClr val="FFC000"/>
                </a:solidFill>
                <a:latin typeface="Candara" panose="020E0502030303020204" pitchFamily="34" charset="0"/>
              </a:rPr>
              <a:t>Examination</a:t>
            </a:r>
          </a:p>
        </p:txBody>
      </p:sp>
      <p:sp>
        <p:nvSpPr>
          <p:cNvPr id="3" name="Content Placeholder 2"/>
          <p:cNvSpPr>
            <a:spLocks noGrp="1"/>
          </p:cNvSpPr>
          <p:nvPr>
            <p:ph idx="1"/>
          </p:nvPr>
        </p:nvSpPr>
        <p:spPr>
          <a:xfrm>
            <a:off x="539750" y="1071563"/>
            <a:ext cx="8064500" cy="5310187"/>
          </a:xfrm>
        </p:spPr>
        <p:txBody>
          <a:bodyPr/>
          <a:lstStyle/>
          <a:p>
            <a:pPr>
              <a:buFont typeface="Wingdings" panose="05000000000000000000" pitchFamily="2" charset="2"/>
              <a:buNone/>
              <a:defRPr/>
            </a:pPr>
            <a:r>
              <a:rPr lang="en-US" sz="2800" b="1" dirty="0" smtClean="0"/>
              <a:t>General examination:</a:t>
            </a:r>
          </a:p>
          <a:p>
            <a:pPr lvl="2">
              <a:defRPr/>
            </a:pPr>
            <a:r>
              <a:rPr lang="en-US" sz="2800" b="1" dirty="0"/>
              <a:t>Patient lies on the right side, </a:t>
            </a:r>
            <a:r>
              <a:rPr lang="en-US" sz="2800" b="1" dirty="0">
                <a:solidFill>
                  <a:srgbClr val="FFFF00"/>
                </a:solidFill>
              </a:rPr>
              <a:t>conscious</a:t>
            </a:r>
            <a:r>
              <a:rPr lang="en-US" sz="2800" b="1" dirty="0"/>
              <a:t>, alert, </a:t>
            </a:r>
          </a:p>
          <a:p>
            <a:pPr lvl="2">
              <a:defRPr/>
            </a:pPr>
            <a:r>
              <a:rPr lang="en-US" sz="2800" b="1" dirty="0">
                <a:solidFill>
                  <a:srgbClr val="FFFF00"/>
                </a:solidFill>
              </a:rPr>
              <a:t>Flushed face</a:t>
            </a:r>
            <a:r>
              <a:rPr lang="en-US" sz="2800" b="1" dirty="0" smtClean="0"/>
              <a:t>.</a:t>
            </a:r>
          </a:p>
          <a:p>
            <a:pPr lvl="2">
              <a:defRPr/>
            </a:pPr>
            <a:r>
              <a:rPr lang="en-US" sz="2800" b="1" dirty="0" smtClean="0"/>
              <a:t>He has a temperature of </a:t>
            </a:r>
            <a:r>
              <a:rPr lang="en-US" sz="2800" b="1" dirty="0" smtClean="0">
                <a:solidFill>
                  <a:srgbClr val="FFFF00"/>
                </a:solidFill>
              </a:rPr>
              <a:t>39 C</a:t>
            </a:r>
            <a:endParaRPr lang="en-US" sz="2800" b="1" dirty="0" smtClean="0"/>
          </a:p>
          <a:p>
            <a:pPr lvl="2">
              <a:defRPr/>
            </a:pPr>
            <a:r>
              <a:rPr lang="en-US" sz="2800" b="1" dirty="0" smtClean="0"/>
              <a:t>Pulse rate of </a:t>
            </a:r>
            <a:r>
              <a:rPr lang="en-US" sz="2800" b="1" dirty="0" smtClean="0">
                <a:solidFill>
                  <a:srgbClr val="FFFF00"/>
                </a:solidFill>
              </a:rPr>
              <a:t>104 b/min</a:t>
            </a:r>
          </a:p>
          <a:p>
            <a:pPr lvl="2">
              <a:defRPr/>
            </a:pPr>
            <a:r>
              <a:rPr lang="en-US" sz="2800" b="1" dirty="0" smtClean="0"/>
              <a:t>Blood pressure </a:t>
            </a:r>
            <a:r>
              <a:rPr lang="en-US" sz="2800" b="1" dirty="0"/>
              <a:t>of 120/85. </a:t>
            </a:r>
            <a:endParaRPr lang="en-US" sz="2800" b="1" dirty="0" smtClean="0"/>
          </a:p>
          <a:p>
            <a:pPr lvl="2">
              <a:defRPr/>
            </a:pPr>
            <a:r>
              <a:rPr lang="en-US" sz="2800" b="1" dirty="0" smtClean="0"/>
              <a:t>The </a:t>
            </a:r>
            <a:r>
              <a:rPr lang="en-US" sz="2800" b="1" dirty="0"/>
              <a:t>respiratory rate is </a:t>
            </a:r>
            <a:r>
              <a:rPr lang="en-US" sz="2800" b="1" dirty="0">
                <a:solidFill>
                  <a:srgbClr val="FFFF00"/>
                </a:solidFill>
              </a:rPr>
              <a:t>30 breath/min</a:t>
            </a:r>
            <a:r>
              <a:rPr lang="en-US" sz="2800" b="1" dirty="0"/>
              <a:t>. </a:t>
            </a:r>
            <a:endParaRPr lang="en-US" sz="2800" b="1" dirty="0" smtClean="0"/>
          </a:p>
          <a:p>
            <a:pPr>
              <a:buFont typeface="Wingdings" panose="05000000000000000000" pitchFamily="2" charset="2"/>
              <a:buNone/>
              <a:defRPr/>
            </a:pPr>
            <a:endParaRPr lang="en-US" sz="2800" b="1" dirty="0" smtClean="0"/>
          </a:p>
          <a:p>
            <a:pPr>
              <a:buFont typeface="Wingdings" panose="05000000000000000000" pitchFamily="2" charset="2"/>
              <a:buNone/>
              <a:defRPr/>
            </a:pPr>
            <a:r>
              <a:rPr lang="en-US" sz="2800" b="1" dirty="0"/>
              <a:t> </a:t>
            </a:r>
            <a:r>
              <a:rPr lang="en-US" sz="2800" b="1" dirty="0" smtClean="0"/>
              <a:t>      </a:t>
            </a:r>
          </a:p>
        </p:txBody>
      </p:sp>
    </p:spTree>
    <p:extLst>
      <p:ext uri="{BB962C8B-B14F-4D97-AF65-F5344CB8AC3E}">
        <p14:creationId xmlns:p14="http://schemas.microsoft.com/office/powerpoint/2010/main" val="13065144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MasterSp="0">
  <p:cSld>
    <p:bg>
      <p:bgPr>
        <a:blipFill>
          <a:blip r:embed="rId3"/>
          <a:tile tx="0" ty="0" sx="100000" sy="100000" flip="none" algn="tl"/>
        </a:blipFill>
        <a:effectLst/>
      </p:bgPr>
    </p:bg>
    <p:spTree>
      <p:nvGrpSpPr>
        <p:cNvPr id="1" name=""/>
        <p:cNvGrpSpPr/>
        <p:nvPr/>
      </p:nvGrpSpPr>
      <p:grpSpPr>
        <a:xfrm>
          <a:off x="0" y="0"/>
          <a:ext cx="0" cy="0"/>
          <a:chOff x="0" y="0"/>
          <a:chExt cx="0" cy="0"/>
        </a:xfrm>
      </p:grpSpPr>
      <p:sp>
        <p:nvSpPr>
          <p:cNvPr id="292871" name="Rectangle 7"/>
          <p:cNvSpPr>
            <a:spLocks noGrp="1" noChangeArrowheads="1"/>
          </p:cNvSpPr>
          <p:nvPr>
            <p:ph type="ctrTitle"/>
          </p:nvPr>
        </p:nvSpPr>
        <p:spPr>
          <a:xfrm>
            <a:off x="0" y="0"/>
            <a:ext cx="9144000" cy="914400"/>
          </a:xfrm>
          <a:solidFill>
            <a:srgbClr val="FF7C80"/>
          </a:solidFill>
        </p:spPr>
        <p:txBody>
          <a:bodyPr/>
          <a:lstStyle/>
          <a:p>
            <a:pPr>
              <a:defRPr/>
            </a:pPr>
            <a:r>
              <a:rPr lang="en-US" sz="4400" dirty="0" smtClean="0">
                <a:solidFill>
                  <a:srgbClr val="FFFF00"/>
                </a:solidFill>
                <a:latin typeface="Sitka Display" pitchFamily="2" charset="0"/>
                <a:ea typeface="+mj-ea"/>
              </a:rPr>
              <a:t>Acute severe asthma</a:t>
            </a:r>
          </a:p>
        </p:txBody>
      </p:sp>
      <p:sp>
        <p:nvSpPr>
          <p:cNvPr id="47107" name="Rectangle 8"/>
          <p:cNvSpPr>
            <a:spLocks noGrp="1" noChangeArrowheads="1"/>
          </p:cNvSpPr>
          <p:nvPr>
            <p:ph type="subTitle" idx="1"/>
          </p:nvPr>
        </p:nvSpPr>
        <p:spPr>
          <a:xfrm>
            <a:off x="1143000" y="1066800"/>
            <a:ext cx="7010400" cy="5715000"/>
          </a:xfrm>
        </p:spPr>
        <p:style>
          <a:lnRef idx="2">
            <a:schemeClr val="accent1">
              <a:shade val="50000"/>
            </a:schemeClr>
          </a:lnRef>
          <a:fillRef idx="1">
            <a:schemeClr val="accent1"/>
          </a:fillRef>
          <a:effectRef idx="0">
            <a:schemeClr val="accent1"/>
          </a:effectRef>
          <a:fontRef idx="minor">
            <a:schemeClr val="lt1"/>
          </a:fontRef>
        </p:style>
        <p:txBody>
          <a:bodyPr/>
          <a:lstStyle/>
          <a:p>
            <a:pPr marL="514350" indent="-514350" algn="l">
              <a:buClr>
                <a:srgbClr val="FFC000"/>
              </a:buClr>
              <a:buSzPct val="117000"/>
              <a:buFont typeface="+mj-lt"/>
              <a:buAutoNum type="arabicPeriod"/>
              <a:defRPr/>
            </a:pPr>
            <a:r>
              <a:rPr lang="en-US" sz="2800" b="1" dirty="0" smtClean="0">
                <a:latin typeface="Candara" panose="020E0502030303020204" pitchFamily="34" charset="0"/>
                <a:cs typeface="Calibri Light" pitchFamily="34" charset="0"/>
              </a:rPr>
              <a:t>Anxiety, and SOB ; can not complete one sentence.</a:t>
            </a:r>
          </a:p>
          <a:p>
            <a:pPr marL="514350" indent="-514350" algn="l">
              <a:buClr>
                <a:srgbClr val="FFC000"/>
              </a:buClr>
              <a:buSzPct val="117000"/>
              <a:buFont typeface="+mj-lt"/>
              <a:buAutoNum type="arabicPeriod"/>
              <a:defRPr/>
            </a:pPr>
            <a:r>
              <a:rPr lang="en-US" sz="2800" b="1" dirty="0" smtClean="0">
                <a:latin typeface="Candara" panose="020E0502030303020204" pitchFamily="34" charset="0"/>
                <a:cs typeface="Calibri Light" pitchFamily="34" charset="0"/>
              </a:rPr>
              <a:t>Use of accessory muscles of respiration</a:t>
            </a:r>
          </a:p>
          <a:p>
            <a:pPr marL="514350" indent="-514350" algn="l">
              <a:buClr>
                <a:srgbClr val="FFC000"/>
              </a:buClr>
              <a:buSzPct val="117000"/>
              <a:buFont typeface="+mj-lt"/>
              <a:buAutoNum type="arabicPeriod"/>
              <a:defRPr/>
            </a:pPr>
            <a:endParaRPr lang="en-US" sz="2800" b="1" dirty="0" smtClean="0">
              <a:latin typeface="Candara" panose="020E0502030303020204" pitchFamily="34" charset="0"/>
              <a:cs typeface="Calibri Light" pitchFamily="34" charset="0"/>
            </a:endParaRPr>
          </a:p>
          <a:p>
            <a:pPr marL="514350" indent="-514350" algn="l">
              <a:buClr>
                <a:srgbClr val="FFC000"/>
              </a:buClr>
              <a:buSzPct val="117000"/>
              <a:buFont typeface="+mj-lt"/>
              <a:buAutoNum type="arabicPeriod"/>
              <a:defRPr/>
            </a:pPr>
            <a:r>
              <a:rPr lang="en-US" sz="2800" b="1" dirty="0" smtClean="0">
                <a:latin typeface="Candara" panose="020E0502030303020204" pitchFamily="34" charset="0"/>
                <a:cs typeface="Calibri Light" pitchFamily="34" charset="0"/>
              </a:rPr>
              <a:t>Tachycardia  ≥ 110 beat/min</a:t>
            </a:r>
          </a:p>
          <a:p>
            <a:pPr marL="514350" indent="-514350" algn="l">
              <a:buClr>
                <a:srgbClr val="FFC000"/>
              </a:buClr>
              <a:buSzPct val="117000"/>
              <a:buFont typeface="+mj-lt"/>
              <a:buAutoNum type="arabicPeriod"/>
              <a:defRPr/>
            </a:pPr>
            <a:r>
              <a:rPr lang="en-US" sz="2800" b="1" dirty="0" smtClean="0">
                <a:latin typeface="Candara" panose="020E0502030303020204" pitchFamily="34" charset="0"/>
                <a:cs typeface="Calibri Light" pitchFamily="34" charset="0"/>
              </a:rPr>
              <a:t>Tachypnea ≥ 25 breath/min</a:t>
            </a:r>
          </a:p>
          <a:p>
            <a:pPr marL="514350" indent="-514350" algn="l">
              <a:buClr>
                <a:srgbClr val="FFC000"/>
              </a:buClr>
              <a:buSzPct val="117000"/>
              <a:buFont typeface="+mj-lt"/>
              <a:buAutoNum type="arabicPeriod"/>
              <a:defRPr/>
            </a:pPr>
            <a:r>
              <a:rPr lang="en-US" sz="2800" b="1" dirty="0" smtClean="0">
                <a:latin typeface="Candara" panose="020E0502030303020204" pitchFamily="34" charset="0"/>
                <a:cs typeface="Calibri Light" pitchFamily="34" charset="0"/>
              </a:rPr>
              <a:t>Pulsus paradoxus</a:t>
            </a:r>
          </a:p>
          <a:p>
            <a:pPr marL="514350" indent="-514350" algn="l">
              <a:buClr>
                <a:srgbClr val="FFC000"/>
              </a:buClr>
              <a:buSzPct val="117000"/>
              <a:buFont typeface="+mj-lt"/>
              <a:buAutoNum type="arabicPeriod"/>
              <a:defRPr/>
            </a:pPr>
            <a:r>
              <a:rPr lang="en-US" sz="2800" b="1" dirty="0" smtClean="0">
                <a:latin typeface="Candara" panose="020E0502030303020204" pitchFamily="34" charset="0"/>
                <a:cs typeface="Calibri Light" pitchFamily="34" charset="0"/>
              </a:rPr>
              <a:t>Bilateral generalized inspiratory and expiratory rhonchi</a:t>
            </a:r>
          </a:p>
          <a:p>
            <a:pPr marL="514350" indent="-514350" algn="l">
              <a:buClr>
                <a:srgbClr val="FFC000"/>
              </a:buClr>
              <a:buSzPct val="117000"/>
              <a:buFont typeface="+mj-lt"/>
              <a:buAutoNum type="arabicPeriod"/>
              <a:defRPr/>
            </a:pPr>
            <a:endParaRPr lang="en-US" sz="2800" b="1" dirty="0" smtClean="0">
              <a:latin typeface="Candara" panose="020E0502030303020204" pitchFamily="34" charset="0"/>
              <a:cs typeface="Calibri Light" pitchFamily="34" charset="0"/>
            </a:endParaRPr>
          </a:p>
          <a:p>
            <a:pPr marL="514350" indent="-514350" algn="l">
              <a:buClr>
                <a:srgbClr val="FFC000"/>
              </a:buClr>
              <a:buSzPct val="117000"/>
              <a:buFont typeface="+mj-lt"/>
              <a:buAutoNum type="arabicPeriod"/>
              <a:defRPr/>
            </a:pPr>
            <a:r>
              <a:rPr lang="en-US" sz="2800" b="1" dirty="0" smtClean="0">
                <a:latin typeface="Candara" panose="020E0502030303020204" pitchFamily="34" charset="0"/>
                <a:cs typeface="Calibri Light" pitchFamily="34" charset="0"/>
              </a:rPr>
              <a:t>PEF ≤ 50%</a:t>
            </a:r>
          </a:p>
        </p:txBody>
      </p:sp>
    </p:spTree>
    <p:extLst>
      <p:ext uri="{BB962C8B-B14F-4D97-AF65-F5344CB8AC3E}">
        <p14:creationId xmlns:p14="http://schemas.microsoft.com/office/powerpoint/2010/main" val="326080237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MasterSp="0">
  <p:cSld>
    <p:bg>
      <p:bgPr>
        <a:blipFill>
          <a:blip r:embed="rId3"/>
          <a:tile tx="0" ty="0" sx="100000" sy="100000" flip="none" algn="tl"/>
        </a:blipFill>
        <a:effectLst/>
      </p:bgPr>
    </p:bg>
    <p:spTree>
      <p:nvGrpSpPr>
        <p:cNvPr id="1" name=""/>
        <p:cNvGrpSpPr/>
        <p:nvPr/>
      </p:nvGrpSpPr>
      <p:grpSpPr>
        <a:xfrm>
          <a:off x="0" y="0"/>
          <a:ext cx="0" cy="0"/>
          <a:chOff x="0" y="0"/>
          <a:chExt cx="0" cy="0"/>
        </a:xfrm>
      </p:grpSpPr>
      <p:sp>
        <p:nvSpPr>
          <p:cNvPr id="292871" name="Rectangle 7"/>
          <p:cNvSpPr>
            <a:spLocks noGrp="1" noChangeArrowheads="1"/>
          </p:cNvSpPr>
          <p:nvPr>
            <p:ph type="ctrTitle"/>
          </p:nvPr>
        </p:nvSpPr>
        <p:spPr>
          <a:xfrm>
            <a:off x="0" y="0"/>
            <a:ext cx="9144000" cy="914400"/>
          </a:xfrm>
          <a:solidFill>
            <a:srgbClr val="FF7C80"/>
          </a:solidFill>
        </p:spPr>
        <p:txBody>
          <a:bodyPr/>
          <a:lstStyle/>
          <a:p>
            <a:pPr>
              <a:defRPr/>
            </a:pPr>
            <a:r>
              <a:rPr lang="en-US" sz="4400" dirty="0" smtClean="0">
                <a:solidFill>
                  <a:srgbClr val="FFFF00"/>
                </a:solidFill>
              </a:rPr>
              <a:t>Life-threatening asthma</a:t>
            </a:r>
            <a:endParaRPr lang="en-US" sz="4400" dirty="0" smtClean="0">
              <a:solidFill>
                <a:srgbClr val="FFFF00"/>
              </a:solidFill>
              <a:ea typeface="+mj-ea"/>
            </a:endParaRPr>
          </a:p>
        </p:txBody>
      </p:sp>
      <p:sp>
        <p:nvSpPr>
          <p:cNvPr id="47107" name="Rectangle 8"/>
          <p:cNvSpPr>
            <a:spLocks noGrp="1" noChangeArrowheads="1"/>
          </p:cNvSpPr>
          <p:nvPr>
            <p:ph type="subTitle" idx="1"/>
          </p:nvPr>
        </p:nvSpPr>
        <p:spPr>
          <a:xfrm>
            <a:off x="1981200" y="1219200"/>
            <a:ext cx="4648200" cy="5410200"/>
          </a:xfrm>
        </p:spPr>
        <p:style>
          <a:lnRef idx="3">
            <a:schemeClr val="lt1"/>
          </a:lnRef>
          <a:fillRef idx="1">
            <a:schemeClr val="accent1"/>
          </a:fillRef>
          <a:effectRef idx="1">
            <a:schemeClr val="accent1"/>
          </a:effectRef>
          <a:fontRef idx="minor">
            <a:schemeClr val="lt1"/>
          </a:fontRef>
        </p:style>
        <p:txBody>
          <a:bodyPr/>
          <a:lstStyle/>
          <a:p>
            <a:pPr marL="514350" lvl="0" indent="-514350" algn="l">
              <a:buClr>
                <a:srgbClr val="FFC000"/>
              </a:buClr>
              <a:buSzPct val="114000"/>
              <a:buFont typeface="+mj-lt"/>
              <a:buAutoNum type="arabicPeriod"/>
            </a:pPr>
            <a:r>
              <a:rPr lang="en-US" sz="2800" b="1" dirty="0" smtClean="0">
                <a:solidFill>
                  <a:srgbClr val="FFFFFF"/>
                </a:solidFill>
                <a:latin typeface="Candara" panose="020E0502030303020204" pitchFamily="34" charset="0"/>
              </a:rPr>
              <a:t>Confusion</a:t>
            </a:r>
          </a:p>
          <a:p>
            <a:pPr marL="514350" lvl="0" indent="-514350" algn="l">
              <a:buClr>
                <a:srgbClr val="FFC000"/>
              </a:buClr>
              <a:buSzPct val="114000"/>
              <a:buFont typeface="+mj-lt"/>
              <a:buAutoNum type="arabicPeriod"/>
            </a:pPr>
            <a:r>
              <a:rPr lang="en-US" sz="2800" b="1" dirty="0" smtClean="0">
                <a:solidFill>
                  <a:srgbClr val="FFFFFF"/>
                </a:solidFill>
                <a:latin typeface="Candara" panose="020E0502030303020204" pitchFamily="34" charset="0"/>
              </a:rPr>
              <a:t>Cyanosis, </a:t>
            </a:r>
          </a:p>
          <a:p>
            <a:pPr marL="514350" lvl="0" indent="-514350" algn="l">
              <a:buClr>
                <a:srgbClr val="FFC000"/>
              </a:buClr>
              <a:buSzPct val="114000"/>
              <a:buFont typeface="+mj-lt"/>
              <a:buAutoNum type="arabicPeriod"/>
            </a:pPr>
            <a:endParaRPr lang="en-US" sz="2800" b="1" dirty="0" smtClean="0">
              <a:solidFill>
                <a:srgbClr val="FFFFFF"/>
              </a:solidFill>
              <a:latin typeface="Candara" panose="020E0502030303020204" pitchFamily="34" charset="0"/>
            </a:endParaRPr>
          </a:p>
          <a:p>
            <a:pPr marL="514350" lvl="0" indent="-514350" algn="l">
              <a:buClr>
                <a:srgbClr val="FFC000"/>
              </a:buClr>
              <a:buSzPct val="114000"/>
              <a:buFont typeface="+mj-lt"/>
              <a:buAutoNum type="arabicPeriod"/>
            </a:pPr>
            <a:r>
              <a:rPr lang="en-US" sz="2800" b="1" dirty="0" smtClean="0">
                <a:solidFill>
                  <a:srgbClr val="FFFFFF"/>
                </a:solidFill>
                <a:latin typeface="Candara" panose="020E0502030303020204" pitchFamily="34" charset="0"/>
              </a:rPr>
              <a:t>Bradycardia, </a:t>
            </a:r>
          </a:p>
          <a:p>
            <a:pPr marL="514350" lvl="0" indent="-514350" algn="l">
              <a:buClr>
                <a:srgbClr val="FFC000"/>
              </a:buClr>
              <a:buSzPct val="114000"/>
              <a:buFont typeface="+mj-lt"/>
              <a:buAutoNum type="arabicPeriod"/>
            </a:pPr>
            <a:r>
              <a:rPr lang="en-US" sz="2800" b="1" dirty="0" smtClean="0">
                <a:solidFill>
                  <a:srgbClr val="FFFFFF"/>
                </a:solidFill>
                <a:latin typeface="Candara" panose="020E0502030303020204" pitchFamily="34" charset="0"/>
              </a:rPr>
              <a:t>Hypotension</a:t>
            </a:r>
          </a:p>
          <a:p>
            <a:pPr marL="514350" lvl="0" indent="-514350" algn="l">
              <a:buClr>
                <a:srgbClr val="FFC000"/>
              </a:buClr>
              <a:buSzPct val="114000"/>
              <a:buFont typeface="+mj-lt"/>
              <a:buAutoNum type="arabicPeriod"/>
            </a:pPr>
            <a:r>
              <a:rPr lang="en-US" sz="2800" b="1" dirty="0" smtClean="0">
                <a:solidFill>
                  <a:srgbClr val="FFFFFF"/>
                </a:solidFill>
                <a:latin typeface="Candara" panose="020E0502030303020204" pitchFamily="34" charset="0"/>
              </a:rPr>
              <a:t>Silent chest,</a:t>
            </a:r>
          </a:p>
          <a:p>
            <a:pPr marL="514350" lvl="0" indent="-514350" algn="l">
              <a:buClr>
                <a:srgbClr val="FFC000"/>
              </a:buClr>
              <a:buSzPct val="114000"/>
              <a:buFont typeface="+mj-lt"/>
              <a:buAutoNum type="arabicPeriod"/>
            </a:pPr>
            <a:endParaRPr lang="en-US" sz="2800" b="1" dirty="0" smtClean="0">
              <a:solidFill>
                <a:srgbClr val="FFFFFF"/>
              </a:solidFill>
              <a:latin typeface="Candara" panose="020E0502030303020204" pitchFamily="34" charset="0"/>
            </a:endParaRPr>
          </a:p>
          <a:p>
            <a:pPr marL="514350" lvl="0" indent="-514350" algn="l">
              <a:buClr>
                <a:srgbClr val="FFC000"/>
              </a:buClr>
              <a:buSzPct val="114000"/>
              <a:buFont typeface="+mj-lt"/>
              <a:buAutoNum type="arabicPeriod"/>
            </a:pPr>
            <a:r>
              <a:rPr lang="en-US" sz="2800" b="1" dirty="0" smtClean="0">
                <a:solidFill>
                  <a:srgbClr val="FFFFFF"/>
                </a:solidFill>
                <a:latin typeface="Candara" panose="020E0502030303020204" pitchFamily="34" charset="0"/>
              </a:rPr>
              <a:t>Pao2&lt;60 ,paco2 ≥ 50</a:t>
            </a:r>
          </a:p>
          <a:p>
            <a:pPr marL="514350" lvl="0" indent="-514350" algn="l">
              <a:buClr>
                <a:srgbClr val="FFC000"/>
              </a:buClr>
              <a:buSzPct val="114000"/>
              <a:buFont typeface="+mj-lt"/>
              <a:buAutoNum type="arabicPeriod"/>
            </a:pPr>
            <a:r>
              <a:rPr lang="en-US" sz="2800" b="1" dirty="0" smtClean="0">
                <a:solidFill>
                  <a:srgbClr val="FFFFFF"/>
                </a:solidFill>
                <a:latin typeface="Candara" panose="020E0502030303020204" pitchFamily="34" charset="0"/>
              </a:rPr>
              <a:t>PEF &lt; 33%</a:t>
            </a:r>
          </a:p>
          <a:p>
            <a:pPr marL="514350" indent="-514350" algn="l">
              <a:lnSpc>
                <a:spcPct val="150000"/>
              </a:lnSpc>
              <a:buSzPct val="114000"/>
              <a:buFont typeface="+mj-lt"/>
              <a:buAutoNum type="arabicPeriod"/>
              <a:defRPr/>
            </a:pPr>
            <a:endParaRPr lang="en-US" sz="2800" dirty="0" smtClean="0">
              <a:latin typeface="Candara" panose="020E0502030303020204" pitchFamily="34" charset="0"/>
              <a:cs typeface="Times New Roman" pitchFamily="18" charset="0"/>
            </a:endParaRPr>
          </a:p>
        </p:txBody>
      </p:sp>
    </p:spTree>
    <p:extLst>
      <p:ext uri="{BB962C8B-B14F-4D97-AF65-F5344CB8AC3E}">
        <p14:creationId xmlns:p14="http://schemas.microsoft.com/office/powerpoint/2010/main" val="146400041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685800"/>
            <a:ext cx="7772400" cy="3660775"/>
          </a:xfrm>
        </p:spPr>
        <p:txBody>
          <a:bodyPr>
            <a:noAutofit/>
          </a:bodyPr>
          <a:lstStyle/>
          <a:p>
            <a:pPr algn="l"/>
            <a:r>
              <a:rPr lang="en-US" sz="2800" dirty="0" smtClean="0">
                <a:solidFill>
                  <a:srgbClr val="0070C0"/>
                </a:solidFill>
                <a:latin typeface="Arial" pitchFamily="34" charset="0"/>
                <a:cs typeface="Arial" pitchFamily="34" charset="0"/>
              </a:rPr>
              <a:t/>
            </a:r>
            <a:br>
              <a:rPr lang="en-US" sz="2800" dirty="0" smtClean="0">
                <a:solidFill>
                  <a:srgbClr val="0070C0"/>
                </a:solidFill>
                <a:latin typeface="Arial" pitchFamily="34" charset="0"/>
                <a:cs typeface="Arial" pitchFamily="34" charset="0"/>
              </a:rPr>
            </a:br>
            <a:r>
              <a:rPr lang="en-US" sz="2800" dirty="0" smtClean="0">
                <a:solidFill>
                  <a:srgbClr val="0070C0"/>
                </a:solidFill>
                <a:cs typeface="Arial" pitchFamily="34" charset="0"/>
              </a:rPr>
              <a:t>The cornerstone drug of choice for the control of asthmatic patient is: </a:t>
            </a:r>
            <a:br>
              <a:rPr lang="en-US" sz="2800" dirty="0" smtClean="0">
                <a:solidFill>
                  <a:srgbClr val="0070C0"/>
                </a:solidFill>
                <a:cs typeface="Arial" pitchFamily="34" charset="0"/>
              </a:rPr>
            </a:br>
            <a:r>
              <a:rPr lang="en-US" sz="2800" dirty="0" smtClean="0">
                <a:solidFill>
                  <a:srgbClr val="0070C0"/>
                </a:solidFill>
                <a:cs typeface="Arial" pitchFamily="34" charset="0"/>
              </a:rPr>
              <a:t/>
            </a:r>
            <a:br>
              <a:rPr lang="en-US" sz="2800" dirty="0" smtClean="0">
                <a:solidFill>
                  <a:srgbClr val="0070C0"/>
                </a:solidFill>
                <a:cs typeface="Arial" pitchFamily="34" charset="0"/>
              </a:rPr>
            </a:br>
            <a:r>
              <a:rPr lang="en-US" sz="2800" dirty="0" smtClean="0">
                <a:solidFill>
                  <a:srgbClr val="FF0000"/>
                </a:solidFill>
                <a:cs typeface="Arial" pitchFamily="34" charset="0"/>
              </a:rPr>
              <a:t>(a) Inhaled Corticosteroids </a:t>
            </a:r>
            <a:br>
              <a:rPr lang="en-US" sz="2800" dirty="0" smtClean="0">
                <a:solidFill>
                  <a:srgbClr val="FF0000"/>
                </a:solidFill>
                <a:cs typeface="Arial" pitchFamily="34" charset="0"/>
              </a:rPr>
            </a:br>
            <a:r>
              <a:rPr lang="en-US" sz="2800" dirty="0" smtClean="0">
                <a:solidFill>
                  <a:srgbClr val="FF0000"/>
                </a:solidFill>
                <a:cs typeface="Arial" pitchFamily="34" charset="0"/>
              </a:rPr>
              <a:t>(b) Atropine </a:t>
            </a:r>
            <a:br>
              <a:rPr lang="en-US" sz="2800" dirty="0" smtClean="0">
                <a:solidFill>
                  <a:srgbClr val="FF0000"/>
                </a:solidFill>
                <a:cs typeface="Arial" pitchFamily="34" charset="0"/>
              </a:rPr>
            </a:br>
            <a:r>
              <a:rPr lang="en-US" sz="2800" dirty="0" smtClean="0">
                <a:solidFill>
                  <a:srgbClr val="FF0000"/>
                </a:solidFill>
                <a:cs typeface="Arial" pitchFamily="34" charset="0"/>
              </a:rPr>
              <a:t>(c) Inhaled beta-adrenergic agents </a:t>
            </a:r>
            <a:br>
              <a:rPr lang="en-US" sz="2800" dirty="0" smtClean="0">
                <a:solidFill>
                  <a:srgbClr val="FF0000"/>
                </a:solidFill>
                <a:cs typeface="Arial" pitchFamily="34" charset="0"/>
              </a:rPr>
            </a:br>
            <a:r>
              <a:rPr lang="en-US" sz="2800" dirty="0" smtClean="0">
                <a:solidFill>
                  <a:srgbClr val="FF0000"/>
                </a:solidFill>
                <a:cs typeface="Arial" pitchFamily="34" charset="0"/>
              </a:rPr>
              <a:t>(d) Subcutaneous beta-adrenergic agents </a:t>
            </a:r>
            <a:endParaRPr lang="en-US" sz="2800" dirty="0">
              <a:solidFill>
                <a:srgbClr val="FF0000"/>
              </a:solidFill>
              <a:cs typeface="Arial" pitchFamily="34" charset="0"/>
            </a:endParaRPr>
          </a:p>
        </p:txBody>
      </p:sp>
    </p:spTree>
    <p:extLst>
      <p:ext uri="{BB962C8B-B14F-4D97-AF65-F5344CB8AC3E}">
        <p14:creationId xmlns:p14="http://schemas.microsoft.com/office/powerpoint/2010/main" val="118855888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lvl="0">
              <a:buFont typeface="Wingdings" pitchFamily="2" charset="2"/>
              <a:buChar char="q"/>
            </a:pPr>
            <a:r>
              <a:rPr lang="en-US" sz="2800" b="1" dirty="0" smtClean="0">
                <a:solidFill>
                  <a:srgbClr val="0070C0"/>
                </a:solidFill>
              </a:rPr>
              <a:t>The goal of asthma treatment is to achieve and maintain </a:t>
            </a:r>
            <a:r>
              <a:rPr lang="en-US" sz="2800" b="1" dirty="0" smtClean="0">
                <a:solidFill>
                  <a:srgbClr val="00B050"/>
                </a:solidFill>
              </a:rPr>
              <a:t>clinical control</a:t>
            </a:r>
            <a:r>
              <a:rPr lang="en-US" sz="2800" b="1" dirty="0" smtClean="0">
                <a:solidFill>
                  <a:srgbClr val="0070C0"/>
                </a:solidFill>
              </a:rPr>
              <a:t>. </a:t>
            </a:r>
          </a:p>
          <a:p>
            <a:pPr lvl="0">
              <a:buNone/>
            </a:pPr>
            <a:endParaRPr lang="en-US" sz="2800" b="1" dirty="0" smtClean="0">
              <a:solidFill>
                <a:srgbClr val="0070C0"/>
              </a:solidFill>
            </a:endParaRPr>
          </a:p>
          <a:p>
            <a:pPr lvl="0">
              <a:buFont typeface="Wingdings" pitchFamily="2" charset="2"/>
              <a:buChar char="q"/>
            </a:pPr>
            <a:r>
              <a:rPr lang="en-US" sz="2800" b="1" dirty="0" smtClean="0">
                <a:solidFill>
                  <a:srgbClr val="0070C0"/>
                </a:solidFill>
              </a:rPr>
              <a:t>Medications to treat asthma can be classified as </a:t>
            </a:r>
            <a:r>
              <a:rPr lang="en-US" sz="2800" b="1" dirty="0" smtClean="0">
                <a:solidFill>
                  <a:srgbClr val="00B050"/>
                </a:solidFill>
              </a:rPr>
              <a:t>controllers</a:t>
            </a:r>
            <a:r>
              <a:rPr lang="en-US" sz="2800" b="1" dirty="0" smtClean="0">
                <a:solidFill>
                  <a:srgbClr val="0070C0"/>
                </a:solidFill>
              </a:rPr>
              <a:t> or </a:t>
            </a:r>
            <a:r>
              <a:rPr lang="en-US" sz="2800" b="1" dirty="0" smtClean="0">
                <a:solidFill>
                  <a:srgbClr val="00B050"/>
                </a:solidFill>
              </a:rPr>
              <a:t>relievers</a:t>
            </a:r>
            <a:r>
              <a:rPr lang="en-US" sz="2800" b="1" dirty="0" smtClean="0">
                <a:solidFill>
                  <a:srgbClr val="0070C0"/>
                </a:solidFill>
              </a:rPr>
              <a:t>. </a:t>
            </a:r>
          </a:p>
          <a:p>
            <a:pPr marL="280988" indent="-280988" algn="just">
              <a:buNone/>
            </a:pPr>
            <a:endParaRPr lang="en-US" sz="2800" dirty="0">
              <a:solidFill>
                <a:srgbClr val="000099"/>
              </a:solidFill>
              <a:latin typeface="Times New Roman" pitchFamily="18" charset="0"/>
              <a:cs typeface="Times New Roman" pitchFamily="18" charset="0"/>
            </a:endParaRPr>
          </a:p>
        </p:txBody>
      </p:sp>
      <p:sp>
        <p:nvSpPr>
          <p:cNvPr id="27649" name="Rectangle 1"/>
          <p:cNvSpPr>
            <a:spLocks noChangeArrowheads="1"/>
          </p:cNvSpPr>
          <p:nvPr/>
        </p:nvSpPr>
        <p:spPr bwMode="auto">
          <a:xfrm>
            <a:off x="228602" y="609600"/>
            <a:ext cx="6224204" cy="707886"/>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Calibri" pitchFamily="34" charset="0"/>
                <a:ea typeface="Times New Roman" pitchFamily="18" charset="0"/>
                <a:cs typeface="Calibri" pitchFamily="34" charset="0"/>
              </a:rPr>
              <a:t>Pharmacological Treatments</a:t>
            </a:r>
            <a:endParaRPr kumimoji="0" lang="en-US" sz="4800" b="0"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898961987"/>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1775194"/>
            <a:ext cx="9144000" cy="4625609"/>
          </a:xfrm>
        </p:spPr>
        <p:txBody>
          <a:bodyPr>
            <a:normAutofit fontScale="92500" lnSpcReduction="10000"/>
          </a:bodyPr>
          <a:lstStyle/>
          <a:p>
            <a:pPr lvl="0">
              <a:buFont typeface="Wingdings" pitchFamily="2" charset="2"/>
              <a:buChar char="q"/>
            </a:pPr>
            <a:r>
              <a:rPr lang="en-US" sz="2800" b="1" dirty="0" smtClean="0">
                <a:solidFill>
                  <a:srgbClr val="0070C0"/>
                </a:solidFill>
                <a:latin typeface="Calibri" pitchFamily="34" charset="0"/>
                <a:ea typeface="Microsoft Yi Baiti" pitchFamily="66" charset="0"/>
                <a:cs typeface="Calibri" pitchFamily="34" charset="0"/>
              </a:rPr>
              <a:t>These are medications taken </a:t>
            </a:r>
            <a:r>
              <a:rPr lang="en-US" sz="2800" b="1" dirty="0" smtClean="0">
                <a:solidFill>
                  <a:srgbClr val="00B050"/>
                </a:solidFill>
                <a:latin typeface="Calibri" pitchFamily="34" charset="0"/>
                <a:ea typeface="Microsoft Yi Baiti" pitchFamily="66" charset="0"/>
                <a:cs typeface="Calibri" pitchFamily="34" charset="0"/>
              </a:rPr>
              <a:t>daily on a long-term </a:t>
            </a:r>
            <a:r>
              <a:rPr lang="en-US" sz="2800" b="1" dirty="0" smtClean="0">
                <a:solidFill>
                  <a:srgbClr val="0070C0"/>
                </a:solidFill>
                <a:latin typeface="Calibri" pitchFamily="34" charset="0"/>
                <a:ea typeface="Microsoft Yi Baiti" pitchFamily="66" charset="0"/>
                <a:cs typeface="Calibri" pitchFamily="34" charset="0"/>
              </a:rPr>
              <a:t>basis to keep asthma under clinical control chiefly through their </a:t>
            </a:r>
            <a:r>
              <a:rPr lang="en-US" sz="2800" b="1" dirty="0" smtClean="0">
                <a:solidFill>
                  <a:srgbClr val="00B050"/>
                </a:solidFill>
                <a:latin typeface="Calibri" pitchFamily="34" charset="0"/>
                <a:ea typeface="Microsoft Yi Baiti" pitchFamily="66" charset="0"/>
                <a:cs typeface="Calibri" pitchFamily="34" charset="0"/>
              </a:rPr>
              <a:t>anti-inflammatory</a:t>
            </a:r>
            <a:r>
              <a:rPr lang="en-US" sz="2800" b="1" dirty="0" smtClean="0">
                <a:solidFill>
                  <a:srgbClr val="0070C0"/>
                </a:solidFill>
                <a:latin typeface="Calibri" pitchFamily="34" charset="0"/>
                <a:ea typeface="Microsoft Yi Baiti" pitchFamily="66" charset="0"/>
                <a:cs typeface="Calibri" pitchFamily="34" charset="0"/>
              </a:rPr>
              <a:t> effects.</a:t>
            </a:r>
          </a:p>
          <a:p>
            <a:pPr lvl="0">
              <a:buNone/>
            </a:pPr>
            <a:endParaRPr lang="en-US" sz="2800" b="1" dirty="0" smtClean="0">
              <a:solidFill>
                <a:srgbClr val="0070C0"/>
              </a:solidFill>
              <a:latin typeface="Calibri" pitchFamily="34" charset="0"/>
              <a:ea typeface="Microsoft Yi Baiti" pitchFamily="66" charset="0"/>
              <a:cs typeface="Calibri" pitchFamily="34" charset="0"/>
            </a:endParaRPr>
          </a:p>
          <a:p>
            <a:pPr lvl="0">
              <a:buFont typeface="Wingdings" pitchFamily="2" charset="2"/>
              <a:buChar char="q"/>
            </a:pPr>
            <a:r>
              <a:rPr lang="en-US" sz="2800" b="1" dirty="0" smtClean="0">
                <a:solidFill>
                  <a:srgbClr val="00B050"/>
                </a:solidFill>
                <a:latin typeface="Calibri" pitchFamily="34" charset="0"/>
                <a:ea typeface="Microsoft Yi Baiti" pitchFamily="66" charset="0"/>
                <a:cs typeface="Calibri" pitchFamily="34" charset="0"/>
              </a:rPr>
              <a:t>Controller medications </a:t>
            </a:r>
            <a:r>
              <a:rPr lang="en-US" sz="2800" b="1" dirty="0" smtClean="0">
                <a:solidFill>
                  <a:srgbClr val="0070C0"/>
                </a:solidFill>
                <a:latin typeface="Calibri" pitchFamily="34" charset="0"/>
                <a:ea typeface="Microsoft Yi Baiti" pitchFamily="66" charset="0"/>
                <a:cs typeface="Calibri" pitchFamily="34" charset="0"/>
              </a:rPr>
              <a:t>include:</a:t>
            </a:r>
          </a:p>
          <a:p>
            <a:pPr lvl="2">
              <a:buFont typeface="Wingdings" pitchFamily="2" charset="2"/>
              <a:buChar char="Ø"/>
            </a:pPr>
            <a:r>
              <a:rPr lang="en-US" sz="2800" b="1" dirty="0" smtClean="0">
                <a:solidFill>
                  <a:srgbClr val="0070C0"/>
                </a:solidFill>
                <a:latin typeface="Calibri" pitchFamily="34" charset="0"/>
                <a:ea typeface="Microsoft Yi Baiti" pitchFamily="66" charset="0"/>
                <a:cs typeface="Calibri" pitchFamily="34" charset="0"/>
              </a:rPr>
              <a:t>Inhaled and systemic glucocorticosteroids,</a:t>
            </a:r>
          </a:p>
          <a:p>
            <a:pPr lvl="2">
              <a:buFont typeface="Wingdings" pitchFamily="2" charset="2"/>
              <a:buChar char="Ø"/>
            </a:pPr>
            <a:r>
              <a:rPr lang="en-US" sz="2800" b="1" dirty="0" smtClean="0">
                <a:solidFill>
                  <a:srgbClr val="0070C0"/>
                </a:solidFill>
                <a:latin typeface="Calibri" pitchFamily="34" charset="0"/>
                <a:ea typeface="Microsoft Yi Baiti" pitchFamily="66" charset="0"/>
                <a:cs typeface="Calibri" pitchFamily="34" charset="0"/>
              </a:rPr>
              <a:t>Leukotriens modifiers,</a:t>
            </a:r>
          </a:p>
          <a:p>
            <a:pPr lvl="2">
              <a:buFont typeface="Wingdings" pitchFamily="2" charset="2"/>
              <a:buChar char="Ø"/>
            </a:pPr>
            <a:r>
              <a:rPr lang="en-US" sz="2800" b="1" dirty="0" smtClean="0">
                <a:solidFill>
                  <a:srgbClr val="0070C0"/>
                </a:solidFill>
                <a:latin typeface="Calibri" pitchFamily="34" charset="0"/>
                <a:ea typeface="Microsoft Yi Baiti" pitchFamily="66" charset="0"/>
                <a:cs typeface="Calibri" pitchFamily="34" charset="0"/>
              </a:rPr>
              <a:t> Long-acting inhaled B2-agonists, LABA</a:t>
            </a:r>
          </a:p>
          <a:p>
            <a:pPr lvl="2">
              <a:buFont typeface="Wingdings" pitchFamily="2" charset="2"/>
              <a:buChar char="Ø"/>
            </a:pPr>
            <a:r>
              <a:rPr lang="en-US" sz="2800" b="1" dirty="0" smtClean="0">
                <a:solidFill>
                  <a:srgbClr val="0070C0"/>
                </a:solidFill>
                <a:latin typeface="Calibri" pitchFamily="34" charset="0"/>
                <a:ea typeface="Microsoft Yi Baiti" pitchFamily="66" charset="0"/>
                <a:cs typeface="Calibri" pitchFamily="34" charset="0"/>
              </a:rPr>
              <a:t>Sustained-release theophylline,</a:t>
            </a:r>
          </a:p>
          <a:p>
            <a:pPr lvl="2">
              <a:buFont typeface="Wingdings" pitchFamily="2" charset="2"/>
              <a:buChar char="Ø"/>
            </a:pPr>
            <a:r>
              <a:rPr lang="en-US" sz="2800" b="1" dirty="0" smtClean="0">
                <a:solidFill>
                  <a:srgbClr val="0070C0"/>
                </a:solidFill>
                <a:latin typeface="Calibri" pitchFamily="34" charset="0"/>
                <a:cs typeface="Calibri" pitchFamily="34" charset="0"/>
              </a:rPr>
              <a:t>Immunomodulators:    1.Omalizumab</a:t>
            </a:r>
          </a:p>
          <a:p>
            <a:pPr lvl="1">
              <a:lnSpc>
                <a:spcPct val="85000"/>
              </a:lnSpc>
              <a:buNone/>
            </a:pPr>
            <a:r>
              <a:rPr lang="en-US" b="1" dirty="0" smtClean="0">
                <a:solidFill>
                  <a:srgbClr val="0070C0"/>
                </a:solidFill>
                <a:latin typeface="Calibri" pitchFamily="34" charset="0"/>
                <a:cs typeface="Calibri" pitchFamily="34" charset="0"/>
              </a:rPr>
              <a:t>                                                 2.Allergen-specific immunotherapy</a:t>
            </a:r>
            <a:endParaRPr lang="en-US" b="1" dirty="0" smtClean="0">
              <a:solidFill>
                <a:srgbClr val="0070C0"/>
              </a:solidFill>
              <a:latin typeface="Calibri" pitchFamily="34" charset="0"/>
              <a:ea typeface="Microsoft Yi Baiti" pitchFamily="66" charset="0"/>
              <a:cs typeface="Calibri" pitchFamily="34" charset="0"/>
            </a:endParaRPr>
          </a:p>
          <a:p>
            <a:pPr marL="280988" indent="-280988" algn="just">
              <a:buNone/>
            </a:pPr>
            <a:endParaRPr lang="en-US" sz="2800" b="1" dirty="0">
              <a:solidFill>
                <a:srgbClr val="0070C0"/>
              </a:solidFill>
              <a:latin typeface="Calibri" pitchFamily="34" charset="0"/>
              <a:ea typeface="Microsoft Yi Baiti" pitchFamily="66" charset="0"/>
              <a:cs typeface="Calibri" pitchFamily="34" charset="0"/>
            </a:endParaRPr>
          </a:p>
        </p:txBody>
      </p:sp>
      <p:sp>
        <p:nvSpPr>
          <p:cNvPr id="3" name="Rectangle 2"/>
          <p:cNvSpPr/>
          <p:nvPr/>
        </p:nvSpPr>
        <p:spPr>
          <a:xfrm>
            <a:off x="152400" y="609600"/>
            <a:ext cx="2935288" cy="646331"/>
          </a:xfrm>
          <a:prstGeom prst="rect">
            <a:avLst/>
          </a:prstGeom>
        </p:spPr>
        <p:txBody>
          <a:bodyPr wrap="square">
            <a:spAutoFit/>
          </a:bodyPr>
          <a:lstStyle/>
          <a:p>
            <a:pPr marL="438912" marR="0" lvl="0" indent="-320040" algn="l" defTabSz="914400" rtl="0" eaLnBrk="1" fontAlgn="auto" latinLnBrk="0" hangingPunct="1">
              <a:lnSpc>
                <a:spcPct val="100000"/>
              </a:lnSpc>
              <a:spcBef>
                <a:spcPts val="0"/>
              </a:spcBef>
              <a:spcAft>
                <a:spcPts val="0"/>
              </a:spcAft>
              <a:buClr>
                <a:srgbClr val="F0AD00"/>
              </a:buClr>
              <a:buSzPct val="80000"/>
              <a:buFontTx/>
              <a:buNone/>
              <a:tabLst/>
              <a:defRPr/>
            </a:pPr>
            <a:r>
              <a:rPr kumimoji="0" lang="en-US" sz="3600" b="1"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Corbel"/>
                <a:ea typeface="+mn-ea"/>
                <a:cs typeface="+mn-cs"/>
              </a:rPr>
              <a:t>I-Controllers: </a:t>
            </a:r>
            <a:endParaRPr kumimoji="0" lang="en-US" sz="2800" b="1"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Corbel"/>
              <a:ea typeface="+mn-ea"/>
              <a:cs typeface="+mn-cs"/>
            </a:endParaRPr>
          </a:p>
        </p:txBody>
      </p:sp>
    </p:spTree>
    <p:extLst>
      <p:ext uri="{BB962C8B-B14F-4D97-AF65-F5344CB8AC3E}">
        <p14:creationId xmlns:p14="http://schemas.microsoft.com/office/powerpoint/2010/main" val="250105682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lvl="0">
              <a:buFont typeface="Wingdings" pitchFamily="2" charset="2"/>
              <a:buChar char="q"/>
            </a:pPr>
            <a:r>
              <a:rPr lang="en-US" sz="2800" b="1" dirty="0" smtClean="0">
                <a:solidFill>
                  <a:srgbClr val="0070C0"/>
                </a:solidFill>
              </a:rPr>
              <a:t>These are medications used </a:t>
            </a:r>
            <a:r>
              <a:rPr lang="en-US" sz="2800" b="1" dirty="0" smtClean="0">
                <a:solidFill>
                  <a:srgbClr val="00B050"/>
                </a:solidFill>
              </a:rPr>
              <a:t>as-needed</a:t>
            </a:r>
            <a:r>
              <a:rPr lang="en-US" sz="2800" b="1" dirty="0" smtClean="0">
                <a:solidFill>
                  <a:srgbClr val="0070C0"/>
                </a:solidFill>
              </a:rPr>
              <a:t> that act quickly to </a:t>
            </a:r>
            <a:r>
              <a:rPr lang="en-US" sz="2800" b="1" dirty="0" smtClean="0">
                <a:solidFill>
                  <a:srgbClr val="00B050"/>
                </a:solidFill>
              </a:rPr>
              <a:t>reverse bronchoconstriction </a:t>
            </a:r>
            <a:r>
              <a:rPr lang="en-US" sz="2800" b="1" dirty="0" smtClean="0">
                <a:solidFill>
                  <a:srgbClr val="0070C0"/>
                </a:solidFill>
              </a:rPr>
              <a:t>and relieve its symptoms.</a:t>
            </a:r>
          </a:p>
          <a:p>
            <a:pPr>
              <a:buNone/>
            </a:pPr>
            <a:endParaRPr lang="en-US" sz="2800" b="1" dirty="0" smtClean="0">
              <a:solidFill>
                <a:srgbClr val="0070C0"/>
              </a:solidFill>
            </a:endParaRPr>
          </a:p>
          <a:p>
            <a:pPr lvl="0">
              <a:buFont typeface="Wingdings" pitchFamily="2" charset="2"/>
              <a:buChar char="q"/>
            </a:pPr>
            <a:r>
              <a:rPr lang="en-US" sz="2800" b="1" dirty="0" smtClean="0">
                <a:solidFill>
                  <a:srgbClr val="00B050"/>
                </a:solidFill>
              </a:rPr>
              <a:t>Relievers medications include:</a:t>
            </a:r>
          </a:p>
          <a:p>
            <a:pPr lvl="2"/>
            <a:r>
              <a:rPr lang="en-US" sz="2800" b="1" dirty="0" smtClean="0">
                <a:solidFill>
                  <a:srgbClr val="0070C0"/>
                </a:solidFill>
              </a:rPr>
              <a:t>Short-acting inhaled B2- agonists, SABA</a:t>
            </a:r>
          </a:p>
          <a:p>
            <a:pPr lvl="2"/>
            <a:r>
              <a:rPr lang="en-US" sz="2800" b="1" dirty="0" smtClean="0">
                <a:solidFill>
                  <a:srgbClr val="0070C0"/>
                </a:solidFill>
              </a:rPr>
              <a:t>Inhaled anticholinergic,</a:t>
            </a:r>
          </a:p>
          <a:p>
            <a:pPr lvl="2"/>
            <a:r>
              <a:rPr lang="en-US" sz="2800" b="1" dirty="0" smtClean="0">
                <a:solidFill>
                  <a:srgbClr val="0070C0"/>
                </a:solidFill>
              </a:rPr>
              <a:t>Short-acting theophylline, </a:t>
            </a:r>
          </a:p>
          <a:p>
            <a:pPr lvl="2"/>
            <a:r>
              <a:rPr lang="en-US" sz="2800" b="1" dirty="0" smtClean="0">
                <a:solidFill>
                  <a:srgbClr val="0070C0"/>
                </a:solidFill>
              </a:rPr>
              <a:t>Short-acting oral B2-agonists.</a:t>
            </a:r>
          </a:p>
          <a:p>
            <a:pPr marL="280988" indent="-280988" algn="just">
              <a:buNone/>
            </a:pPr>
            <a:endParaRPr lang="en-US" sz="2800" dirty="0">
              <a:solidFill>
                <a:srgbClr val="000099"/>
              </a:solidFill>
              <a:latin typeface="Times New Roman" pitchFamily="18" charset="0"/>
              <a:cs typeface="Times New Roman" pitchFamily="18" charset="0"/>
            </a:endParaRPr>
          </a:p>
        </p:txBody>
      </p:sp>
      <p:sp>
        <p:nvSpPr>
          <p:cNvPr id="3" name="Rectangle 2"/>
          <p:cNvSpPr/>
          <p:nvPr/>
        </p:nvSpPr>
        <p:spPr>
          <a:xfrm>
            <a:off x="3" y="304800"/>
            <a:ext cx="3182603" cy="126188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smtClean="0">
                <a:ln>
                  <a:noFill/>
                </a:ln>
                <a:solidFill>
                  <a:prstClr val="black"/>
                </a:solidFill>
                <a:effectLst/>
                <a:uLnTx/>
                <a:uFillTx/>
                <a:latin typeface="Corbel"/>
                <a:ea typeface="+mn-ea"/>
                <a:cs typeface="+mn-cs"/>
              </a:rPr>
              <a:t>2-</a:t>
            </a:r>
            <a:r>
              <a:rPr kumimoji="0" lang="en-US" sz="4000" b="1" i="0" u="none" strike="noStrike" kern="1200" cap="none" spc="0" normalizeH="0" baseline="0" noProof="0" dirty="0" smtClean="0">
                <a:ln>
                  <a:noFill/>
                </a:ln>
                <a:solidFill>
                  <a:srgbClr val="FF0000"/>
                </a:solidFill>
                <a:effectLst/>
                <a:uLnTx/>
                <a:uFillTx/>
                <a:latin typeface="Corbel"/>
                <a:ea typeface="+mn-ea"/>
                <a:cs typeface="+mn-cs"/>
              </a:rPr>
              <a:t>2-Relievers:</a:t>
            </a:r>
            <a:r>
              <a:rPr kumimoji="0" lang="en-US" sz="4400" b="1" i="0" u="none" strike="noStrike" kern="1200" cap="none" spc="0" normalizeH="0" baseline="0" noProof="0" dirty="0" smtClean="0">
                <a:ln>
                  <a:noFill/>
                </a:ln>
                <a:solidFill>
                  <a:srgbClr val="FF0000"/>
                </a:solidFill>
                <a:effectLst/>
                <a:uLnTx/>
                <a:uFillTx/>
                <a:latin typeface="Corbel"/>
                <a:ea typeface="+mn-ea"/>
                <a:cs typeface="+mn-cs"/>
              </a:rPr>
              <a:t> </a:t>
            </a:r>
            <a:endParaRPr kumimoji="0" lang="en-US" sz="3600" b="1" i="0" u="none" strike="noStrike" kern="1200" cap="none" spc="0" normalizeH="0" baseline="0" noProof="0" dirty="0" smtClean="0">
              <a:ln>
                <a:noFill/>
              </a:ln>
              <a:solidFill>
                <a:srgbClr val="FF0000"/>
              </a:solidFill>
              <a:effectLst/>
              <a:uLnTx/>
              <a:uFillTx/>
              <a:latin typeface="Corbe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prstClr val="black"/>
                </a:solidFill>
                <a:effectLst/>
                <a:uLnTx/>
                <a:uFillTx/>
                <a:latin typeface="Corbel"/>
                <a:ea typeface="+mn-ea"/>
                <a:cs typeface="+mn-cs"/>
              </a:rPr>
              <a:t>Relievers:</a:t>
            </a:r>
            <a:endParaRPr kumimoji="0" lang="en-US" sz="1800" b="0" i="0" u="none" strike="noStrike" kern="1200" cap="none" spc="0" normalizeH="0" baseline="0" noProof="0" dirty="0">
              <a:ln>
                <a:noFill/>
              </a:ln>
              <a:solidFill>
                <a:prstClr val="black"/>
              </a:solidFill>
              <a:effectLst/>
              <a:uLnTx/>
              <a:uFillTx/>
              <a:latin typeface="Corbel"/>
              <a:ea typeface="+mn-ea"/>
              <a:cs typeface="+mn-cs"/>
            </a:endParaRPr>
          </a:p>
        </p:txBody>
      </p:sp>
    </p:spTree>
    <p:extLst>
      <p:ext uri="{BB962C8B-B14F-4D97-AF65-F5344CB8AC3E}">
        <p14:creationId xmlns:p14="http://schemas.microsoft.com/office/powerpoint/2010/main" val="209365583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MasterSp="0">
  <p:cSld>
    <p:bg>
      <p:bgPr>
        <a:blipFill>
          <a:blip r:embed="rId3"/>
          <a:tile tx="0" ty="0" sx="100000" sy="100000" flip="none" algn="tl"/>
        </a:blip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CE4F0694-29E3-2F45-8967-5046855A8095}"/>
              </a:ext>
            </a:extLst>
          </p:cNvPr>
          <p:cNvGrpSpPr>
            <a:grpSpLocks/>
          </p:cNvGrpSpPr>
          <p:nvPr/>
        </p:nvGrpSpPr>
        <p:grpSpPr bwMode="auto">
          <a:xfrm>
            <a:off x="1" y="2690835"/>
            <a:ext cx="9144000" cy="4167165"/>
            <a:chOff x="505" y="1684"/>
            <a:chExt cx="4813" cy="2271"/>
          </a:xfrm>
        </p:grpSpPr>
        <p:sp>
          <p:nvSpPr>
            <p:cNvPr id="11343" name="Freeform 3">
              <a:extLst>
                <a:ext uri="{FF2B5EF4-FFF2-40B4-BE49-F238E27FC236}">
                  <a16:creationId xmlns:a16="http://schemas.microsoft.com/office/drawing/2014/main" id="{F576FC87-A288-9375-A344-ED3506D5ED95}"/>
                </a:ext>
              </a:extLst>
            </p:cNvPr>
            <p:cNvSpPr>
              <a:spLocks/>
            </p:cNvSpPr>
            <p:nvPr/>
          </p:nvSpPr>
          <p:spPr bwMode="auto">
            <a:xfrm>
              <a:off x="505" y="1684"/>
              <a:ext cx="4813" cy="2271"/>
            </a:xfrm>
            <a:custGeom>
              <a:avLst/>
              <a:gdLst>
                <a:gd name="T0" fmla="*/ 0 w 5085"/>
                <a:gd name="T1" fmla="*/ 7629 h 2034"/>
                <a:gd name="T2" fmla="*/ 2628 w 5085"/>
                <a:gd name="T3" fmla="*/ 450 h 2034"/>
                <a:gd name="T4" fmla="*/ 2619 w 5085"/>
                <a:gd name="T5" fmla="*/ 450 h 2034"/>
                <a:gd name="T6" fmla="*/ 2608 w 5085"/>
                <a:gd name="T7" fmla="*/ 457 h 2034"/>
                <a:gd name="T8" fmla="*/ 2603 w 5085"/>
                <a:gd name="T9" fmla="*/ 457 h 2034"/>
                <a:gd name="T10" fmla="*/ 2594 w 5085"/>
                <a:gd name="T11" fmla="*/ 462 h 2034"/>
                <a:gd name="T12" fmla="*/ 2590 w 5085"/>
                <a:gd name="T13" fmla="*/ 462 h 2034"/>
                <a:gd name="T14" fmla="*/ 2586 w 5085"/>
                <a:gd name="T15" fmla="*/ 462 h 2034"/>
                <a:gd name="T16" fmla="*/ 2581 w 5085"/>
                <a:gd name="T17" fmla="*/ 462 h 2034"/>
                <a:gd name="T18" fmla="*/ 2576 w 5085"/>
                <a:gd name="T19" fmla="*/ 450 h 2034"/>
                <a:gd name="T20" fmla="*/ 2569 w 5085"/>
                <a:gd name="T21" fmla="*/ 438 h 2034"/>
                <a:gd name="T22" fmla="*/ 2561 w 5085"/>
                <a:gd name="T23" fmla="*/ 415 h 2034"/>
                <a:gd name="T24" fmla="*/ 2557 w 5085"/>
                <a:gd name="T25" fmla="*/ 393 h 2034"/>
                <a:gd name="T26" fmla="*/ 2552 w 5085"/>
                <a:gd name="T27" fmla="*/ 368 h 2034"/>
                <a:gd name="T28" fmla="*/ 2549 w 5085"/>
                <a:gd name="T29" fmla="*/ 336 h 2034"/>
                <a:gd name="T30" fmla="*/ 2547 w 5085"/>
                <a:gd name="T31" fmla="*/ 310 h 2034"/>
                <a:gd name="T32" fmla="*/ 2547 w 5085"/>
                <a:gd name="T33" fmla="*/ 282 h 2034"/>
                <a:gd name="T34" fmla="*/ 2547 w 5085"/>
                <a:gd name="T35" fmla="*/ 253 h 2034"/>
                <a:gd name="T36" fmla="*/ 2549 w 5085"/>
                <a:gd name="T37" fmla="*/ 226 h 2034"/>
                <a:gd name="T38" fmla="*/ 2554 w 5085"/>
                <a:gd name="T39" fmla="*/ 203 h 2034"/>
                <a:gd name="T40" fmla="*/ 2559 w 5085"/>
                <a:gd name="T41" fmla="*/ 189 h 2034"/>
                <a:gd name="T42" fmla="*/ 2563 w 5085"/>
                <a:gd name="T43" fmla="*/ 182 h 2034"/>
                <a:gd name="T44" fmla="*/ 2571 w 5085"/>
                <a:gd name="T45" fmla="*/ 179 h 2034"/>
                <a:gd name="T46" fmla="*/ 2575 w 5085"/>
                <a:gd name="T47" fmla="*/ 179 h 2034"/>
                <a:gd name="T48" fmla="*/ 2578 w 5085"/>
                <a:gd name="T49" fmla="*/ 182 h 2034"/>
                <a:gd name="T50" fmla="*/ 2580 w 5085"/>
                <a:gd name="T51" fmla="*/ 182 h 2034"/>
                <a:gd name="T52" fmla="*/ 2577 w 5085"/>
                <a:gd name="T53" fmla="*/ 128 h 2034"/>
                <a:gd name="T54" fmla="*/ 2575 w 5085"/>
                <a:gd name="T55" fmla="*/ 85 h 2034"/>
                <a:gd name="T56" fmla="*/ 2572 w 5085"/>
                <a:gd name="T57" fmla="*/ 50 h 2034"/>
                <a:gd name="T58" fmla="*/ 2566 w 5085"/>
                <a:gd name="T59" fmla="*/ 23 h 2034"/>
                <a:gd name="T60" fmla="*/ 2559 w 5085"/>
                <a:gd name="T61" fmla="*/ 2 h 2034"/>
                <a:gd name="T62" fmla="*/ 2551 w 5085"/>
                <a:gd name="T63" fmla="*/ 0 h 2034"/>
                <a:gd name="T64" fmla="*/ 2543 w 5085"/>
                <a:gd name="T65" fmla="*/ 1 h 2034"/>
                <a:gd name="T66" fmla="*/ 2535 w 5085"/>
                <a:gd name="T67" fmla="*/ 23 h 2034"/>
                <a:gd name="T68" fmla="*/ 2522 w 5085"/>
                <a:gd name="T69" fmla="*/ 68 h 2034"/>
                <a:gd name="T70" fmla="*/ 2512 w 5085"/>
                <a:gd name="T71" fmla="*/ 122 h 2034"/>
                <a:gd name="T72" fmla="*/ 2501 w 5085"/>
                <a:gd name="T73" fmla="*/ 200 h 2034"/>
                <a:gd name="T74" fmla="*/ 2490 w 5085"/>
                <a:gd name="T75" fmla="*/ 267 h 2034"/>
                <a:gd name="T76" fmla="*/ 2479 w 5085"/>
                <a:gd name="T77" fmla="*/ 333 h 2034"/>
                <a:gd name="T78" fmla="*/ 2465 w 5085"/>
                <a:gd name="T79" fmla="*/ 393 h 2034"/>
                <a:gd name="T80" fmla="*/ 2449 w 5085"/>
                <a:gd name="T81" fmla="*/ 431 h 2034"/>
                <a:gd name="T82" fmla="*/ 2426 w 5085"/>
                <a:gd name="T83" fmla="*/ 443 h 203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085"/>
                <a:gd name="T127" fmla="*/ 0 h 2034"/>
                <a:gd name="T128" fmla="*/ 5085 w 5085"/>
                <a:gd name="T129" fmla="*/ 2034 h 203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085" h="2034">
                  <a:moveTo>
                    <a:pt x="0" y="102"/>
                  </a:moveTo>
                  <a:lnTo>
                    <a:pt x="0" y="2033"/>
                  </a:lnTo>
                  <a:lnTo>
                    <a:pt x="5080" y="2033"/>
                  </a:lnTo>
                  <a:lnTo>
                    <a:pt x="5084" y="120"/>
                  </a:lnTo>
                  <a:lnTo>
                    <a:pt x="5074" y="120"/>
                  </a:lnTo>
                  <a:lnTo>
                    <a:pt x="5064" y="120"/>
                  </a:lnTo>
                  <a:lnTo>
                    <a:pt x="5055" y="121"/>
                  </a:lnTo>
                  <a:lnTo>
                    <a:pt x="5047" y="121"/>
                  </a:lnTo>
                  <a:lnTo>
                    <a:pt x="5040" y="121"/>
                  </a:lnTo>
                  <a:lnTo>
                    <a:pt x="5032" y="121"/>
                  </a:lnTo>
                  <a:lnTo>
                    <a:pt x="5027" y="123"/>
                  </a:lnTo>
                  <a:lnTo>
                    <a:pt x="5020" y="123"/>
                  </a:lnTo>
                  <a:lnTo>
                    <a:pt x="5014" y="123"/>
                  </a:lnTo>
                  <a:lnTo>
                    <a:pt x="5010" y="123"/>
                  </a:lnTo>
                  <a:lnTo>
                    <a:pt x="5005" y="123"/>
                  </a:lnTo>
                  <a:lnTo>
                    <a:pt x="5001" y="123"/>
                  </a:lnTo>
                  <a:lnTo>
                    <a:pt x="4996" y="123"/>
                  </a:lnTo>
                  <a:lnTo>
                    <a:pt x="4992" y="123"/>
                  </a:lnTo>
                  <a:lnTo>
                    <a:pt x="4989" y="121"/>
                  </a:lnTo>
                  <a:lnTo>
                    <a:pt x="4985" y="120"/>
                  </a:lnTo>
                  <a:lnTo>
                    <a:pt x="4976" y="119"/>
                  </a:lnTo>
                  <a:lnTo>
                    <a:pt x="4968" y="116"/>
                  </a:lnTo>
                  <a:lnTo>
                    <a:pt x="4960" y="114"/>
                  </a:lnTo>
                  <a:lnTo>
                    <a:pt x="4955" y="111"/>
                  </a:lnTo>
                  <a:lnTo>
                    <a:pt x="4949" y="108"/>
                  </a:lnTo>
                  <a:lnTo>
                    <a:pt x="4945" y="105"/>
                  </a:lnTo>
                  <a:lnTo>
                    <a:pt x="4940" y="101"/>
                  </a:lnTo>
                  <a:lnTo>
                    <a:pt x="4937" y="98"/>
                  </a:lnTo>
                  <a:lnTo>
                    <a:pt x="4935" y="93"/>
                  </a:lnTo>
                  <a:lnTo>
                    <a:pt x="4932" y="90"/>
                  </a:lnTo>
                  <a:lnTo>
                    <a:pt x="4930" y="86"/>
                  </a:lnTo>
                  <a:lnTo>
                    <a:pt x="4929" y="82"/>
                  </a:lnTo>
                  <a:lnTo>
                    <a:pt x="4928" y="78"/>
                  </a:lnTo>
                  <a:lnTo>
                    <a:pt x="4928" y="75"/>
                  </a:lnTo>
                  <a:lnTo>
                    <a:pt x="4928" y="71"/>
                  </a:lnTo>
                  <a:lnTo>
                    <a:pt x="4928" y="67"/>
                  </a:lnTo>
                  <a:lnTo>
                    <a:pt x="4929" y="62"/>
                  </a:lnTo>
                  <a:lnTo>
                    <a:pt x="4931" y="59"/>
                  </a:lnTo>
                  <a:lnTo>
                    <a:pt x="4935" y="56"/>
                  </a:lnTo>
                  <a:lnTo>
                    <a:pt x="4939" y="54"/>
                  </a:lnTo>
                  <a:lnTo>
                    <a:pt x="4944" y="52"/>
                  </a:lnTo>
                  <a:lnTo>
                    <a:pt x="4949" y="50"/>
                  </a:lnTo>
                  <a:lnTo>
                    <a:pt x="4955" y="49"/>
                  </a:lnTo>
                  <a:lnTo>
                    <a:pt x="4960" y="48"/>
                  </a:lnTo>
                  <a:lnTo>
                    <a:pt x="4966" y="48"/>
                  </a:lnTo>
                  <a:lnTo>
                    <a:pt x="4972" y="47"/>
                  </a:lnTo>
                  <a:lnTo>
                    <a:pt x="4977" y="47"/>
                  </a:lnTo>
                  <a:lnTo>
                    <a:pt x="4981" y="47"/>
                  </a:lnTo>
                  <a:lnTo>
                    <a:pt x="4985" y="47"/>
                  </a:lnTo>
                  <a:lnTo>
                    <a:pt x="4989" y="48"/>
                  </a:lnTo>
                  <a:lnTo>
                    <a:pt x="4990" y="48"/>
                  </a:lnTo>
                  <a:lnTo>
                    <a:pt x="4991" y="48"/>
                  </a:lnTo>
                  <a:lnTo>
                    <a:pt x="4990" y="40"/>
                  </a:lnTo>
                  <a:lnTo>
                    <a:pt x="4987" y="34"/>
                  </a:lnTo>
                  <a:lnTo>
                    <a:pt x="4985" y="28"/>
                  </a:lnTo>
                  <a:lnTo>
                    <a:pt x="4982" y="22"/>
                  </a:lnTo>
                  <a:lnTo>
                    <a:pt x="4977" y="18"/>
                  </a:lnTo>
                  <a:lnTo>
                    <a:pt x="4973" y="13"/>
                  </a:lnTo>
                  <a:lnTo>
                    <a:pt x="4968" y="9"/>
                  </a:lnTo>
                  <a:lnTo>
                    <a:pt x="4963" y="6"/>
                  </a:lnTo>
                  <a:lnTo>
                    <a:pt x="4956" y="3"/>
                  </a:lnTo>
                  <a:lnTo>
                    <a:pt x="4949" y="2"/>
                  </a:lnTo>
                  <a:lnTo>
                    <a:pt x="4942" y="1"/>
                  </a:lnTo>
                  <a:lnTo>
                    <a:pt x="4935" y="0"/>
                  </a:lnTo>
                  <a:lnTo>
                    <a:pt x="4927" y="0"/>
                  </a:lnTo>
                  <a:lnTo>
                    <a:pt x="4918" y="1"/>
                  </a:lnTo>
                  <a:lnTo>
                    <a:pt x="4910" y="3"/>
                  </a:lnTo>
                  <a:lnTo>
                    <a:pt x="4901" y="6"/>
                  </a:lnTo>
                  <a:lnTo>
                    <a:pt x="4890" y="11"/>
                  </a:lnTo>
                  <a:lnTo>
                    <a:pt x="4878" y="18"/>
                  </a:lnTo>
                  <a:lnTo>
                    <a:pt x="4868" y="25"/>
                  </a:lnTo>
                  <a:lnTo>
                    <a:pt x="4858" y="33"/>
                  </a:lnTo>
                  <a:lnTo>
                    <a:pt x="4848" y="43"/>
                  </a:lnTo>
                  <a:lnTo>
                    <a:pt x="4838" y="52"/>
                  </a:lnTo>
                  <a:lnTo>
                    <a:pt x="4828" y="61"/>
                  </a:lnTo>
                  <a:lnTo>
                    <a:pt x="4818" y="72"/>
                  </a:lnTo>
                  <a:lnTo>
                    <a:pt x="4807" y="81"/>
                  </a:lnTo>
                  <a:lnTo>
                    <a:pt x="4794" y="89"/>
                  </a:lnTo>
                  <a:lnTo>
                    <a:pt x="4781" y="98"/>
                  </a:lnTo>
                  <a:lnTo>
                    <a:pt x="4766" y="105"/>
                  </a:lnTo>
                  <a:lnTo>
                    <a:pt x="4750" y="111"/>
                  </a:lnTo>
                  <a:lnTo>
                    <a:pt x="4734" y="115"/>
                  </a:lnTo>
                  <a:lnTo>
                    <a:pt x="4713" y="118"/>
                  </a:lnTo>
                  <a:lnTo>
                    <a:pt x="4693" y="119"/>
                  </a:lnTo>
                  <a:lnTo>
                    <a:pt x="0" y="102"/>
                  </a:lnTo>
                </a:path>
              </a:pathLst>
            </a:custGeom>
            <a:solidFill>
              <a:srgbClr val="0070C0"/>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3" name="Group 4">
              <a:extLst>
                <a:ext uri="{FF2B5EF4-FFF2-40B4-BE49-F238E27FC236}">
                  <a16:creationId xmlns:a16="http://schemas.microsoft.com/office/drawing/2014/main" id="{2A20A45F-F427-F42A-6BC4-6C34BEE4AAD0}"/>
                </a:ext>
              </a:extLst>
            </p:cNvPr>
            <p:cNvGrpSpPr>
              <a:grpSpLocks/>
            </p:cNvGrpSpPr>
            <p:nvPr/>
          </p:nvGrpSpPr>
          <p:grpSpPr bwMode="auto">
            <a:xfrm>
              <a:off x="1132" y="1898"/>
              <a:ext cx="4053" cy="1799"/>
              <a:chOff x="1132" y="1898"/>
              <a:chExt cx="4053" cy="1799"/>
            </a:xfrm>
          </p:grpSpPr>
          <p:sp>
            <p:nvSpPr>
              <p:cNvPr id="11345" name="Freeform 5">
                <a:extLst>
                  <a:ext uri="{FF2B5EF4-FFF2-40B4-BE49-F238E27FC236}">
                    <a16:creationId xmlns:a16="http://schemas.microsoft.com/office/drawing/2014/main" id="{360DC2EC-12E7-79D9-E1B9-F1A5FB9B8F62}"/>
                  </a:ext>
                </a:extLst>
              </p:cNvPr>
              <p:cNvSpPr>
                <a:spLocks/>
              </p:cNvSpPr>
              <p:nvPr/>
            </p:nvSpPr>
            <p:spPr bwMode="auto">
              <a:xfrm>
                <a:off x="1139" y="3527"/>
                <a:ext cx="148" cy="106"/>
              </a:xfrm>
              <a:custGeom>
                <a:avLst/>
                <a:gdLst>
                  <a:gd name="T0" fmla="*/ 0 w 156"/>
                  <a:gd name="T1" fmla="*/ 351 h 95"/>
                  <a:gd name="T2" fmla="*/ 1 w 156"/>
                  <a:gd name="T3" fmla="*/ 347 h 95"/>
                  <a:gd name="T4" fmla="*/ 4 w 156"/>
                  <a:gd name="T5" fmla="*/ 338 h 95"/>
                  <a:gd name="T6" fmla="*/ 9 w 156"/>
                  <a:gd name="T7" fmla="*/ 324 h 95"/>
                  <a:gd name="T8" fmla="*/ 9 w 156"/>
                  <a:gd name="T9" fmla="*/ 303 h 95"/>
                  <a:gd name="T10" fmla="*/ 17 w 156"/>
                  <a:gd name="T11" fmla="*/ 282 h 95"/>
                  <a:gd name="T12" fmla="*/ 22 w 156"/>
                  <a:gd name="T13" fmla="*/ 254 h 95"/>
                  <a:gd name="T14" fmla="*/ 28 w 156"/>
                  <a:gd name="T15" fmla="*/ 228 h 95"/>
                  <a:gd name="T16" fmla="*/ 35 w 156"/>
                  <a:gd name="T17" fmla="*/ 201 h 95"/>
                  <a:gd name="T18" fmla="*/ 42 w 156"/>
                  <a:gd name="T19" fmla="*/ 164 h 95"/>
                  <a:gd name="T20" fmla="*/ 49 w 156"/>
                  <a:gd name="T21" fmla="*/ 133 h 95"/>
                  <a:gd name="T22" fmla="*/ 56 w 156"/>
                  <a:gd name="T23" fmla="*/ 106 h 95"/>
                  <a:gd name="T24" fmla="*/ 62 w 156"/>
                  <a:gd name="T25" fmla="*/ 77 h 95"/>
                  <a:gd name="T26" fmla="*/ 68 w 156"/>
                  <a:gd name="T27" fmla="*/ 55 h 95"/>
                  <a:gd name="T28" fmla="*/ 75 w 156"/>
                  <a:gd name="T29" fmla="*/ 29 h 95"/>
                  <a:gd name="T30" fmla="*/ 79 w 156"/>
                  <a:gd name="T31" fmla="*/ 4 h 95"/>
                  <a:gd name="T32" fmla="*/ 83 w 156"/>
                  <a:gd name="T33" fmla="*/ 0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6"/>
                  <a:gd name="T52" fmla="*/ 0 h 95"/>
                  <a:gd name="T53" fmla="*/ 156 w 156"/>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6" h="95">
                    <a:moveTo>
                      <a:pt x="0" y="94"/>
                    </a:moveTo>
                    <a:lnTo>
                      <a:pt x="1" y="93"/>
                    </a:lnTo>
                    <a:lnTo>
                      <a:pt x="4" y="91"/>
                    </a:lnTo>
                    <a:lnTo>
                      <a:pt x="11" y="87"/>
                    </a:lnTo>
                    <a:lnTo>
                      <a:pt x="19" y="82"/>
                    </a:lnTo>
                    <a:lnTo>
                      <a:pt x="29" y="75"/>
                    </a:lnTo>
                    <a:lnTo>
                      <a:pt x="40" y="68"/>
                    </a:lnTo>
                    <a:lnTo>
                      <a:pt x="53" y="61"/>
                    </a:lnTo>
                    <a:lnTo>
                      <a:pt x="65" y="53"/>
                    </a:lnTo>
                    <a:lnTo>
                      <a:pt x="79" y="44"/>
                    </a:lnTo>
                    <a:lnTo>
                      <a:pt x="92" y="36"/>
                    </a:lnTo>
                    <a:lnTo>
                      <a:pt x="104" y="28"/>
                    </a:lnTo>
                    <a:lnTo>
                      <a:pt x="117" y="21"/>
                    </a:lnTo>
                    <a:lnTo>
                      <a:pt x="129" y="14"/>
                    </a:lnTo>
                    <a:lnTo>
                      <a:pt x="139" y="8"/>
                    </a:lnTo>
                    <a:lnTo>
                      <a:pt x="148" y="4"/>
                    </a:lnTo>
                    <a:lnTo>
                      <a:pt x="155"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46" name="Line 6">
                <a:extLst>
                  <a:ext uri="{FF2B5EF4-FFF2-40B4-BE49-F238E27FC236}">
                    <a16:creationId xmlns:a16="http://schemas.microsoft.com/office/drawing/2014/main" id="{DAF06469-4934-9500-8036-D337CD7035BC}"/>
                  </a:ext>
                </a:extLst>
              </p:cNvPr>
              <p:cNvSpPr>
                <a:spLocks noChangeShapeType="1"/>
              </p:cNvSpPr>
              <p:nvPr/>
            </p:nvSpPr>
            <p:spPr bwMode="auto">
              <a:xfrm flipH="1" flipV="1">
                <a:off x="1132" y="3626"/>
                <a:ext cx="12" cy="1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47" name="Line 7">
                <a:extLst>
                  <a:ext uri="{FF2B5EF4-FFF2-40B4-BE49-F238E27FC236}">
                    <a16:creationId xmlns:a16="http://schemas.microsoft.com/office/drawing/2014/main" id="{6C2F56A8-AE89-8A78-8118-91D4DBE7DA54}"/>
                  </a:ext>
                </a:extLst>
              </p:cNvPr>
              <p:cNvSpPr>
                <a:spLocks noChangeShapeType="1"/>
              </p:cNvSpPr>
              <p:nvPr/>
            </p:nvSpPr>
            <p:spPr bwMode="auto">
              <a:xfrm>
                <a:off x="1284" y="3525"/>
                <a:ext cx="3" cy="6"/>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48" name="Freeform 8">
                <a:extLst>
                  <a:ext uri="{FF2B5EF4-FFF2-40B4-BE49-F238E27FC236}">
                    <a16:creationId xmlns:a16="http://schemas.microsoft.com/office/drawing/2014/main" id="{840935D7-6B42-76F9-65B3-21CF749CC9BA}"/>
                  </a:ext>
                </a:extLst>
              </p:cNvPr>
              <p:cNvSpPr>
                <a:spLocks/>
              </p:cNvSpPr>
              <p:nvPr/>
            </p:nvSpPr>
            <p:spPr bwMode="auto">
              <a:xfrm>
                <a:off x="1286" y="3439"/>
                <a:ext cx="59" cy="89"/>
              </a:xfrm>
              <a:custGeom>
                <a:avLst/>
                <a:gdLst>
                  <a:gd name="T0" fmla="*/ 0 w 63"/>
                  <a:gd name="T1" fmla="*/ 285 h 80"/>
                  <a:gd name="T2" fmla="*/ 6 w 63"/>
                  <a:gd name="T3" fmla="*/ 275 h 80"/>
                  <a:gd name="T4" fmla="*/ 7 w 63"/>
                  <a:gd name="T5" fmla="*/ 259 h 80"/>
                  <a:gd name="T6" fmla="*/ 7 w 63"/>
                  <a:gd name="T7" fmla="*/ 247 h 80"/>
                  <a:gd name="T8" fmla="*/ 8 w 63"/>
                  <a:gd name="T9" fmla="*/ 230 h 80"/>
                  <a:gd name="T10" fmla="*/ 12 w 63"/>
                  <a:gd name="T11" fmla="*/ 208 h 80"/>
                  <a:gd name="T12" fmla="*/ 14 w 63"/>
                  <a:gd name="T13" fmla="*/ 188 h 80"/>
                  <a:gd name="T14" fmla="*/ 16 w 63"/>
                  <a:gd name="T15" fmla="*/ 168 h 80"/>
                  <a:gd name="T16" fmla="*/ 18 w 63"/>
                  <a:gd name="T17" fmla="*/ 148 h 80"/>
                  <a:gd name="T18" fmla="*/ 19 w 63"/>
                  <a:gd name="T19" fmla="*/ 123 h 80"/>
                  <a:gd name="T20" fmla="*/ 20 w 63"/>
                  <a:gd name="T21" fmla="*/ 108 h 80"/>
                  <a:gd name="T22" fmla="*/ 21 w 63"/>
                  <a:gd name="T23" fmla="*/ 87 h 80"/>
                  <a:gd name="T24" fmla="*/ 22 w 63"/>
                  <a:gd name="T25" fmla="*/ 63 h 80"/>
                  <a:gd name="T26" fmla="*/ 24 w 63"/>
                  <a:gd name="T27" fmla="*/ 46 h 80"/>
                  <a:gd name="T28" fmla="*/ 25 w 63"/>
                  <a:gd name="T29" fmla="*/ 27 h 80"/>
                  <a:gd name="T30" fmla="*/ 27 w 63"/>
                  <a:gd name="T31" fmla="*/ 3 h 80"/>
                  <a:gd name="T32" fmla="*/ 29 w 63"/>
                  <a:gd name="T33" fmla="*/ 0 h 8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3"/>
                  <a:gd name="T52" fmla="*/ 0 h 80"/>
                  <a:gd name="T53" fmla="*/ 63 w 63"/>
                  <a:gd name="T54" fmla="*/ 80 h 8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3" h="80">
                    <a:moveTo>
                      <a:pt x="0" y="79"/>
                    </a:moveTo>
                    <a:lnTo>
                      <a:pt x="6" y="76"/>
                    </a:lnTo>
                    <a:lnTo>
                      <a:pt x="11" y="73"/>
                    </a:lnTo>
                    <a:lnTo>
                      <a:pt x="16" y="68"/>
                    </a:lnTo>
                    <a:lnTo>
                      <a:pt x="20" y="64"/>
                    </a:lnTo>
                    <a:lnTo>
                      <a:pt x="25" y="58"/>
                    </a:lnTo>
                    <a:lnTo>
                      <a:pt x="29" y="53"/>
                    </a:lnTo>
                    <a:lnTo>
                      <a:pt x="33" y="47"/>
                    </a:lnTo>
                    <a:lnTo>
                      <a:pt x="37" y="41"/>
                    </a:lnTo>
                    <a:lnTo>
                      <a:pt x="41" y="35"/>
                    </a:lnTo>
                    <a:lnTo>
                      <a:pt x="44" y="30"/>
                    </a:lnTo>
                    <a:lnTo>
                      <a:pt x="47" y="24"/>
                    </a:lnTo>
                    <a:lnTo>
                      <a:pt x="50" y="18"/>
                    </a:lnTo>
                    <a:lnTo>
                      <a:pt x="53" y="13"/>
                    </a:lnTo>
                    <a:lnTo>
                      <a:pt x="56" y="8"/>
                    </a:lnTo>
                    <a:lnTo>
                      <a:pt x="59" y="3"/>
                    </a:lnTo>
                    <a:lnTo>
                      <a:pt x="62"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49" name="Line 9">
                <a:extLst>
                  <a:ext uri="{FF2B5EF4-FFF2-40B4-BE49-F238E27FC236}">
                    <a16:creationId xmlns:a16="http://schemas.microsoft.com/office/drawing/2014/main" id="{CE27EA22-1851-DBF7-0F5A-AF365B6B79C3}"/>
                  </a:ext>
                </a:extLst>
              </p:cNvPr>
              <p:cNvSpPr>
                <a:spLocks noChangeShapeType="1"/>
              </p:cNvSpPr>
              <p:nvPr/>
            </p:nvSpPr>
            <p:spPr bwMode="auto">
              <a:xfrm flipH="1" flipV="1">
                <a:off x="1281" y="3521"/>
                <a:ext cx="10" cy="1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50" name="Line 10">
                <a:extLst>
                  <a:ext uri="{FF2B5EF4-FFF2-40B4-BE49-F238E27FC236}">
                    <a16:creationId xmlns:a16="http://schemas.microsoft.com/office/drawing/2014/main" id="{690A866E-43F0-01A2-F138-E1FD4EE66DB9}"/>
                  </a:ext>
                </a:extLst>
              </p:cNvPr>
              <p:cNvSpPr>
                <a:spLocks noChangeShapeType="1"/>
              </p:cNvSpPr>
              <p:nvPr/>
            </p:nvSpPr>
            <p:spPr bwMode="auto">
              <a:xfrm>
                <a:off x="1342" y="3437"/>
                <a:ext cx="4" cy="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51" name="Freeform 11">
                <a:extLst>
                  <a:ext uri="{FF2B5EF4-FFF2-40B4-BE49-F238E27FC236}">
                    <a16:creationId xmlns:a16="http://schemas.microsoft.com/office/drawing/2014/main" id="{C4BA5209-3EF9-5BB0-A28A-D534C0A139B4}"/>
                  </a:ext>
                </a:extLst>
              </p:cNvPr>
              <p:cNvSpPr>
                <a:spLocks/>
              </p:cNvSpPr>
              <p:nvPr/>
            </p:nvSpPr>
            <p:spPr bwMode="auto">
              <a:xfrm>
                <a:off x="1344" y="3413"/>
                <a:ext cx="82" cy="27"/>
              </a:xfrm>
              <a:custGeom>
                <a:avLst/>
                <a:gdLst>
                  <a:gd name="T0" fmla="*/ 0 w 86"/>
                  <a:gd name="T1" fmla="*/ 95 h 24"/>
                  <a:gd name="T2" fmla="*/ 3 w 86"/>
                  <a:gd name="T3" fmla="*/ 84 h 24"/>
                  <a:gd name="T4" fmla="*/ 7 w 86"/>
                  <a:gd name="T5" fmla="*/ 69 h 24"/>
                  <a:gd name="T6" fmla="*/ 10 w 86"/>
                  <a:gd name="T7" fmla="*/ 61 h 24"/>
                  <a:gd name="T8" fmla="*/ 10 w 86"/>
                  <a:gd name="T9" fmla="*/ 60 h 24"/>
                  <a:gd name="T10" fmla="*/ 10 w 86"/>
                  <a:gd name="T11" fmla="*/ 54 h 24"/>
                  <a:gd name="T12" fmla="*/ 11 w 86"/>
                  <a:gd name="T13" fmla="*/ 53 h 24"/>
                  <a:gd name="T14" fmla="*/ 17 w 86"/>
                  <a:gd name="T15" fmla="*/ 53 h 24"/>
                  <a:gd name="T16" fmla="*/ 21 w 86"/>
                  <a:gd name="T17" fmla="*/ 47 h 24"/>
                  <a:gd name="T18" fmla="*/ 23 w 86"/>
                  <a:gd name="T19" fmla="*/ 47 h 24"/>
                  <a:gd name="T20" fmla="*/ 27 w 86"/>
                  <a:gd name="T21" fmla="*/ 42 h 24"/>
                  <a:gd name="T22" fmla="*/ 29 w 86"/>
                  <a:gd name="T23" fmla="*/ 37 h 24"/>
                  <a:gd name="T24" fmla="*/ 32 w 86"/>
                  <a:gd name="T25" fmla="*/ 33 h 24"/>
                  <a:gd name="T26" fmla="*/ 37 w 86"/>
                  <a:gd name="T27" fmla="*/ 29 h 24"/>
                  <a:gd name="T28" fmla="*/ 41 w 86"/>
                  <a:gd name="T29" fmla="*/ 23 h 24"/>
                  <a:gd name="T30" fmla="*/ 45 w 86"/>
                  <a:gd name="T31" fmla="*/ 3 h 24"/>
                  <a:gd name="T32" fmla="*/ 48 w 86"/>
                  <a:gd name="T33" fmla="*/ 0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6"/>
                  <a:gd name="T52" fmla="*/ 0 h 24"/>
                  <a:gd name="T53" fmla="*/ 86 w 86"/>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6" h="24">
                    <a:moveTo>
                      <a:pt x="0" y="23"/>
                    </a:moveTo>
                    <a:lnTo>
                      <a:pt x="3" y="20"/>
                    </a:lnTo>
                    <a:lnTo>
                      <a:pt x="7" y="17"/>
                    </a:lnTo>
                    <a:lnTo>
                      <a:pt x="10" y="15"/>
                    </a:lnTo>
                    <a:lnTo>
                      <a:pt x="15" y="14"/>
                    </a:lnTo>
                    <a:lnTo>
                      <a:pt x="19" y="13"/>
                    </a:lnTo>
                    <a:lnTo>
                      <a:pt x="23" y="12"/>
                    </a:lnTo>
                    <a:lnTo>
                      <a:pt x="29" y="12"/>
                    </a:lnTo>
                    <a:lnTo>
                      <a:pt x="34" y="11"/>
                    </a:lnTo>
                    <a:lnTo>
                      <a:pt x="39" y="11"/>
                    </a:lnTo>
                    <a:lnTo>
                      <a:pt x="46" y="10"/>
                    </a:lnTo>
                    <a:lnTo>
                      <a:pt x="51" y="9"/>
                    </a:lnTo>
                    <a:lnTo>
                      <a:pt x="58" y="8"/>
                    </a:lnTo>
                    <a:lnTo>
                      <a:pt x="65" y="7"/>
                    </a:lnTo>
                    <a:lnTo>
                      <a:pt x="72" y="5"/>
                    </a:lnTo>
                    <a:lnTo>
                      <a:pt x="78" y="3"/>
                    </a:lnTo>
                    <a:lnTo>
                      <a:pt x="85"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52" name="Line 12">
                <a:extLst>
                  <a:ext uri="{FF2B5EF4-FFF2-40B4-BE49-F238E27FC236}">
                    <a16:creationId xmlns:a16="http://schemas.microsoft.com/office/drawing/2014/main" id="{0B7E1745-3629-2E14-E20B-0AEB0B645352}"/>
                  </a:ext>
                </a:extLst>
              </p:cNvPr>
              <p:cNvSpPr>
                <a:spLocks noChangeShapeType="1"/>
              </p:cNvSpPr>
              <p:nvPr/>
            </p:nvSpPr>
            <p:spPr bwMode="auto">
              <a:xfrm flipH="1" flipV="1">
                <a:off x="1338" y="3432"/>
                <a:ext cx="12" cy="1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53" name="Line 13">
                <a:extLst>
                  <a:ext uri="{FF2B5EF4-FFF2-40B4-BE49-F238E27FC236}">
                    <a16:creationId xmlns:a16="http://schemas.microsoft.com/office/drawing/2014/main" id="{79E0D88D-F59C-7B7D-C925-E1C73644F39C}"/>
                  </a:ext>
                </a:extLst>
              </p:cNvPr>
              <p:cNvSpPr>
                <a:spLocks noChangeShapeType="1"/>
              </p:cNvSpPr>
              <p:nvPr/>
            </p:nvSpPr>
            <p:spPr bwMode="auto">
              <a:xfrm>
                <a:off x="1424" y="3410"/>
                <a:ext cx="3" cy="6"/>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54" name="Freeform 14">
                <a:extLst>
                  <a:ext uri="{FF2B5EF4-FFF2-40B4-BE49-F238E27FC236}">
                    <a16:creationId xmlns:a16="http://schemas.microsoft.com/office/drawing/2014/main" id="{AFF05BBB-8FC5-0AB2-FFB0-AA559B561488}"/>
                  </a:ext>
                </a:extLst>
              </p:cNvPr>
              <p:cNvSpPr>
                <a:spLocks/>
              </p:cNvSpPr>
              <p:nvPr/>
            </p:nvSpPr>
            <p:spPr bwMode="auto">
              <a:xfrm>
                <a:off x="1425" y="3287"/>
                <a:ext cx="119" cy="128"/>
              </a:xfrm>
              <a:custGeom>
                <a:avLst/>
                <a:gdLst>
                  <a:gd name="T0" fmla="*/ 0 w 126"/>
                  <a:gd name="T1" fmla="*/ 456 h 114"/>
                  <a:gd name="T2" fmla="*/ 8 w 126"/>
                  <a:gd name="T3" fmla="*/ 436 h 114"/>
                  <a:gd name="T4" fmla="*/ 9 w 126"/>
                  <a:gd name="T5" fmla="*/ 413 h 114"/>
                  <a:gd name="T6" fmla="*/ 13 w 126"/>
                  <a:gd name="T7" fmla="*/ 388 h 114"/>
                  <a:gd name="T8" fmla="*/ 18 w 126"/>
                  <a:gd name="T9" fmla="*/ 355 h 114"/>
                  <a:gd name="T10" fmla="*/ 22 w 126"/>
                  <a:gd name="T11" fmla="*/ 326 h 114"/>
                  <a:gd name="T12" fmla="*/ 26 w 126"/>
                  <a:gd name="T13" fmla="*/ 290 h 114"/>
                  <a:gd name="T14" fmla="*/ 31 w 126"/>
                  <a:gd name="T15" fmla="*/ 256 h 114"/>
                  <a:gd name="T16" fmla="*/ 35 w 126"/>
                  <a:gd name="T17" fmla="*/ 216 h 114"/>
                  <a:gd name="T18" fmla="*/ 40 w 126"/>
                  <a:gd name="T19" fmla="*/ 183 h 114"/>
                  <a:gd name="T20" fmla="*/ 43 w 126"/>
                  <a:gd name="T21" fmla="*/ 145 h 114"/>
                  <a:gd name="T22" fmla="*/ 47 w 126"/>
                  <a:gd name="T23" fmla="*/ 112 h 114"/>
                  <a:gd name="T24" fmla="*/ 51 w 126"/>
                  <a:gd name="T25" fmla="*/ 85 h 114"/>
                  <a:gd name="T26" fmla="*/ 55 w 126"/>
                  <a:gd name="T27" fmla="*/ 55 h 114"/>
                  <a:gd name="T28" fmla="*/ 58 w 126"/>
                  <a:gd name="T29" fmla="*/ 30 h 114"/>
                  <a:gd name="T30" fmla="*/ 60 w 126"/>
                  <a:gd name="T31" fmla="*/ 3 h 114"/>
                  <a:gd name="T32" fmla="*/ 63 w 126"/>
                  <a:gd name="T33" fmla="*/ 0 h 1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6"/>
                  <a:gd name="T52" fmla="*/ 0 h 114"/>
                  <a:gd name="T53" fmla="*/ 126 w 126"/>
                  <a:gd name="T54" fmla="*/ 114 h 1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6" h="114">
                    <a:moveTo>
                      <a:pt x="0" y="113"/>
                    </a:moveTo>
                    <a:lnTo>
                      <a:pt x="8" y="108"/>
                    </a:lnTo>
                    <a:lnTo>
                      <a:pt x="16" y="103"/>
                    </a:lnTo>
                    <a:lnTo>
                      <a:pt x="25" y="96"/>
                    </a:lnTo>
                    <a:lnTo>
                      <a:pt x="33" y="89"/>
                    </a:lnTo>
                    <a:lnTo>
                      <a:pt x="42" y="81"/>
                    </a:lnTo>
                    <a:lnTo>
                      <a:pt x="51" y="72"/>
                    </a:lnTo>
                    <a:lnTo>
                      <a:pt x="60" y="63"/>
                    </a:lnTo>
                    <a:lnTo>
                      <a:pt x="69" y="54"/>
                    </a:lnTo>
                    <a:lnTo>
                      <a:pt x="78" y="45"/>
                    </a:lnTo>
                    <a:lnTo>
                      <a:pt x="86" y="36"/>
                    </a:lnTo>
                    <a:lnTo>
                      <a:pt x="93" y="28"/>
                    </a:lnTo>
                    <a:lnTo>
                      <a:pt x="101" y="21"/>
                    </a:lnTo>
                    <a:lnTo>
                      <a:pt x="108" y="14"/>
                    </a:lnTo>
                    <a:lnTo>
                      <a:pt x="115" y="8"/>
                    </a:lnTo>
                    <a:lnTo>
                      <a:pt x="120" y="3"/>
                    </a:lnTo>
                    <a:lnTo>
                      <a:pt x="125"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55" name="Line 15">
                <a:extLst>
                  <a:ext uri="{FF2B5EF4-FFF2-40B4-BE49-F238E27FC236}">
                    <a16:creationId xmlns:a16="http://schemas.microsoft.com/office/drawing/2014/main" id="{4E027DF5-D9B0-CA68-E1ED-56BD33732307}"/>
                  </a:ext>
                </a:extLst>
              </p:cNvPr>
              <p:cNvSpPr>
                <a:spLocks noChangeShapeType="1"/>
              </p:cNvSpPr>
              <p:nvPr/>
            </p:nvSpPr>
            <p:spPr bwMode="auto">
              <a:xfrm flipH="1" flipV="1">
                <a:off x="1420" y="3406"/>
                <a:ext cx="10" cy="1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56" name="Line 16">
                <a:extLst>
                  <a:ext uri="{FF2B5EF4-FFF2-40B4-BE49-F238E27FC236}">
                    <a16:creationId xmlns:a16="http://schemas.microsoft.com/office/drawing/2014/main" id="{5D3E5AFE-66F7-30E1-0CF6-7E6E90D954AB}"/>
                  </a:ext>
                </a:extLst>
              </p:cNvPr>
              <p:cNvSpPr>
                <a:spLocks noChangeShapeType="1"/>
              </p:cNvSpPr>
              <p:nvPr/>
            </p:nvSpPr>
            <p:spPr bwMode="auto">
              <a:xfrm>
                <a:off x="1542" y="3285"/>
                <a:ext cx="3" cy="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57" name="Freeform 17">
                <a:extLst>
                  <a:ext uri="{FF2B5EF4-FFF2-40B4-BE49-F238E27FC236}">
                    <a16:creationId xmlns:a16="http://schemas.microsoft.com/office/drawing/2014/main" id="{86477F93-228B-1B9D-C907-0835A3787CBF}"/>
                  </a:ext>
                </a:extLst>
              </p:cNvPr>
              <p:cNvSpPr>
                <a:spLocks/>
              </p:cNvSpPr>
              <p:nvPr/>
            </p:nvSpPr>
            <p:spPr bwMode="auto">
              <a:xfrm>
                <a:off x="1543" y="3130"/>
                <a:ext cx="142" cy="158"/>
              </a:xfrm>
              <a:custGeom>
                <a:avLst/>
                <a:gdLst>
                  <a:gd name="T0" fmla="*/ 0 w 150"/>
                  <a:gd name="T1" fmla="*/ 508 h 142"/>
                  <a:gd name="T2" fmla="*/ 6 w 150"/>
                  <a:gd name="T3" fmla="*/ 491 h 142"/>
                  <a:gd name="T4" fmla="*/ 9 w 150"/>
                  <a:gd name="T5" fmla="*/ 472 h 142"/>
                  <a:gd name="T6" fmla="*/ 11 w 150"/>
                  <a:gd name="T7" fmla="*/ 441 h 142"/>
                  <a:gd name="T8" fmla="*/ 19 w 150"/>
                  <a:gd name="T9" fmla="*/ 408 h 142"/>
                  <a:gd name="T10" fmla="*/ 24 w 150"/>
                  <a:gd name="T11" fmla="*/ 367 h 142"/>
                  <a:gd name="T12" fmla="*/ 30 w 150"/>
                  <a:gd name="T13" fmla="*/ 323 h 142"/>
                  <a:gd name="T14" fmla="*/ 36 w 150"/>
                  <a:gd name="T15" fmla="*/ 284 h 142"/>
                  <a:gd name="T16" fmla="*/ 44 w 150"/>
                  <a:gd name="T17" fmla="*/ 231 h 142"/>
                  <a:gd name="T18" fmla="*/ 50 w 150"/>
                  <a:gd name="T19" fmla="*/ 190 h 142"/>
                  <a:gd name="T20" fmla="*/ 56 w 150"/>
                  <a:gd name="T21" fmla="*/ 149 h 142"/>
                  <a:gd name="T22" fmla="*/ 62 w 150"/>
                  <a:gd name="T23" fmla="*/ 108 h 142"/>
                  <a:gd name="T24" fmla="*/ 67 w 150"/>
                  <a:gd name="T25" fmla="*/ 70 h 142"/>
                  <a:gd name="T26" fmla="*/ 71 w 150"/>
                  <a:gd name="T27" fmla="*/ 41 h 142"/>
                  <a:gd name="T28" fmla="*/ 75 w 150"/>
                  <a:gd name="T29" fmla="*/ 20 h 142"/>
                  <a:gd name="T30" fmla="*/ 76 w 150"/>
                  <a:gd name="T31" fmla="*/ 1 h 142"/>
                  <a:gd name="T32" fmla="*/ 77 w 150"/>
                  <a:gd name="T33" fmla="*/ 0 h 1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0"/>
                  <a:gd name="T52" fmla="*/ 0 h 142"/>
                  <a:gd name="T53" fmla="*/ 150 w 150"/>
                  <a:gd name="T54" fmla="*/ 142 h 1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0" h="142">
                    <a:moveTo>
                      <a:pt x="0" y="141"/>
                    </a:moveTo>
                    <a:lnTo>
                      <a:pt x="6" y="137"/>
                    </a:lnTo>
                    <a:lnTo>
                      <a:pt x="14" y="131"/>
                    </a:lnTo>
                    <a:lnTo>
                      <a:pt x="23" y="123"/>
                    </a:lnTo>
                    <a:lnTo>
                      <a:pt x="34" y="113"/>
                    </a:lnTo>
                    <a:lnTo>
                      <a:pt x="45" y="102"/>
                    </a:lnTo>
                    <a:lnTo>
                      <a:pt x="58" y="90"/>
                    </a:lnTo>
                    <a:lnTo>
                      <a:pt x="70" y="78"/>
                    </a:lnTo>
                    <a:lnTo>
                      <a:pt x="84" y="65"/>
                    </a:lnTo>
                    <a:lnTo>
                      <a:pt x="96" y="53"/>
                    </a:lnTo>
                    <a:lnTo>
                      <a:pt x="108" y="41"/>
                    </a:lnTo>
                    <a:lnTo>
                      <a:pt x="119" y="30"/>
                    </a:lnTo>
                    <a:lnTo>
                      <a:pt x="129" y="20"/>
                    </a:lnTo>
                    <a:lnTo>
                      <a:pt x="137" y="12"/>
                    </a:lnTo>
                    <a:lnTo>
                      <a:pt x="143" y="5"/>
                    </a:lnTo>
                    <a:lnTo>
                      <a:pt x="147" y="1"/>
                    </a:lnTo>
                    <a:lnTo>
                      <a:pt x="149"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58" name="Line 18">
                <a:extLst>
                  <a:ext uri="{FF2B5EF4-FFF2-40B4-BE49-F238E27FC236}">
                    <a16:creationId xmlns:a16="http://schemas.microsoft.com/office/drawing/2014/main" id="{E5B474EE-F298-F270-A513-911FF1D6BD97}"/>
                  </a:ext>
                </a:extLst>
              </p:cNvPr>
              <p:cNvSpPr>
                <a:spLocks noChangeShapeType="1"/>
              </p:cNvSpPr>
              <p:nvPr/>
            </p:nvSpPr>
            <p:spPr bwMode="auto">
              <a:xfrm flipH="1" flipV="1">
                <a:off x="1539" y="3281"/>
                <a:ext cx="10" cy="1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59" name="Line 19">
                <a:extLst>
                  <a:ext uri="{FF2B5EF4-FFF2-40B4-BE49-F238E27FC236}">
                    <a16:creationId xmlns:a16="http://schemas.microsoft.com/office/drawing/2014/main" id="{00913E5F-4CBF-A6E2-47BC-E877418C3127}"/>
                  </a:ext>
                </a:extLst>
              </p:cNvPr>
              <p:cNvSpPr>
                <a:spLocks noChangeShapeType="1"/>
              </p:cNvSpPr>
              <p:nvPr/>
            </p:nvSpPr>
            <p:spPr bwMode="auto">
              <a:xfrm>
                <a:off x="1682" y="3128"/>
                <a:ext cx="4" cy="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60" name="Line 20">
                <a:extLst>
                  <a:ext uri="{FF2B5EF4-FFF2-40B4-BE49-F238E27FC236}">
                    <a16:creationId xmlns:a16="http://schemas.microsoft.com/office/drawing/2014/main" id="{77CA3589-C1A7-3FE2-4749-2449FFDA14EF}"/>
                  </a:ext>
                </a:extLst>
              </p:cNvPr>
              <p:cNvSpPr>
                <a:spLocks noChangeShapeType="1"/>
              </p:cNvSpPr>
              <p:nvPr/>
            </p:nvSpPr>
            <p:spPr bwMode="auto">
              <a:xfrm flipV="1">
                <a:off x="1688" y="3026"/>
                <a:ext cx="103" cy="10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61" name="Freeform 21">
                <a:extLst>
                  <a:ext uri="{FF2B5EF4-FFF2-40B4-BE49-F238E27FC236}">
                    <a16:creationId xmlns:a16="http://schemas.microsoft.com/office/drawing/2014/main" id="{D3D41720-5B7F-C486-60A1-E7562427BAED}"/>
                  </a:ext>
                </a:extLst>
              </p:cNvPr>
              <p:cNvSpPr>
                <a:spLocks/>
              </p:cNvSpPr>
              <p:nvPr/>
            </p:nvSpPr>
            <p:spPr bwMode="auto">
              <a:xfrm>
                <a:off x="1795" y="3027"/>
                <a:ext cx="96" cy="51"/>
              </a:xfrm>
              <a:custGeom>
                <a:avLst/>
                <a:gdLst>
                  <a:gd name="T0" fmla="*/ 0 w 102"/>
                  <a:gd name="T1" fmla="*/ 3 h 46"/>
                  <a:gd name="T2" fmla="*/ 0 w 102"/>
                  <a:gd name="T3" fmla="*/ 3 h 46"/>
                  <a:gd name="T4" fmla="*/ 1 w 102"/>
                  <a:gd name="T5" fmla="*/ 2 h 46"/>
                  <a:gd name="T6" fmla="*/ 2 w 102"/>
                  <a:gd name="T7" fmla="*/ 1 h 46"/>
                  <a:gd name="T8" fmla="*/ 4 w 102"/>
                  <a:gd name="T9" fmla="*/ 1 h 46"/>
                  <a:gd name="T10" fmla="*/ 7 w 102"/>
                  <a:gd name="T11" fmla="*/ 0 h 46"/>
                  <a:gd name="T12" fmla="*/ 8 w 102"/>
                  <a:gd name="T13" fmla="*/ 0 h 46"/>
                  <a:gd name="T14" fmla="*/ 8 w 102"/>
                  <a:gd name="T15" fmla="*/ 0 h 46"/>
                  <a:gd name="T16" fmla="*/ 8 w 102"/>
                  <a:gd name="T17" fmla="*/ 1 h 46"/>
                  <a:gd name="T18" fmla="*/ 13 w 102"/>
                  <a:gd name="T19" fmla="*/ 2 h 46"/>
                  <a:gd name="T20" fmla="*/ 17 w 102"/>
                  <a:gd name="T21" fmla="*/ 20 h 46"/>
                  <a:gd name="T22" fmla="*/ 21 w 102"/>
                  <a:gd name="T23" fmla="*/ 27 h 46"/>
                  <a:gd name="T24" fmla="*/ 24 w 102"/>
                  <a:gd name="T25" fmla="*/ 45 h 46"/>
                  <a:gd name="T26" fmla="*/ 30 w 102"/>
                  <a:gd name="T27" fmla="*/ 61 h 46"/>
                  <a:gd name="T28" fmla="*/ 36 w 102"/>
                  <a:gd name="T29" fmla="*/ 89 h 46"/>
                  <a:gd name="T30" fmla="*/ 41 w 102"/>
                  <a:gd name="T31" fmla="*/ 121 h 46"/>
                  <a:gd name="T32" fmla="*/ 49 w 102"/>
                  <a:gd name="T33" fmla="*/ 154 h 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2"/>
                  <a:gd name="T52" fmla="*/ 0 h 46"/>
                  <a:gd name="T53" fmla="*/ 102 w 102"/>
                  <a:gd name="T54" fmla="*/ 46 h 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2" h="46">
                    <a:moveTo>
                      <a:pt x="0" y="3"/>
                    </a:moveTo>
                    <a:lnTo>
                      <a:pt x="0" y="3"/>
                    </a:lnTo>
                    <a:lnTo>
                      <a:pt x="1" y="2"/>
                    </a:lnTo>
                    <a:lnTo>
                      <a:pt x="2" y="1"/>
                    </a:lnTo>
                    <a:lnTo>
                      <a:pt x="4" y="1"/>
                    </a:lnTo>
                    <a:lnTo>
                      <a:pt x="7" y="0"/>
                    </a:lnTo>
                    <a:lnTo>
                      <a:pt x="10" y="0"/>
                    </a:lnTo>
                    <a:lnTo>
                      <a:pt x="15" y="0"/>
                    </a:lnTo>
                    <a:lnTo>
                      <a:pt x="19" y="1"/>
                    </a:lnTo>
                    <a:lnTo>
                      <a:pt x="26" y="2"/>
                    </a:lnTo>
                    <a:lnTo>
                      <a:pt x="33" y="5"/>
                    </a:lnTo>
                    <a:lnTo>
                      <a:pt x="42" y="8"/>
                    </a:lnTo>
                    <a:lnTo>
                      <a:pt x="51" y="13"/>
                    </a:lnTo>
                    <a:lnTo>
                      <a:pt x="62" y="18"/>
                    </a:lnTo>
                    <a:lnTo>
                      <a:pt x="73" y="26"/>
                    </a:lnTo>
                    <a:lnTo>
                      <a:pt x="86" y="34"/>
                    </a:lnTo>
                    <a:lnTo>
                      <a:pt x="101" y="45"/>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62" name="Line 22">
                <a:extLst>
                  <a:ext uri="{FF2B5EF4-FFF2-40B4-BE49-F238E27FC236}">
                    <a16:creationId xmlns:a16="http://schemas.microsoft.com/office/drawing/2014/main" id="{3EA69890-A1B6-0C4B-ABD8-3762EC199B15}"/>
                  </a:ext>
                </a:extLst>
              </p:cNvPr>
              <p:cNvSpPr>
                <a:spLocks noChangeShapeType="1"/>
              </p:cNvSpPr>
              <p:nvPr/>
            </p:nvSpPr>
            <p:spPr bwMode="auto">
              <a:xfrm flipH="1" flipV="1">
                <a:off x="1788" y="3024"/>
                <a:ext cx="13" cy="1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63" name="Line 23">
                <a:extLst>
                  <a:ext uri="{FF2B5EF4-FFF2-40B4-BE49-F238E27FC236}">
                    <a16:creationId xmlns:a16="http://schemas.microsoft.com/office/drawing/2014/main" id="{45C6BC77-7A15-0004-50D3-DC34B9749603}"/>
                  </a:ext>
                </a:extLst>
              </p:cNvPr>
              <p:cNvSpPr>
                <a:spLocks noChangeShapeType="1"/>
              </p:cNvSpPr>
              <p:nvPr/>
            </p:nvSpPr>
            <p:spPr bwMode="auto">
              <a:xfrm flipH="1">
                <a:off x="1885" y="3075"/>
                <a:ext cx="12" cy="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64" name="Freeform 24">
                <a:extLst>
                  <a:ext uri="{FF2B5EF4-FFF2-40B4-BE49-F238E27FC236}">
                    <a16:creationId xmlns:a16="http://schemas.microsoft.com/office/drawing/2014/main" id="{29CCE542-BD20-2C1A-90C9-67813938B8B1}"/>
                  </a:ext>
                </a:extLst>
              </p:cNvPr>
              <p:cNvSpPr>
                <a:spLocks/>
              </p:cNvSpPr>
              <p:nvPr/>
            </p:nvSpPr>
            <p:spPr bwMode="auto">
              <a:xfrm>
                <a:off x="1890" y="3067"/>
                <a:ext cx="104" cy="26"/>
              </a:xfrm>
              <a:custGeom>
                <a:avLst/>
                <a:gdLst>
                  <a:gd name="T0" fmla="*/ 0 w 109"/>
                  <a:gd name="T1" fmla="*/ 37 h 23"/>
                  <a:gd name="T2" fmla="*/ 6 w 109"/>
                  <a:gd name="T3" fmla="*/ 58 h 23"/>
                  <a:gd name="T4" fmla="*/ 10 w 109"/>
                  <a:gd name="T5" fmla="*/ 68 h 23"/>
                  <a:gd name="T6" fmla="*/ 10 w 109"/>
                  <a:gd name="T7" fmla="*/ 85 h 23"/>
                  <a:gd name="T8" fmla="*/ 14 w 109"/>
                  <a:gd name="T9" fmla="*/ 96 h 23"/>
                  <a:gd name="T10" fmla="*/ 21 w 109"/>
                  <a:gd name="T11" fmla="*/ 97 h 23"/>
                  <a:gd name="T12" fmla="*/ 25 w 109"/>
                  <a:gd name="T13" fmla="*/ 97 h 23"/>
                  <a:gd name="T14" fmla="*/ 29 w 109"/>
                  <a:gd name="T15" fmla="*/ 97 h 23"/>
                  <a:gd name="T16" fmla="*/ 32 w 109"/>
                  <a:gd name="T17" fmla="*/ 97 h 23"/>
                  <a:gd name="T18" fmla="*/ 36 w 109"/>
                  <a:gd name="T19" fmla="*/ 96 h 23"/>
                  <a:gd name="T20" fmla="*/ 42 w 109"/>
                  <a:gd name="T21" fmla="*/ 85 h 23"/>
                  <a:gd name="T22" fmla="*/ 46 w 109"/>
                  <a:gd name="T23" fmla="*/ 75 h 23"/>
                  <a:gd name="T24" fmla="*/ 49 w 109"/>
                  <a:gd name="T25" fmla="*/ 60 h 23"/>
                  <a:gd name="T26" fmla="*/ 52 w 109"/>
                  <a:gd name="T27" fmla="*/ 47 h 23"/>
                  <a:gd name="T28" fmla="*/ 56 w 109"/>
                  <a:gd name="T29" fmla="*/ 33 h 23"/>
                  <a:gd name="T30" fmla="*/ 59 w 109"/>
                  <a:gd name="T31" fmla="*/ 20 h 23"/>
                  <a:gd name="T32" fmla="*/ 62 w 109"/>
                  <a:gd name="T33" fmla="*/ 0 h 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9"/>
                  <a:gd name="T52" fmla="*/ 0 h 23"/>
                  <a:gd name="T53" fmla="*/ 109 w 109"/>
                  <a:gd name="T54" fmla="*/ 23 h 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9" h="23">
                    <a:moveTo>
                      <a:pt x="0" y="9"/>
                    </a:moveTo>
                    <a:lnTo>
                      <a:pt x="6" y="13"/>
                    </a:lnTo>
                    <a:lnTo>
                      <a:pt x="12" y="16"/>
                    </a:lnTo>
                    <a:lnTo>
                      <a:pt x="19" y="19"/>
                    </a:lnTo>
                    <a:lnTo>
                      <a:pt x="26" y="21"/>
                    </a:lnTo>
                    <a:lnTo>
                      <a:pt x="34" y="22"/>
                    </a:lnTo>
                    <a:lnTo>
                      <a:pt x="42" y="22"/>
                    </a:lnTo>
                    <a:lnTo>
                      <a:pt x="50" y="22"/>
                    </a:lnTo>
                    <a:lnTo>
                      <a:pt x="57" y="22"/>
                    </a:lnTo>
                    <a:lnTo>
                      <a:pt x="64" y="21"/>
                    </a:lnTo>
                    <a:lnTo>
                      <a:pt x="72" y="19"/>
                    </a:lnTo>
                    <a:lnTo>
                      <a:pt x="79" y="17"/>
                    </a:lnTo>
                    <a:lnTo>
                      <a:pt x="86" y="14"/>
                    </a:lnTo>
                    <a:lnTo>
                      <a:pt x="92" y="11"/>
                    </a:lnTo>
                    <a:lnTo>
                      <a:pt x="98" y="8"/>
                    </a:lnTo>
                    <a:lnTo>
                      <a:pt x="104" y="4"/>
                    </a:lnTo>
                    <a:lnTo>
                      <a:pt x="108"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65" name="Line 25">
                <a:extLst>
                  <a:ext uri="{FF2B5EF4-FFF2-40B4-BE49-F238E27FC236}">
                    <a16:creationId xmlns:a16="http://schemas.microsoft.com/office/drawing/2014/main" id="{DA949F78-4880-4387-E4B2-3D432BF8E1E2}"/>
                  </a:ext>
                </a:extLst>
              </p:cNvPr>
              <p:cNvSpPr>
                <a:spLocks noChangeShapeType="1"/>
              </p:cNvSpPr>
              <p:nvPr/>
            </p:nvSpPr>
            <p:spPr bwMode="auto">
              <a:xfrm flipV="1">
                <a:off x="1888" y="3071"/>
                <a:ext cx="4" cy="1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66" name="Line 26">
                <a:extLst>
                  <a:ext uri="{FF2B5EF4-FFF2-40B4-BE49-F238E27FC236}">
                    <a16:creationId xmlns:a16="http://schemas.microsoft.com/office/drawing/2014/main" id="{FAC7CF5C-7EDE-6E6B-85EF-DC76C70492C3}"/>
                  </a:ext>
                </a:extLst>
              </p:cNvPr>
              <p:cNvSpPr>
                <a:spLocks noChangeShapeType="1"/>
              </p:cNvSpPr>
              <p:nvPr/>
            </p:nvSpPr>
            <p:spPr bwMode="auto">
              <a:xfrm>
                <a:off x="1991" y="3065"/>
                <a:ext cx="4" cy="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67" name="Freeform 27">
                <a:extLst>
                  <a:ext uri="{FF2B5EF4-FFF2-40B4-BE49-F238E27FC236}">
                    <a16:creationId xmlns:a16="http://schemas.microsoft.com/office/drawing/2014/main" id="{C263134D-E0B3-BCD8-2BA6-65EB6B9B18CF}"/>
                  </a:ext>
                </a:extLst>
              </p:cNvPr>
              <p:cNvSpPr>
                <a:spLocks/>
              </p:cNvSpPr>
              <p:nvPr/>
            </p:nvSpPr>
            <p:spPr bwMode="auto">
              <a:xfrm>
                <a:off x="1956" y="2946"/>
                <a:ext cx="42" cy="122"/>
              </a:xfrm>
              <a:custGeom>
                <a:avLst/>
                <a:gdLst>
                  <a:gd name="T0" fmla="*/ 26 w 43"/>
                  <a:gd name="T1" fmla="*/ 377 h 110"/>
                  <a:gd name="T2" fmla="*/ 29 w 43"/>
                  <a:gd name="T3" fmla="*/ 359 h 110"/>
                  <a:gd name="T4" fmla="*/ 30 w 43"/>
                  <a:gd name="T5" fmla="*/ 340 h 110"/>
                  <a:gd name="T6" fmla="*/ 29 w 43"/>
                  <a:gd name="T7" fmla="*/ 317 h 110"/>
                  <a:gd name="T8" fmla="*/ 26 w 43"/>
                  <a:gd name="T9" fmla="*/ 289 h 110"/>
                  <a:gd name="T10" fmla="*/ 22 w 43"/>
                  <a:gd name="T11" fmla="*/ 263 h 110"/>
                  <a:gd name="T12" fmla="*/ 21 w 43"/>
                  <a:gd name="T13" fmla="*/ 237 h 110"/>
                  <a:gd name="T14" fmla="*/ 21 w 43"/>
                  <a:gd name="T15" fmla="*/ 211 h 110"/>
                  <a:gd name="T16" fmla="*/ 18 w 43"/>
                  <a:gd name="T17" fmla="*/ 184 h 110"/>
                  <a:gd name="T18" fmla="*/ 12 w 43"/>
                  <a:gd name="T19" fmla="*/ 154 h 110"/>
                  <a:gd name="T20" fmla="*/ 8 w 43"/>
                  <a:gd name="T21" fmla="*/ 125 h 110"/>
                  <a:gd name="T22" fmla="*/ 3 w 43"/>
                  <a:gd name="T23" fmla="*/ 99 h 110"/>
                  <a:gd name="T24" fmla="*/ 1 w 43"/>
                  <a:gd name="T25" fmla="*/ 75 h 110"/>
                  <a:gd name="T26" fmla="*/ 0 w 43"/>
                  <a:gd name="T27" fmla="*/ 53 h 110"/>
                  <a:gd name="T28" fmla="*/ 0 w 43"/>
                  <a:gd name="T29" fmla="*/ 33 h 110"/>
                  <a:gd name="T30" fmla="*/ 3 w 43"/>
                  <a:gd name="T31" fmla="*/ 4 h 110"/>
                  <a:gd name="T32" fmla="*/ 9 w 43"/>
                  <a:gd name="T33" fmla="*/ 0 h 1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110"/>
                  <a:gd name="T53" fmla="*/ 43 w 43"/>
                  <a:gd name="T54" fmla="*/ 110 h 1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110">
                    <a:moveTo>
                      <a:pt x="38" y="109"/>
                    </a:moveTo>
                    <a:lnTo>
                      <a:pt x="41" y="104"/>
                    </a:lnTo>
                    <a:lnTo>
                      <a:pt x="42" y="98"/>
                    </a:lnTo>
                    <a:lnTo>
                      <a:pt x="41" y="91"/>
                    </a:lnTo>
                    <a:lnTo>
                      <a:pt x="38" y="84"/>
                    </a:lnTo>
                    <a:lnTo>
                      <a:pt x="34" y="77"/>
                    </a:lnTo>
                    <a:lnTo>
                      <a:pt x="29" y="69"/>
                    </a:lnTo>
                    <a:lnTo>
                      <a:pt x="23" y="61"/>
                    </a:lnTo>
                    <a:lnTo>
                      <a:pt x="18" y="53"/>
                    </a:lnTo>
                    <a:lnTo>
                      <a:pt x="12" y="45"/>
                    </a:lnTo>
                    <a:lnTo>
                      <a:pt x="8" y="37"/>
                    </a:lnTo>
                    <a:lnTo>
                      <a:pt x="3" y="29"/>
                    </a:lnTo>
                    <a:lnTo>
                      <a:pt x="1" y="22"/>
                    </a:lnTo>
                    <a:lnTo>
                      <a:pt x="0" y="15"/>
                    </a:lnTo>
                    <a:lnTo>
                      <a:pt x="0" y="10"/>
                    </a:lnTo>
                    <a:lnTo>
                      <a:pt x="3" y="4"/>
                    </a:lnTo>
                    <a:lnTo>
                      <a:pt x="9"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68" name="Line 28">
                <a:extLst>
                  <a:ext uri="{FF2B5EF4-FFF2-40B4-BE49-F238E27FC236}">
                    <a16:creationId xmlns:a16="http://schemas.microsoft.com/office/drawing/2014/main" id="{E2858859-8771-7778-3409-9947E4AB6644}"/>
                  </a:ext>
                </a:extLst>
              </p:cNvPr>
              <p:cNvSpPr>
                <a:spLocks noChangeShapeType="1"/>
              </p:cNvSpPr>
              <p:nvPr/>
            </p:nvSpPr>
            <p:spPr bwMode="auto">
              <a:xfrm flipH="1" flipV="1">
                <a:off x="1988" y="3061"/>
                <a:ext cx="11" cy="1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69" name="Line 29">
                <a:extLst>
                  <a:ext uri="{FF2B5EF4-FFF2-40B4-BE49-F238E27FC236}">
                    <a16:creationId xmlns:a16="http://schemas.microsoft.com/office/drawing/2014/main" id="{ADFDAA94-8F72-31EC-C369-11A821B3DD16}"/>
                  </a:ext>
                </a:extLst>
              </p:cNvPr>
              <p:cNvSpPr>
                <a:spLocks noChangeShapeType="1"/>
              </p:cNvSpPr>
              <p:nvPr/>
            </p:nvSpPr>
            <p:spPr bwMode="auto">
              <a:xfrm>
                <a:off x="1964" y="2943"/>
                <a:ext cx="2" cy="6"/>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70" name="Freeform 30">
                <a:extLst>
                  <a:ext uri="{FF2B5EF4-FFF2-40B4-BE49-F238E27FC236}">
                    <a16:creationId xmlns:a16="http://schemas.microsoft.com/office/drawing/2014/main" id="{C31B4474-8BB3-3696-3A26-F84E0FDD4174}"/>
                  </a:ext>
                </a:extLst>
              </p:cNvPr>
              <p:cNvSpPr>
                <a:spLocks/>
              </p:cNvSpPr>
              <p:nvPr/>
            </p:nvSpPr>
            <p:spPr bwMode="auto">
              <a:xfrm>
                <a:off x="1965" y="2820"/>
                <a:ext cx="69" cy="127"/>
              </a:xfrm>
              <a:custGeom>
                <a:avLst/>
                <a:gdLst>
                  <a:gd name="T0" fmla="*/ 0 w 73"/>
                  <a:gd name="T1" fmla="*/ 459 h 113"/>
                  <a:gd name="T2" fmla="*/ 8 w 73"/>
                  <a:gd name="T3" fmla="*/ 437 h 113"/>
                  <a:gd name="T4" fmla="*/ 9 w 73"/>
                  <a:gd name="T5" fmla="*/ 420 h 113"/>
                  <a:gd name="T6" fmla="*/ 11 w 73"/>
                  <a:gd name="T7" fmla="*/ 397 h 113"/>
                  <a:gd name="T8" fmla="*/ 16 w 73"/>
                  <a:gd name="T9" fmla="*/ 371 h 113"/>
                  <a:gd name="T10" fmla="*/ 19 w 73"/>
                  <a:gd name="T11" fmla="*/ 346 h 113"/>
                  <a:gd name="T12" fmla="*/ 22 w 73"/>
                  <a:gd name="T13" fmla="*/ 314 h 113"/>
                  <a:gd name="T14" fmla="*/ 24 w 73"/>
                  <a:gd name="T15" fmla="*/ 282 h 113"/>
                  <a:gd name="T16" fmla="*/ 26 w 73"/>
                  <a:gd name="T17" fmla="*/ 251 h 113"/>
                  <a:gd name="T18" fmla="*/ 29 w 73"/>
                  <a:gd name="T19" fmla="*/ 215 h 113"/>
                  <a:gd name="T20" fmla="*/ 32 w 73"/>
                  <a:gd name="T21" fmla="*/ 183 h 113"/>
                  <a:gd name="T22" fmla="*/ 33 w 73"/>
                  <a:gd name="T23" fmla="*/ 151 h 113"/>
                  <a:gd name="T24" fmla="*/ 35 w 73"/>
                  <a:gd name="T25" fmla="*/ 119 h 113"/>
                  <a:gd name="T26" fmla="*/ 37 w 73"/>
                  <a:gd name="T27" fmla="*/ 88 h 113"/>
                  <a:gd name="T28" fmla="*/ 37 w 73"/>
                  <a:gd name="T29" fmla="*/ 54 h 113"/>
                  <a:gd name="T30" fmla="*/ 37 w 73"/>
                  <a:gd name="T31" fmla="*/ 27 h 113"/>
                  <a:gd name="T32" fmla="*/ 37 w 73"/>
                  <a:gd name="T33" fmla="*/ 0 h 1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3"/>
                  <a:gd name="T52" fmla="*/ 0 h 113"/>
                  <a:gd name="T53" fmla="*/ 73 w 73"/>
                  <a:gd name="T54" fmla="*/ 113 h 1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3" h="113">
                    <a:moveTo>
                      <a:pt x="0" y="112"/>
                    </a:moveTo>
                    <a:lnTo>
                      <a:pt x="8" y="108"/>
                    </a:lnTo>
                    <a:lnTo>
                      <a:pt x="15" y="104"/>
                    </a:lnTo>
                    <a:lnTo>
                      <a:pt x="23" y="98"/>
                    </a:lnTo>
                    <a:lnTo>
                      <a:pt x="29" y="92"/>
                    </a:lnTo>
                    <a:lnTo>
                      <a:pt x="35" y="85"/>
                    </a:lnTo>
                    <a:lnTo>
                      <a:pt x="42" y="77"/>
                    </a:lnTo>
                    <a:lnTo>
                      <a:pt x="47" y="69"/>
                    </a:lnTo>
                    <a:lnTo>
                      <a:pt x="53" y="61"/>
                    </a:lnTo>
                    <a:lnTo>
                      <a:pt x="57" y="53"/>
                    </a:lnTo>
                    <a:lnTo>
                      <a:pt x="62" y="45"/>
                    </a:lnTo>
                    <a:lnTo>
                      <a:pt x="65" y="37"/>
                    </a:lnTo>
                    <a:lnTo>
                      <a:pt x="69" y="29"/>
                    </a:lnTo>
                    <a:lnTo>
                      <a:pt x="71" y="21"/>
                    </a:lnTo>
                    <a:lnTo>
                      <a:pt x="72" y="13"/>
                    </a:lnTo>
                    <a:lnTo>
                      <a:pt x="72" y="7"/>
                    </a:lnTo>
                    <a:lnTo>
                      <a:pt x="71"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71" name="Line 31">
                <a:extLst>
                  <a:ext uri="{FF2B5EF4-FFF2-40B4-BE49-F238E27FC236}">
                    <a16:creationId xmlns:a16="http://schemas.microsoft.com/office/drawing/2014/main" id="{342D0A17-8B58-3137-3C0E-B4F047305E03}"/>
                  </a:ext>
                </a:extLst>
              </p:cNvPr>
              <p:cNvSpPr>
                <a:spLocks noChangeShapeType="1"/>
              </p:cNvSpPr>
              <p:nvPr/>
            </p:nvSpPr>
            <p:spPr bwMode="auto">
              <a:xfrm flipH="1" flipV="1">
                <a:off x="1960" y="2939"/>
                <a:ext cx="10" cy="1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72" name="Line 32">
                <a:extLst>
                  <a:ext uri="{FF2B5EF4-FFF2-40B4-BE49-F238E27FC236}">
                    <a16:creationId xmlns:a16="http://schemas.microsoft.com/office/drawing/2014/main" id="{84F8E00E-234C-F6CC-6F17-AE07862EC4DF}"/>
                  </a:ext>
                </a:extLst>
              </p:cNvPr>
              <p:cNvSpPr>
                <a:spLocks noChangeShapeType="1"/>
              </p:cNvSpPr>
              <p:nvPr/>
            </p:nvSpPr>
            <p:spPr bwMode="auto">
              <a:xfrm flipV="1">
                <a:off x="2030" y="2816"/>
                <a:ext cx="5" cy="1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73" name="Freeform 33">
                <a:extLst>
                  <a:ext uri="{FF2B5EF4-FFF2-40B4-BE49-F238E27FC236}">
                    <a16:creationId xmlns:a16="http://schemas.microsoft.com/office/drawing/2014/main" id="{09258454-3F6B-B28B-7967-A47CBEECE407}"/>
                  </a:ext>
                </a:extLst>
              </p:cNvPr>
              <p:cNvSpPr>
                <a:spLocks/>
              </p:cNvSpPr>
              <p:nvPr/>
            </p:nvSpPr>
            <p:spPr bwMode="auto">
              <a:xfrm>
                <a:off x="2031" y="2616"/>
                <a:ext cx="32" cy="206"/>
              </a:xfrm>
              <a:custGeom>
                <a:avLst/>
                <a:gdLst>
                  <a:gd name="T0" fmla="*/ 1 w 34"/>
                  <a:gd name="T1" fmla="*/ 710 h 184"/>
                  <a:gd name="T2" fmla="*/ 0 w 34"/>
                  <a:gd name="T3" fmla="*/ 682 h 184"/>
                  <a:gd name="T4" fmla="*/ 0 w 34"/>
                  <a:gd name="T5" fmla="*/ 646 h 184"/>
                  <a:gd name="T6" fmla="*/ 0 w 34"/>
                  <a:gd name="T7" fmla="*/ 609 h 184"/>
                  <a:gd name="T8" fmla="*/ 1 w 34"/>
                  <a:gd name="T9" fmla="*/ 562 h 184"/>
                  <a:gd name="T10" fmla="*/ 3 w 34"/>
                  <a:gd name="T11" fmla="*/ 516 h 184"/>
                  <a:gd name="T12" fmla="*/ 6 w 34"/>
                  <a:gd name="T13" fmla="*/ 468 h 184"/>
                  <a:gd name="T14" fmla="*/ 8 w 34"/>
                  <a:gd name="T15" fmla="*/ 412 h 184"/>
                  <a:gd name="T16" fmla="*/ 8 w 34"/>
                  <a:gd name="T17" fmla="*/ 357 h 184"/>
                  <a:gd name="T18" fmla="*/ 8 w 34"/>
                  <a:gd name="T19" fmla="*/ 307 h 184"/>
                  <a:gd name="T20" fmla="*/ 8 w 34"/>
                  <a:gd name="T21" fmla="*/ 255 h 184"/>
                  <a:gd name="T22" fmla="*/ 8 w 34"/>
                  <a:gd name="T23" fmla="*/ 202 h 184"/>
                  <a:gd name="T24" fmla="*/ 11 w 34"/>
                  <a:gd name="T25" fmla="*/ 156 h 184"/>
                  <a:gd name="T26" fmla="*/ 13 w 34"/>
                  <a:gd name="T27" fmla="*/ 107 h 184"/>
                  <a:gd name="T28" fmla="*/ 14 w 34"/>
                  <a:gd name="T29" fmla="*/ 67 h 184"/>
                  <a:gd name="T30" fmla="*/ 16 w 34"/>
                  <a:gd name="T31" fmla="*/ 30 h 184"/>
                  <a:gd name="T32" fmla="*/ 17 w 34"/>
                  <a:gd name="T33" fmla="*/ 0 h 18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184"/>
                  <a:gd name="T53" fmla="*/ 34 w 34"/>
                  <a:gd name="T54" fmla="*/ 184 h 18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184">
                    <a:moveTo>
                      <a:pt x="1" y="183"/>
                    </a:moveTo>
                    <a:lnTo>
                      <a:pt x="0" y="176"/>
                    </a:lnTo>
                    <a:lnTo>
                      <a:pt x="0" y="167"/>
                    </a:lnTo>
                    <a:lnTo>
                      <a:pt x="0" y="157"/>
                    </a:lnTo>
                    <a:lnTo>
                      <a:pt x="1" y="146"/>
                    </a:lnTo>
                    <a:lnTo>
                      <a:pt x="3" y="134"/>
                    </a:lnTo>
                    <a:lnTo>
                      <a:pt x="6" y="121"/>
                    </a:lnTo>
                    <a:lnTo>
                      <a:pt x="8" y="107"/>
                    </a:lnTo>
                    <a:lnTo>
                      <a:pt x="10" y="93"/>
                    </a:lnTo>
                    <a:lnTo>
                      <a:pt x="14" y="79"/>
                    </a:lnTo>
                    <a:lnTo>
                      <a:pt x="17" y="66"/>
                    </a:lnTo>
                    <a:lnTo>
                      <a:pt x="19" y="52"/>
                    </a:lnTo>
                    <a:lnTo>
                      <a:pt x="23" y="40"/>
                    </a:lnTo>
                    <a:lnTo>
                      <a:pt x="26" y="28"/>
                    </a:lnTo>
                    <a:lnTo>
                      <a:pt x="28" y="17"/>
                    </a:lnTo>
                    <a:lnTo>
                      <a:pt x="31" y="8"/>
                    </a:lnTo>
                    <a:lnTo>
                      <a:pt x="33"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74" name="Line 34">
                <a:extLst>
                  <a:ext uri="{FF2B5EF4-FFF2-40B4-BE49-F238E27FC236}">
                    <a16:creationId xmlns:a16="http://schemas.microsoft.com/office/drawing/2014/main" id="{A343D727-37E4-5003-2B16-7C71A3E2FE89}"/>
                  </a:ext>
                </a:extLst>
              </p:cNvPr>
              <p:cNvSpPr>
                <a:spLocks noChangeShapeType="1"/>
              </p:cNvSpPr>
              <p:nvPr/>
            </p:nvSpPr>
            <p:spPr bwMode="auto">
              <a:xfrm flipH="1">
                <a:off x="2026" y="2820"/>
                <a:ext cx="13" cy="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75" name="Line 35">
                <a:extLst>
                  <a:ext uri="{FF2B5EF4-FFF2-40B4-BE49-F238E27FC236}">
                    <a16:creationId xmlns:a16="http://schemas.microsoft.com/office/drawing/2014/main" id="{BB210790-BABE-4429-16FD-934160944BBA}"/>
                  </a:ext>
                </a:extLst>
              </p:cNvPr>
              <p:cNvSpPr>
                <a:spLocks noChangeShapeType="1"/>
              </p:cNvSpPr>
              <p:nvPr/>
            </p:nvSpPr>
            <p:spPr bwMode="auto">
              <a:xfrm>
                <a:off x="2059" y="2616"/>
                <a:ext cx="5"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76" name="Freeform 36">
                <a:extLst>
                  <a:ext uri="{FF2B5EF4-FFF2-40B4-BE49-F238E27FC236}">
                    <a16:creationId xmlns:a16="http://schemas.microsoft.com/office/drawing/2014/main" id="{BCA05E6F-8EC0-8002-A762-AE973A8ECEB3}"/>
                  </a:ext>
                </a:extLst>
              </p:cNvPr>
              <p:cNvSpPr>
                <a:spLocks/>
              </p:cNvSpPr>
              <p:nvPr/>
            </p:nvSpPr>
            <p:spPr bwMode="auto">
              <a:xfrm>
                <a:off x="2062" y="2443"/>
                <a:ext cx="175" cy="174"/>
              </a:xfrm>
              <a:custGeom>
                <a:avLst/>
                <a:gdLst>
                  <a:gd name="T0" fmla="*/ 0 w 185"/>
                  <a:gd name="T1" fmla="*/ 578 h 156"/>
                  <a:gd name="T2" fmla="*/ 2 w 185"/>
                  <a:gd name="T3" fmla="*/ 545 h 156"/>
                  <a:gd name="T4" fmla="*/ 9 w 185"/>
                  <a:gd name="T5" fmla="*/ 514 h 156"/>
                  <a:gd name="T6" fmla="*/ 9 w 185"/>
                  <a:gd name="T7" fmla="*/ 478 h 156"/>
                  <a:gd name="T8" fmla="*/ 17 w 185"/>
                  <a:gd name="T9" fmla="*/ 433 h 156"/>
                  <a:gd name="T10" fmla="*/ 24 w 185"/>
                  <a:gd name="T11" fmla="*/ 388 h 156"/>
                  <a:gd name="T12" fmla="*/ 32 w 185"/>
                  <a:gd name="T13" fmla="*/ 347 h 156"/>
                  <a:gd name="T14" fmla="*/ 40 w 185"/>
                  <a:gd name="T15" fmla="*/ 299 h 156"/>
                  <a:gd name="T16" fmla="*/ 48 w 185"/>
                  <a:gd name="T17" fmla="*/ 255 h 156"/>
                  <a:gd name="T18" fmla="*/ 57 w 185"/>
                  <a:gd name="T19" fmla="*/ 212 h 156"/>
                  <a:gd name="T20" fmla="*/ 65 w 185"/>
                  <a:gd name="T21" fmla="*/ 165 h 156"/>
                  <a:gd name="T22" fmla="*/ 73 w 185"/>
                  <a:gd name="T23" fmla="*/ 125 h 156"/>
                  <a:gd name="T24" fmla="*/ 80 w 185"/>
                  <a:gd name="T25" fmla="*/ 95 h 156"/>
                  <a:gd name="T26" fmla="*/ 86 w 185"/>
                  <a:gd name="T27" fmla="*/ 61 h 156"/>
                  <a:gd name="T28" fmla="*/ 91 w 185"/>
                  <a:gd name="T29" fmla="*/ 31 h 156"/>
                  <a:gd name="T30" fmla="*/ 94 w 185"/>
                  <a:gd name="T31" fmla="*/ 4 h 156"/>
                  <a:gd name="T32" fmla="*/ 95 w 185"/>
                  <a:gd name="T33" fmla="*/ 0 h 1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5"/>
                  <a:gd name="T52" fmla="*/ 0 h 156"/>
                  <a:gd name="T53" fmla="*/ 185 w 185"/>
                  <a:gd name="T54" fmla="*/ 156 h 15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5" h="156">
                    <a:moveTo>
                      <a:pt x="0" y="155"/>
                    </a:moveTo>
                    <a:lnTo>
                      <a:pt x="2" y="147"/>
                    </a:lnTo>
                    <a:lnTo>
                      <a:pt x="9" y="138"/>
                    </a:lnTo>
                    <a:lnTo>
                      <a:pt x="19" y="128"/>
                    </a:lnTo>
                    <a:lnTo>
                      <a:pt x="31" y="117"/>
                    </a:lnTo>
                    <a:lnTo>
                      <a:pt x="46" y="105"/>
                    </a:lnTo>
                    <a:lnTo>
                      <a:pt x="61" y="93"/>
                    </a:lnTo>
                    <a:lnTo>
                      <a:pt x="77" y="81"/>
                    </a:lnTo>
                    <a:lnTo>
                      <a:pt x="94" y="69"/>
                    </a:lnTo>
                    <a:lnTo>
                      <a:pt x="111" y="57"/>
                    </a:lnTo>
                    <a:lnTo>
                      <a:pt x="128" y="45"/>
                    </a:lnTo>
                    <a:lnTo>
                      <a:pt x="142" y="34"/>
                    </a:lnTo>
                    <a:lnTo>
                      <a:pt x="156" y="25"/>
                    </a:lnTo>
                    <a:lnTo>
                      <a:pt x="167" y="16"/>
                    </a:lnTo>
                    <a:lnTo>
                      <a:pt x="176" y="9"/>
                    </a:lnTo>
                    <a:lnTo>
                      <a:pt x="182" y="4"/>
                    </a:lnTo>
                    <a:lnTo>
                      <a:pt x="184"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77" name="Line 37">
                <a:extLst>
                  <a:ext uri="{FF2B5EF4-FFF2-40B4-BE49-F238E27FC236}">
                    <a16:creationId xmlns:a16="http://schemas.microsoft.com/office/drawing/2014/main" id="{6CAB27BF-F944-1417-E47B-D2DD888B22B5}"/>
                  </a:ext>
                </a:extLst>
              </p:cNvPr>
              <p:cNvSpPr>
                <a:spLocks noChangeShapeType="1"/>
              </p:cNvSpPr>
              <p:nvPr/>
            </p:nvSpPr>
            <p:spPr bwMode="auto">
              <a:xfrm flipH="1">
                <a:off x="2055" y="2616"/>
                <a:ext cx="12"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78" name="Line 38">
                <a:extLst>
                  <a:ext uri="{FF2B5EF4-FFF2-40B4-BE49-F238E27FC236}">
                    <a16:creationId xmlns:a16="http://schemas.microsoft.com/office/drawing/2014/main" id="{536DBEF5-9DEE-52EB-7924-3D86FDB5070F}"/>
                  </a:ext>
                </a:extLst>
              </p:cNvPr>
              <p:cNvSpPr>
                <a:spLocks noChangeShapeType="1"/>
              </p:cNvSpPr>
              <p:nvPr/>
            </p:nvSpPr>
            <p:spPr bwMode="auto">
              <a:xfrm>
                <a:off x="2234" y="2443"/>
                <a:ext cx="6"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79" name="Freeform 39">
                <a:extLst>
                  <a:ext uri="{FF2B5EF4-FFF2-40B4-BE49-F238E27FC236}">
                    <a16:creationId xmlns:a16="http://schemas.microsoft.com/office/drawing/2014/main" id="{10EB970A-E62A-CA90-CDA9-08F89168FC24}"/>
                  </a:ext>
                </a:extLst>
              </p:cNvPr>
              <p:cNvSpPr>
                <a:spLocks/>
              </p:cNvSpPr>
              <p:nvPr/>
            </p:nvSpPr>
            <p:spPr bwMode="auto">
              <a:xfrm>
                <a:off x="2216" y="2355"/>
                <a:ext cx="21" cy="89"/>
              </a:xfrm>
              <a:custGeom>
                <a:avLst/>
                <a:gdLst>
                  <a:gd name="T0" fmla="*/ 11 w 22"/>
                  <a:gd name="T1" fmla="*/ 285 h 80"/>
                  <a:gd name="T2" fmla="*/ 11 w 22"/>
                  <a:gd name="T3" fmla="*/ 275 h 80"/>
                  <a:gd name="T4" fmla="*/ 11 w 22"/>
                  <a:gd name="T5" fmla="*/ 257 h 80"/>
                  <a:gd name="T6" fmla="*/ 11 w 22"/>
                  <a:gd name="T7" fmla="*/ 240 h 80"/>
                  <a:gd name="T8" fmla="*/ 11 w 22"/>
                  <a:gd name="T9" fmla="*/ 222 h 80"/>
                  <a:gd name="T10" fmla="*/ 11 w 22"/>
                  <a:gd name="T11" fmla="*/ 200 h 80"/>
                  <a:gd name="T12" fmla="*/ 9 w 22"/>
                  <a:gd name="T13" fmla="*/ 180 h 80"/>
                  <a:gd name="T14" fmla="*/ 6 w 22"/>
                  <a:gd name="T15" fmla="*/ 151 h 80"/>
                  <a:gd name="T16" fmla="*/ 4 w 22"/>
                  <a:gd name="T17" fmla="*/ 132 h 80"/>
                  <a:gd name="T18" fmla="*/ 2 w 22"/>
                  <a:gd name="T19" fmla="*/ 107 h 80"/>
                  <a:gd name="T20" fmla="*/ 1 w 22"/>
                  <a:gd name="T21" fmla="*/ 86 h 80"/>
                  <a:gd name="T22" fmla="*/ 0 w 22"/>
                  <a:gd name="T23" fmla="*/ 62 h 80"/>
                  <a:gd name="T24" fmla="*/ 2 w 22"/>
                  <a:gd name="T25" fmla="*/ 41 h 80"/>
                  <a:gd name="T26" fmla="*/ 4 w 22"/>
                  <a:gd name="T27" fmla="*/ 24 h 80"/>
                  <a:gd name="T28" fmla="*/ 8 w 22"/>
                  <a:gd name="T29" fmla="*/ 4 h 80"/>
                  <a:gd name="T30" fmla="*/ 11 w 22"/>
                  <a:gd name="T31" fmla="*/ 1 h 80"/>
                  <a:gd name="T32" fmla="*/ 11 w 22"/>
                  <a:gd name="T33" fmla="*/ 0 h 8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80"/>
                  <a:gd name="T53" fmla="*/ 22 w 22"/>
                  <a:gd name="T54" fmla="*/ 80 h 8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80">
                    <a:moveTo>
                      <a:pt x="21" y="79"/>
                    </a:moveTo>
                    <a:lnTo>
                      <a:pt x="21" y="76"/>
                    </a:lnTo>
                    <a:lnTo>
                      <a:pt x="19" y="72"/>
                    </a:lnTo>
                    <a:lnTo>
                      <a:pt x="17" y="67"/>
                    </a:lnTo>
                    <a:lnTo>
                      <a:pt x="14" y="61"/>
                    </a:lnTo>
                    <a:lnTo>
                      <a:pt x="11" y="55"/>
                    </a:lnTo>
                    <a:lnTo>
                      <a:pt x="9" y="49"/>
                    </a:lnTo>
                    <a:lnTo>
                      <a:pt x="6" y="42"/>
                    </a:lnTo>
                    <a:lnTo>
                      <a:pt x="4" y="36"/>
                    </a:lnTo>
                    <a:lnTo>
                      <a:pt x="2" y="29"/>
                    </a:lnTo>
                    <a:lnTo>
                      <a:pt x="1" y="23"/>
                    </a:lnTo>
                    <a:lnTo>
                      <a:pt x="0" y="17"/>
                    </a:lnTo>
                    <a:lnTo>
                      <a:pt x="2" y="12"/>
                    </a:lnTo>
                    <a:lnTo>
                      <a:pt x="4" y="7"/>
                    </a:lnTo>
                    <a:lnTo>
                      <a:pt x="8" y="4"/>
                    </a:lnTo>
                    <a:lnTo>
                      <a:pt x="13" y="1"/>
                    </a:lnTo>
                    <a:lnTo>
                      <a:pt x="21"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80" name="Line 40">
                <a:extLst>
                  <a:ext uri="{FF2B5EF4-FFF2-40B4-BE49-F238E27FC236}">
                    <a16:creationId xmlns:a16="http://schemas.microsoft.com/office/drawing/2014/main" id="{7B446300-CCD6-890D-ED57-453D03741E5D}"/>
                  </a:ext>
                </a:extLst>
              </p:cNvPr>
              <p:cNvSpPr>
                <a:spLocks noChangeShapeType="1"/>
              </p:cNvSpPr>
              <p:nvPr/>
            </p:nvSpPr>
            <p:spPr bwMode="auto">
              <a:xfrm flipH="1">
                <a:off x="2230" y="2443"/>
                <a:ext cx="14"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81" name="Line 41">
                <a:extLst>
                  <a:ext uri="{FF2B5EF4-FFF2-40B4-BE49-F238E27FC236}">
                    <a16:creationId xmlns:a16="http://schemas.microsoft.com/office/drawing/2014/main" id="{ABB805B9-28D1-6CC4-0ECE-47592DAD60A6}"/>
                  </a:ext>
                </a:extLst>
              </p:cNvPr>
              <p:cNvSpPr>
                <a:spLocks noChangeShapeType="1"/>
              </p:cNvSpPr>
              <p:nvPr/>
            </p:nvSpPr>
            <p:spPr bwMode="auto">
              <a:xfrm>
                <a:off x="2236" y="2352"/>
                <a:ext cx="0" cy="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82" name="Freeform 42">
                <a:extLst>
                  <a:ext uri="{FF2B5EF4-FFF2-40B4-BE49-F238E27FC236}">
                    <a16:creationId xmlns:a16="http://schemas.microsoft.com/office/drawing/2014/main" id="{DEE01305-4705-7499-FE6C-8F696A1ADD47}"/>
                  </a:ext>
                </a:extLst>
              </p:cNvPr>
              <p:cNvSpPr>
                <a:spLocks/>
              </p:cNvSpPr>
              <p:nvPr/>
            </p:nvSpPr>
            <p:spPr bwMode="auto">
              <a:xfrm>
                <a:off x="2236" y="2281"/>
                <a:ext cx="33" cy="75"/>
              </a:xfrm>
              <a:custGeom>
                <a:avLst/>
                <a:gdLst>
                  <a:gd name="T0" fmla="*/ 0 w 35"/>
                  <a:gd name="T1" fmla="*/ 255 h 67"/>
                  <a:gd name="T2" fmla="*/ 8 w 35"/>
                  <a:gd name="T3" fmla="*/ 251 h 67"/>
                  <a:gd name="T4" fmla="*/ 8 w 35"/>
                  <a:gd name="T5" fmla="*/ 234 h 67"/>
                  <a:gd name="T6" fmla="*/ 8 w 35"/>
                  <a:gd name="T7" fmla="*/ 225 h 67"/>
                  <a:gd name="T8" fmla="*/ 13 w 35"/>
                  <a:gd name="T9" fmla="*/ 204 h 67"/>
                  <a:gd name="T10" fmla="*/ 15 w 35"/>
                  <a:gd name="T11" fmla="*/ 186 h 67"/>
                  <a:gd name="T12" fmla="*/ 16 w 35"/>
                  <a:gd name="T13" fmla="*/ 166 h 67"/>
                  <a:gd name="T14" fmla="*/ 17 w 35"/>
                  <a:gd name="T15" fmla="*/ 143 h 67"/>
                  <a:gd name="T16" fmla="*/ 17 w 35"/>
                  <a:gd name="T17" fmla="*/ 120 h 67"/>
                  <a:gd name="T18" fmla="*/ 18 w 35"/>
                  <a:gd name="T19" fmla="*/ 96 h 67"/>
                  <a:gd name="T20" fmla="*/ 18 w 35"/>
                  <a:gd name="T21" fmla="*/ 75 h 67"/>
                  <a:gd name="T22" fmla="*/ 18 w 35"/>
                  <a:gd name="T23" fmla="*/ 55 h 67"/>
                  <a:gd name="T24" fmla="*/ 17 w 35"/>
                  <a:gd name="T25" fmla="*/ 34 h 67"/>
                  <a:gd name="T26" fmla="*/ 17 w 35"/>
                  <a:gd name="T27" fmla="*/ 21 h 67"/>
                  <a:gd name="T28" fmla="*/ 17 w 35"/>
                  <a:gd name="T29" fmla="*/ 2 h 67"/>
                  <a:gd name="T30" fmla="*/ 17 w 35"/>
                  <a:gd name="T31" fmla="*/ 0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5"/>
                  <a:gd name="T49" fmla="*/ 0 h 67"/>
                  <a:gd name="T50" fmla="*/ 35 w 35"/>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5" h="67">
                    <a:moveTo>
                      <a:pt x="0" y="66"/>
                    </a:moveTo>
                    <a:lnTo>
                      <a:pt x="8" y="64"/>
                    </a:lnTo>
                    <a:lnTo>
                      <a:pt x="15" y="61"/>
                    </a:lnTo>
                    <a:lnTo>
                      <a:pt x="20" y="58"/>
                    </a:lnTo>
                    <a:lnTo>
                      <a:pt x="25" y="53"/>
                    </a:lnTo>
                    <a:lnTo>
                      <a:pt x="28" y="48"/>
                    </a:lnTo>
                    <a:lnTo>
                      <a:pt x="31" y="43"/>
                    </a:lnTo>
                    <a:lnTo>
                      <a:pt x="32" y="37"/>
                    </a:lnTo>
                    <a:lnTo>
                      <a:pt x="33" y="31"/>
                    </a:lnTo>
                    <a:lnTo>
                      <a:pt x="34" y="25"/>
                    </a:lnTo>
                    <a:lnTo>
                      <a:pt x="34" y="19"/>
                    </a:lnTo>
                    <a:lnTo>
                      <a:pt x="34" y="14"/>
                    </a:lnTo>
                    <a:lnTo>
                      <a:pt x="33" y="9"/>
                    </a:lnTo>
                    <a:lnTo>
                      <a:pt x="33" y="5"/>
                    </a:lnTo>
                    <a:lnTo>
                      <a:pt x="32" y="2"/>
                    </a:lnTo>
                    <a:lnTo>
                      <a:pt x="32"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83" name="Line 43">
                <a:extLst>
                  <a:ext uri="{FF2B5EF4-FFF2-40B4-BE49-F238E27FC236}">
                    <a16:creationId xmlns:a16="http://schemas.microsoft.com/office/drawing/2014/main" id="{A864176D-8891-954C-29AA-E61E5CBD2CAD}"/>
                  </a:ext>
                </a:extLst>
              </p:cNvPr>
              <p:cNvSpPr>
                <a:spLocks noChangeShapeType="1"/>
              </p:cNvSpPr>
              <p:nvPr/>
            </p:nvSpPr>
            <p:spPr bwMode="auto">
              <a:xfrm flipV="1">
                <a:off x="2236" y="2347"/>
                <a:ext cx="0"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84" name="Line 44">
                <a:extLst>
                  <a:ext uri="{FF2B5EF4-FFF2-40B4-BE49-F238E27FC236}">
                    <a16:creationId xmlns:a16="http://schemas.microsoft.com/office/drawing/2014/main" id="{7EC9FF25-A696-8C7C-FB41-3C3547B01918}"/>
                  </a:ext>
                </a:extLst>
              </p:cNvPr>
              <p:cNvSpPr>
                <a:spLocks noChangeShapeType="1"/>
              </p:cNvSpPr>
              <p:nvPr/>
            </p:nvSpPr>
            <p:spPr bwMode="auto">
              <a:xfrm flipV="1">
                <a:off x="2263" y="2276"/>
                <a:ext cx="5" cy="1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85" name="Freeform 45">
                <a:extLst>
                  <a:ext uri="{FF2B5EF4-FFF2-40B4-BE49-F238E27FC236}">
                    <a16:creationId xmlns:a16="http://schemas.microsoft.com/office/drawing/2014/main" id="{82FA0763-255F-9846-D6E1-894ED4DA4A4E}"/>
                  </a:ext>
                </a:extLst>
              </p:cNvPr>
              <p:cNvSpPr>
                <a:spLocks/>
              </p:cNvSpPr>
              <p:nvPr/>
            </p:nvSpPr>
            <p:spPr bwMode="auto">
              <a:xfrm>
                <a:off x="2244" y="2155"/>
                <a:ext cx="23" cy="127"/>
              </a:xfrm>
              <a:custGeom>
                <a:avLst/>
                <a:gdLst>
                  <a:gd name="T0" fmla="*/ 9 w 25"/>
                  <a:gd name="T1" fmla="*/ 413 h 114"/>
                  <a:gd name="T2" fmla="*/ 9 w 25"/>
                  <a:gd name="T3" fmla="*/ 411 h 114"/>
                  <a:gd name="T4" fmla="*/ 8 w 25"/>
                  <a:gd name="T5" fmla="*/ 392 h 114"/>
                  <a:gd name="T6" fmla="*/ 8 w 25"/>
                  <a:gd name="T7" fmla="*/ 379 h 114"/>
                  <a:gd name="T8" fmla="*/ 6 w 25"/>
                  <a:gd name="T9" fmla="*/ 352 h 114"/>
                  <a:gd name="T10" fmla="*/ 6 w 25"/>
                  <a:gd name="T11" fmla="*/ 329 h 114"/>
                  <a:gd name="T12" fmla="*/ 6 w 25"/>
                  <a:gd name="T13" fmla="*/ 299 h 114"/>
                  <a:gd name="T14" fmla="*/ 6 w 25"/>
                  <a:gd name="T15" fmla="*/ 265 h 114"/>
                  <a:gd name="T16" fmla="*/ 6 w 25"/>
                  <a:gd name="T17" fmla="*/ 229 h 114"/>
                  <a:gd name="T18" fmla="*/ 6 w 25"/>
                  <a:gd name="T19" fmla="*/ 194 h 114"/>
                  <a:gd name="T20" fmla="*/ 6 w 25"/>
                  <a:gd name="T21" fmla="*/ 163 h 114"/>
                  <a:gd name="T22" fmla="*/ 6 w 25"/>
                  <a:gd name="T23" fmla="*/ 123 h 114"/>
                  <a:gd name="T24" fmla="*/ 3 w 25"/>
                  <a:gd name="T25" fmla="*/ 91 h 114"/>
                  <a:gd name="T26" fmla="*/ 2 w 25"/>
                  <a:gd name="T27" fmla="*/ 62 h 114"/>
                  <a:gd name="T28" fmla="*/ 1 w 25"/>
                  <a:gd name="T29" fmla="*/ 35 h 114"/>
                  <a:gd name="T30" fmla="*/ 0 w 25"/>
                  <a:gd name="T31" fmla="*/ 4 h 114"/>
                  <a:gd name="T32" fmla="*/ 0 w 25"/>
                  <a:gd name="T33" fmla="*/ 0 h 1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
                  <a:gd name="T52" fmla="*/ 0 h 114"/>
                  <a:gd name="T53" fmla="*/ 25 w 25"/>
                  <a:gd name="T54" fmla="*/ 114 h 1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 h="114">
                    <a:moveTo>
                      <a:pt x="24" y="113"/>
                    </a:moveTo>
                    <a:lnTo>
                      <a:pt x="24" y="112"/>
                    </a:lnTo>
                    <a:lnTo>
                      <a:pt x="23" y="108"/>
                    </a:lnTo>
                    <a:lnTo>
                      <a:pt x="22" y="104"/>
                    </a:lnTo>
                    <a:lnTo>
                      <a:pt x="19" y="97"/>
                    </a:lnTo>
                    <a:lnTo>
                      <a:pt x="18" y="90"/>
                    </a:lnTo>
                    <a:lnTo>
                      <a:pt x="16" y="82"/>
                    </a:lnTo>
                    <a:lnTo>
                      <a:pt x="14" y="73"/>
                    </a:lnTo>
                    <a:lnTo>
                      <a:pt x="11" y="63"/>
                    </a:lnTo>
                    <a:lnTo>
                      <a:pt x="9" y="53"/>
                    </a:lnTo>
                    <a:lnTo>
                      <a:pt x="7" y="44"/>
                    </a:lnTo>
                    <a:lnTo>
                      <a:pt x="6" y="34"/>
                    </a:lnTo>
                    <a:lnTo>
                      <a:pt x="3" y="25"/>
                    </a:lnTo>
                    <a:lnTo>
                      <a:pt x="2" y="17"/>
                    </a:lnTo>
                    <a:lnTo>
                      <a:pt x="1" y="10"/>
                    </a:lnTo>
                    <a:lnTo>
                      <a:pt x="0" y="4"/>
                    </a:lnTo>
                    <a:lnTo>
                      <a:pt x="0"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86" name="Line 46">
                <a:extLst>
                  <a:ext uri="{FF2B5EF4-FFF2-40B4-BE49-F238E27FC236}">
                    <a16:creationId xmlns:a16="http://schemas.microsoft.com/office/drawing/2014/main" id="{6876CFAC-F39D-D68D-206C-F38849A5A2FB}"/>
                  </a:ext>
                </a:extLst>
              </p:cNvPr>
              <p:cNvSpPr>
                <a:spLocks noChangeShapeType="1"/>
              </p:cNvSpPr>
              <p:nvPr/>
            </p:nvSpPr>
            <p:spPr bwMode="auto">
              <a:xfrm flipH="1">
                <a:off x="2260" y="2280"/>
                <a:ext cx="12"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87" name="Line 47">
                <a:extLst>
                  <a:ext uri="{FF2B5EF4-FFF2-40B4-BE49-F238E27FC236}">
                    <a16:creationId xmlns:a16="http://schemas.microsoft.com/office/drawing/2014/main" id="{84C7E9E6-6D13-61ED-2CCC-B3232BEADE85}"/>
                  </a:ext>
                </a:extLst>
              </p:cNvPr>
              <p:cNvSpPr>
                <a:spLocks noChangeShapeType="1"/>
              </p:cNvSpPr>
              <p:nvPr/>
            </p:nvSpPr>
            <p:spPr bwMode="auto">
              <a:xfrm>
                <a:off x="2242" y="2155"/>
                <a:ext cx="5"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88" name="Freeform 48">
                <a:extLst>
                  <a:ext uri="{FF2B5EF4-FFF2-40B4-BE49-F238E27FC236}">
                    <a16:creationId xmlns:a16="http://schemas.microsoft.com/office/drawing/2014/main" id="{1E57560E-D509-E200-4578-D0636B62E82F}"/>
                  </a:ext>
                </a:extLst>
              </p:cNvPr>
              <p:cNvSpPr>
                <a:spLocks/>
              </p:cNvSpPr>
              <p:nvPr/>
            </p:nvSpPr>
            <p:spPr bwMode="auto">
              <a:xfrm>
                <a:off x="2244" y="2046"/>
                <a:ext cx="29" cy="110"/>
              </a:xfrm>
              <a:custGeom>
                <a:avLst/>
                <a:gdLst>
                  <a:gd name="T0" fmla="*/ 0 w 31"/>
                  <a:gd name="T1" fmla="*/ 346 h 99"/>
                  <a:gd name="T2" fmla="*/ 0 w 31"/>
                  <a:gd name="T3" fmla="*/ 333 h 99"/>
                  <a:gd name="T4" fmla="*/ 2 w 31"/>
                  <a:gd name="T5" fmla="*/ 318 h 99"/>
                  <a:gd name="T6" fmla="*/ 5 w 31"/>
                  <a:gd name="T7" fmla="*/ 292 h 99"/>
                  <a:gd name="T8" fmla="*/ 7 w 31"/>
                  <a:gd name="T9" fmla="*/ 276 h 99"/>
                  <a:gd name="T10" fmla="*/ 7 w 31"/>
                  <a:gd name="T11" fmla="*/ 249 h 99"/>
                  <a:gd name="T12" fmla="*/ 7 w 31"/>
                  <a:gd name="T13" fmla="*/ 224 h 99"/>
                  <a:gd name="T14" fmla="*/ 7 w 31"/>
                  <a:gd name="T15" fmla="*/ 201 h 99"/>
                  <a:gd name="T16" fmla="*/ 9 w 31"/>
                  <a:gd name="T17" fmla="*/ 170 h 99"/>
                  <a:gd name="T18" fmla="*/ 11 w 31"/>
                  <a:gd name="T19" fmla="*/ 148 h 99"/>
                  <a:gd name="T20" fmla="*/ 13 w 31"/>
                  <a:gd name="T21" fmla="*/ 121 h 99"/>
                  <a:gd name="T22" fmla="*/ 14 w 31"/>
                  <a:gd name="T23" fmla="*/ 97 h 99"/>
                  <a:gd name="T24" fmla="*/ 14 w 31"/>
                  <a:gd name="T25" fmla="*/ 70 h 99"/>
                  <a:gd name="T26" fmla="*/ 14 w 31"/>
                  <a:gd name="T27" fmla="*/ 51 h 99"/>
                  <a:gd name="T28" fmla="*/ 14 w 31"/>
                  <a:gd name="T29" fmla="*/ 27 h 99"/>
                  <a:gd name="T30" fmla="*/ 13 w 31"/>
                  <a:gd name="T31" fmla="*/ 4 h 99"/>
                  <a:gd name="T32" fmla="*/ 11 w 31"/>
                  <a:gd name="T33" fmla="*/ 0 h 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1"/>
                  <a:gd name="T52" fmla="*/ 0 h 99"/>
                  <a:gd name="T53" fmla="*/ 31 w 31"/>
                  <a:gd name="T54" fmla="*/ 99 h 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1" h="99">
                    <a:moveTo>
                      <a:pt x="0" y="98"/>
                    </a:moveTo>
                    <a:lnTo>
                      <a:pt x="0" y="94"/>
                    </a:lnTo>
                    <a:lnTo>
                      <a:pt x="2" y="89"/>
                    </a:lnTo>
                    <a:lnTo>
                      <a:pt x="5" y="83"/>
                    </a:lnTo>
                    <a:lnTo>
                      <a:pt x="7" y="77"/>
                    </a:lnTo>
                    <a:lnTo>
                      <a:pt x="10" y="70"/>
                    </a:lnTo>
                    <a:lnTo>
                      <a:pt x="14" y="63"/>
                    </a:lnTo>
                    <a:lnTo>
                      <a:pt x="17" y="56"/>
                    </a:lnTo>
                    <a:lnTo>
                      <a:pt x="21" y="49"/>
                    </a:lnTo>
                    <a:lnTo>
                      <a:pt x="24" y="41"/>
                    </a:lnTo>
                    <a:lnTo>
                      <a:pt x="27" y="34"/>
                    </a:lnTo>
                    <a:lnTo>
                      <a:pt x="29" y="27"/>
                    </a:lnTo>
                    <a:lnTo>
                      <a:pt x="30" y="20"/>
                    </a:lnTo>
                    <a:lnTo>
                      <a:pt x="30" y="14"/>
                    </a:lnTo>
                    <a:lnTo>
                      <a:pt x="30" y="8"/>
                    </a:lnTo>
                    <a:lnTo>
                      <a:pt x="28" y="4"/>
                    </a:lnTo>
                    <a:lnTo>
                      <a:pt x="24"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89" name="Line 49">
                <a:extLst>
                  <a:ext uri="{FF2B5EF4-FFF2-40B4-BE49-F238E27FC236}">
                    <a16:creationId xmlns:a16="http://schemas.microsoft.com/office/drawing/2014/main" id="{FE4116C3-C1ED-8F61-98BA-14636772EA76}"/>
                  </a:ext>
                </a:extLst>
              </p:cNvPr>
              <p:cNvSpPr>
                <a:spLocks noChangeShapeType="1"/>
              </p:cNvSpPr>
              <p:nvPr/>
            </p:nvSpPr>
            <p:spPr bwMode="auto">
              <a:xfrm flipH="1">
                <a:off x="2237" y="2155"/>
                <a:ext cx="14"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90" name="Line 50">
                <a:extLst>
                  <a:ext uri="{FF2B5EF4-FFF2-40B4-BE49-F238E27FC236}">
                    <a16:creationId xmlns:a16="http://schemas.microsoft.com/office/drawing/2014/main" id="{6E558820-2E4D-822B-BA2C-121C9726AEF1}"/>
                  </a:ext>
                </a:extLst>
              </p:cNvPr>
              <p:cNvSpPr>
                <a:spLocks noChangeShapeType="1"/>
              </p:cNvSpPr>
              <p:nvPr/>
            </p:nvSpPr>
            <p:spPr bwMode="auto">
              <a:xfrm flipV="1">
                <a:off x="2264" y="2039"/>
                <a:ext cx="3" cy="1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91" name="Freeform 51">
                <a:extLst>
                  <a:ext uri="{FF2B5EF4-FFF2-40B4-BE49-F238E27FC236}">
                    <a16:creationId xmlns:a16="http://schemas.microsoft.com/office/drawing/2014/main" id="{F9A9C0ED-F564-E2AC-4424-8589D1835C67}"/>
                  </a:ext>
                </a:extLst>
              </p:cNvPr>
              <p:cNvSpPr>
                <a:spLocks/>
              </p:cNvSpPr>
              <p:nvPr/>
            </p:nvSpPr>
            <p:spPr bwMode="auto">
              <a:xfrm>
                <a:off x="2249" y="1945"/>
                <a:ext cx="18" cy="102"/>
              </a:xfrm>
              <a:custGeom>
                <a:avLst/>
                <a:gdLst>
                  <a:gd name="T0" fmla="*/ 9 w 19"/>
                  <a:gd name="T1" fmla="*/ 353 h 91"/>
                  <a:gd name="T2" fmla="*/ 9 w 19"/>
                  <a:gd name="T3" fmla="*/ 339 h 91"/>
                  <a:gd name="T4" fmla="*/ 9 w 19"/>
                  <a:gd name="T5" fmla="*/ 316 h 91"/>
                  <a:gd name="T6" fmla="*/ 7 w 19"/>
                  <a:gd name="T7" fmla="*/ 293 h 91"/>
                  <a:gd name="T8" fmla="*/ 5 w 19"/>
                  <a:gd name="T9" fmla="*/ 263 h 91"/>
                  <a:gd name="T10" fmla="*/ 2 w 19"/>
                  <a:gd name="T11" fmla="*/ 235 h 91"/>
                  <a:gd name="T12" fmla="*/ 1 w 19"/>
                  <a:gd name="T13" fmla="*/ 210 h 91"/>
                  <a:gd name="T14" fmla="*/ 0 w 19"/>
                  <a:gd name="T15" fmla="*/ 185 h 91"/>
                  <a:gd name="T16" fmla="*/ 0 w 19"/>
                  <a:gd name="T17" fmla="*/ 159 h 91"/>
                  <a:gd name="T18" fmla="*/ 0 w 19"/>
                  <a:gd name="T19" fmla="*/ 127 h 91"/>
                  <a:gd name="T20" fmla="*/ 1 w 19"/>
                  <a:gd name="T21" fmla="*/ 96 h 91"/>
                  <a:gd name="T22" fmla="*/ 2 w 19"/>
                  <a:gd name="T23" fmla="*/ 76 h 91"/>
                  <a:gd name="T24" fmla="*/ 5 w 19"/>
                  <a:gd name="T25" fmla="*/ 54 h 91"/>
                  <a:gd name="T26" fmla="*/ 7 w 19"/>
                  <a:gd name="T27" fmla="*/ 34 h 91"/>
                  <a:gd name="T28" fmla="*/ 9 w 19"/>
                  <a:gd name="T29" fmla="*/ 4 h 91"/>
                  <a:gd name="T30" fmla="*/ 9 w 19"/>
                  <a:gd name="T31" fmla="*/ 2 h 91"/>
                  <a:gd name="T32" fmla="*/ 9 w 19"/>
                  <a:gd name="T33" fmla="*/ 0 h 9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91"/>
                  <a:gd name="T53" fmla="*/ 19 w 19"/>
                  <a:gd name="T54" fmla="*/ 91 h 9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91">
                    <a:moveTo>
                      <a:pt x="18" y="90"/>
                    </a:moveTo>
                    <a:lnTo>
                      <a:pt x="14" y="86"/>
                    </a:lnTo>
                    <a:lnTo>
                      <a:pt x="10" y="81"/>
                    </a:lnTo>
                    <a:lnTo>
                      <a:pt x="7" y="75"/>
                    </a:lnTo>
                    <a:lnTo>
                      <a:pt x="5" y="68"/>
                    </a:lnTo>
                    <a:lnTo>
                      <a:pt x="2" y="61"/>
                    </a:lnTo>
                    <a:lnTo>
                      <a:pt x="1" y="54"/>
                    </a:lnTo>
                    <a:lnTo>
                      <a:pt x="0" y="47"/>
                    </a:lnTo>
                    <a:lnTo>
                      <a:pt x="0" y="40"/>
                    </a:lnTo>
                    <a:lnTo>
                      <a:pt x="0" y="32"/>
                    </a:lnTo>
                    <a:lnTo>
                      <a:pt x="1" y="25"/>
                    </a:lnTo>
                    <a:lnTo>
                      <a:pt x="2" y="19"/>
                    </a:lnTo>
                    <a:lnTo>
                      <a:pt x="5" y="13"/>
                    </a:lnTo>
                    <a:lnTo>
                      <a:pt x="7" y="9"/>
                    </a:lnTo>
                    <a:lnTo>
                      <a:pt x="10" y="4"/>
                    </a:lnTo>
                    <a:lnTo>
                      <a:pt x="14" y="2"/>
                    </a:lnTo>
                    <a:lnTo>
                      <a:pt x="18"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92" name="Line 52">
                <a:extLst>
                  <a:ext uri="{FF2B5EF4-FFF2-40B4-BE49-F238E27FC236}">
                    <a16:creationId xmlns:a16="http://schemas.microsoft.com/office/drawing/2014/main" id="{E21F79B2-4CD8-AC4D-FE31-522E76F2D429}"/>
                  </a:ext>
                </a:extLst>
              </p:cNvPr>
              <p:cNvSpPr>
                <a:spLocks noChangeShapeType="1"/>
              </p:cNvSpPr>
              <p:nvPr/>
            </p:nvSpPr>
            <p:spPr bwMode="auto">
              <a:xfrm flipH="1">
                <a:off x="2261" y="2043"/>
                <a:ext cx="11" cy="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93" name="Line 53">
                <a:extLst>
                  <a:ext uri="{FF2B5EF4-FFF2-40B4-BE49-F238E27FC236}">
                    <a16:creationId xmlns:a16="http://schemas.microsoft.com/office/drawing/2014/main" id="{3D0AE808-83D2-30EC-42A7-8F5C85FCCBC8}"/>
                  </a:ext>
                </a:extLst>
              </p:cNvPr>
              <p:cNvSpPr>
                <a:spLocks noChangeShapeType="1"/>
              </p:cNvSpPr>
              <p:nvPr/>
            </p:nvSpPr>
            <p:spPr bwMode="auto">
              <a:xfrm>
                <a:off x="2265" y="1943"/>
                <a:ext cx="1" cy="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94" name="Freeform 54">
                <a:extLst>
                  <a:ext uri="{FF2B5EF4-FFF2-40B4-BE49-F238E27FC236}">
                    <a16:creationId xmlns:a16="http://schemas.microsoft.com/office/drawing/2014/main" id="{72707859-AF49-B6BA-7491-6F7B6F09FFDC}"/>
                  </a:ext>
                </a:extLst>
              </p:cNvPr>
              <p:cNvSpPr>
                <a:spLocks/>
              </p:cNvSpPr>
              <p:nvPr/>
            </p:nvSpPr>
            <p:spPr bwMode="auto">
              <a:xfrm>
                <a:off x="2266" y="1898"/>
                <a:ext cx="112" cy="48"/>
              </a:xfrm>
              <a:custGeom>
                <a:avLst/>
                <a:gdLst>
                  <a:gd name="T0" fmla="*/ 0 w 118"/>
                  <a:gd name="T1" fmla="*/ 156 h 43"/>
                  <a:gd name="T2" fmla="*/ 5 w 118"/>
                  <a:gd name="T3" fmla="*/ 152 h 43"/>
                  <a:gd name="T4" fmla="*/ 9 w 118"/>
                  <a:gd name="T5" fmla="*/ 147 h 43"/>
                  <a:gd name="T6" fmla="*/ 9 w 118"/>
                  <a:gd name="T7" fmla="*/ 136 h 43"/>
                  <a:gd name="T8" fmla="*/ 12 w 118"/>
                  <a:gd name="T9" fmla="*/ 125 h 43"/>
                  <a:gd name="T10" fmla="*/ 17 w 118"/>
                  <a:gd name="T11" fmla="*/ 118 h 43"/>
                  <a:gd name="T12" fmla="*/ 21 w 118"/>
                  <a:gd name="T13" fmla="*/ 106 h 43"/>
                  <a:gd name="T14" fmla="*/ 26 w 118"/>
                  <a:gd name="T15" fmla="*/ 95 h 43"/>
                  <a:gd name="T16" fmla="*/ 29 w 118"/>
                  <a:gd name="T17" fmla="*/ 78 h 43"/>
                  <a:gd name="T18" fmla="*/ 34 w 118"/>
                  <a:gd name="T19" fmla="*/ 68 h 43"/>
                  <a:gd name="T20" fmla="*/ 39 w 118"/>
                  <a:gd name="T21" fmla="*/ 55 h 43"/>
                  <a:gd name="T22" fmla="*/ 43 w 118"/>
                  <a:gd name="T23" fmla="*/ 40 h 43"/>
                  <a:gd name="T24" fmla="*/ 47 w 118"/>
                  <a:gd name="T25" fmla="*/ 29 h 43"/>
                  <a:gd name="T26" fmla="*/ 52 w 118"/>
                  <a:gd name="T27" fmla="*/ 21 h 43"/>
                  <a:gd name="T28" fmla="*/ 56 w 118"/>
                  <a:gd name="T29" fmla="*/ 3 h 43"/>
                  <a:gd name="T30" fmla="*/ 59 w 118"/>
                  <a:gd name="T31" fmla="*/ 1 h 43"/>
                  <a:gd name="T32" fmla="*/ 62 w 118"/>
                  <a:gd name="T33" fmla="*/ 0 h 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8"/>
                  <a:gd name="T52" fmla="*/ 0 h 43"/>
                  <a:gd name="T53" fmla="*/ 118 w 118"/>
                  <a:gd name="T54" fmla="*/ 43 h 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8" h="43">
                    <a:moveTo>
                      <a:pt x="0" y="42"/>
                    </a:moveTo>
                    <a:lnTo>
                      <a:pt x="5" y="41"/>
                    </a:lnTo>
                    <a:lnTo>
                      <a:pt x="10" y="39"/>
                    </a:lnTo>
                    <a:lnTo>
                      <a:pt x="17" y="37"/>
                    </a:lnTo>
                    <a:lnTo>
                      <a:pt x="24" y="34"/>
                    </a:lnTo>
                    <a:lnTo>
                      <a:pt x="30" y="31"/>
                    </a:lnTo>
                    <a:lnTo>
                      <a:pt x="38" y="28"/>
                    </a:lnTo>
                    <a:lnTo>
                      <a:pt x="47" y="25"/>
                    </a:lnTo>
                    <a:lnTo>
                      <a:pt x="55" y="21"/>
                    </a:lnTo>
                    <a:lnTo>
                      <a:pt x="63" y="18"/>
                    </a:lnTo>
                    <a:lnTo>
                      <a:pt x="72" y="14"/>
                    </a:lnTo>
                    <a:lnTo>
                      <a:pt x="80" y="11"/>
                    </a:lnTo>
                    <a:lnTo>
                      <a:pt x="89" y="8"/>
                    </a:lnTo>
                    <a:lnTo>
                      <a:pt x="97" y="5"/>
                    </a:lnTo>
                    <a:lnTo>
                      <a:pt x="104" y="3"/>
                    </a:lnTo>
                    <a:lnTo>
                      <a:pt x="110" y="1"/>
                    </a:lnTo>
                    <a:lnTo>
                      <a:pt x="117"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95" name="Line 55">
                <a:extLst>
                  <a:ext uri="{FF2B5EF4-FFF2-40B4-BE49-F238E27FC236}">
                    <a16:creationId xmlns:a16="http://schemas.microsoft.com/office/drawing/2014/main" id="{95EA2BB3-420E-6C84-DD0D-30A49C66F391}"/>
                  </a:ext>
                </a:extLst>
              </p:cNvPr>
              <p:cNvSpPr>
                <a:spLocks noChangeShapeType="1"/>
              </p:cNvSpPr>
              <p:nvPr/>
            </p:nvSpPr>
            <p:spPr bwMode="auto">
              <a:xfrm flipH="1" flipV="1">
                <a:off x="2262" y="1938"/>
                <a:ext cx="8"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96" name="Line 56">
                <a:extLst>
                  <a:ext uri="{FF2B5EF4-FFF2-40B4-BE49-F238E27FC236}">
                    <a16:creationId xmlns:a16="http://schemas.microsoft.com/office/drawing/2014/main" id="{C8BB4921-7887-1D4F-0ABE-132E483BECF4}"/>
                  </a:ext>
                </a:extLst>
              </p:cNvPr>
              <p:cNvSpPr>
                <a:spLocks noChangeShapeType="1"/>
              </p:cNvSpPr>
              <p:nvPr/>
            </p:nvSpPr>
            <p:spPr bwMode="auto">
              <a:xfrm>
                <a:off x="3729" y="1918"/>
                <a:ext cx="16" cy="7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97" name="Freeform 57">
                <a:extLst>
                  <a:ext uri="{FF2B5EF4-FFF2-40B4-BE49-F238E27FC236}">
                    <a16:creationId xmlns:a16="http://schemas.microsoft.com/office/drawing/2014/main" id="{D0B3DAC8-5ADD-7931-D487-34DA696D1BBB}"/>
                  </a:ext>
                </a:extLst>
              </p:cNvPr>
              <p:cNvSpPr>
                <a:spLocks/>
              </p:cNvSpPr>
              <p:nvPr/>
            </p:nvSpPr>
            <p:spPr bwMode="auto">
              <a:xfrm>
                <a:off x="3748" y="1998"/>
                <a:ext cx="97" cy="164"/>
              </a:xfrm>
              <a:custGeom>
                <a:avLst/>
                <a:gdLst>
                  <a:gd name="T0" fmla="*/ 0 w 102"/>
                  <a:gd name="T1" fmla="*/ 0 h 147"/>
                  <a:gd name="T2" fmla="*/ 0 w 102"/>
                  <a:gd name="T3" fmla="*/ 1 h 147"/>
                  <a:gd name="T4" fmla="*/ 3 w 102"/>
                  <a:gd name="T5" fmla="*/ 23 h 147"/>
                  <a:gd name="T6" fmla="*/ 7 w 102"/>
                  <a:gd name="T7" fmla="*/ 45 h 147"/>
                  <a:gd name="T8" fmla="*/ 10 w 102"/>
                  <a:gd name="T9" fmla="*/ 77 h 147"/>
                  <a:gd name="T10" fmla="*/ 10 w 102"/>
                  <a:gd name="T11" fmla="*/ 118 h 147"/>
                  <a:gd name="T12" fmla="*/ 15 w 102"/>
                  <a:gd name="T13" fmla="*/ 155 h 147"/>
                  <a:gd name="T14" fmla="*/ 21 w 102"/>
                  <a:gd name="T15" fmla="*/ 204 h 147"/>
                  <a:gd name="T16" fmla="*/ 25 w 102"/>
                  <a:gd name="T17" fmla="*/ 252 h 147"/>
                  <a:gd name="T18" fmla="*/ 29 w 102"/>
                  <a:gd name="T19" fmla="*/ 297 h 147"/>
                  <a:gd name="T20" fmla="*/ 34 w 102"/>
                  <a:gd name="T21" fmla="*/ 347 h 147"/>
                  <a:gd name="T22" fmla="*/ 40 w 102"/>
                  <a:gd name="T23" fmla="*/ 394 h 147"/>
                  <a:gd name="T24" fmla="*/ 44 w 102"/>
                  <a:gd name="T25" fmla="*/ 434 h 147"/>
                  <a:gd name="T26" fmla="*/ 47 w 102"/>
                  <a:gd name="T27" fmla="*/ 470 h 147"/>
                  <a:gd name="T28" fmla="*/ 50 w 102"/>
                  <a:gd name="T29" fmla="*/ 502 h 147"/>
                  <a:gd name="T30" fmla="*/ 53 w 102"/>
                  <a:gd name="T31" fmla="*/ 521 h 147"/>
                  <a:gd name="T32" fmla="*/ 56 w 102"/>
                  <a:gd name="T33" fmla="*/ 540 h 1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2"/>
                  <a:gd name="T52" fmla="*/ 0 h 147"/>
                  <a:gd name="T53" fmla="*/ 102 w 102"/>
                  <a:gd name="T54" fmla="*/ 147 h 14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2" h="147">
                    <a:moveTo>
                      <a:pt x="0" y="0"/>
                    </a:moveTo>
                    <a:lnTo>
                      <a:pt x="0" y="1"/>
                    </a:lnTo>
                    <a:lnTo>
                      <a:pt x="3" y="6"/>
                    </a:lnTo>
                    <a:lnTo>
                      <a:pt x="7" y="12"/>
                    </a:lnTo>
                    <a:lnTo>
                      <a:pt x="12" y="21"/>
                    </a:lnTo>
                    <a:lnTo>
                      <a:pt x="20" y="31"/>
                    </a:lnTo>
                    <a:lnTo>
                      <a:pt x="27" y="42"/>
                    </a:lnTo>
                    <a:lnTo>
                      <a:pt x="36" y="55"/>
                    </a:lnTo>
                    <a:lnTo>
                      <a:pt x="44" y="67"/>
                    </a:lnTo>
                    <a:lnTo>
                      <a:pt x="53" y="80"/>
                    </a:lnTo>
                    <a:lnTo>
                      <a:pt x="62" y="93"/>
                    </a:lnTo>
                    <a:lnTo>
                      <a:pt x="71" y="106"/>
                    </a:lnTo>
                    <a:lnTo>
                      <a:pt x="79" y="117"/>
                    </a:lnTo>
                    <a:lnTo>
                      <a:pt x="85" y="127"/>
                    </a:lnTo>
                    <a:lnTo>
                      <a:pt x="92" y="135"/>
                    </a:lnTo>
                    <a:lnTo>
                      <a:pt x="97" y="141"/>
                    </a:lnTo>
                    <a:lnTo>
                      <a:pt x="101" y="146"/>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98" name="Line 58">
                <a:extLst>
                  <a:ext uri="{FF2B5EF4-FFF2-40B4-BE49-F238E27FC236}">
                    <a16:creationId xmlns:a16="http://schemas.microsoft.com/office/drawing/2014/main" id="{E8D2BCBA-F72A-4D6F-DB9A-6A0A47F2F784}"/>
                  </a:ext>
                </a:extLst>
              </p:cNvPr>
              <p:cNvSpPr>
                <a:spLocks noChangeShapeType="1"/>
              </p:cNvSpPr>
              <p:nvPr/>
            </p:nvSpPr>
            <p:spPr bwMode="auto">
              <a:xfrm flipV="1">
                <a:off x="3745" y="1992"/>
                <a:ext cx="6" cy="1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99" name="Line 59">
                <a:extLst>
                  <a:ext uri="{FF2B5EF4-FFF2-40B4-BE49-F238E27FC236}">
                    <a16:creationId xmlns:a16="http://schemas.microsoft.com/office/drawing/2014/main" id="{109D058E-BAB0-60B5-E028-99417D8A1E12}"/>
                  </a:ext>
                </a:extLst>
              </p:cNvPr>
              <p:cNvSpPr>
                <a:spLocks noChangeShapeType="1"/>
              </p:cNvSpPr>
              <p:nvPr/>
            </p:nvSpPr>
            <p:spPr bwMode="auto">
              <a:xfrm flipH="1">
                <a:off x="3839" y="2158"/>
                <a:ext cx="11" cy="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00" name="Freeform 60">
                <a:extLst>
                  <a:ext uri="{FF2B5EF4-FFF2-40B4-BE49-F238E27FC236}">
                    <a16:creationId xmlns:a16="http://schemas.microsoft.com/office/drawing/2014/main" id="{1A791ED3-0E7B-1344-78CB-8523CC167DCA}"/>
                  </a:ext>
                </a:extLst>
              </p:cNvPr>
              <p:cNvSpPr>
                <a:spLocks/>
              </p:cNvSpPr>
              <p:nvPr/>
            </p:nvSpPr>
            <p:spPr bwMode="auto">
              <a:xfrm>
                <a:off x="3844" y="2161"/>
                <a:ext cx="60" cy="79"/>
              </a:xfrm>
              <a:custGeom>
                <a:avLst/>
                <a:gdLst>
                  <a:gd name="T0" fmla="*/ 0 w 63"/>
                  <a:gd name="T1" fmla="*/ 0 h 71"/>
                  <a:gd name="T2" fmla="*/ 2 w 63"/>
                  <a:gd name="T3" fmla="*/ 2 h 71"/>
                  <a:gd name="T4" fmla="*/ 6 w 63"/>
                  <a:gd name="T5" fmla="*/ 20 h 71"/>
                  <a:gd name="T6" fmla="*/ 9 w 63"/>
                  <a:gd name="T7" fmla="*/ 30 h 71"/>
                  <a:gd name="T8" fmla="*/ 10 w 63"/>
                  <a:gd name="T9" fmla="*/ 46 h 71"/>
                  <a:gd name="T10" fmla="*/ 10 w 63"/>
                  <a:gd name="T11" fmla="*/ 57 h 71"/>
                  <a:gd name="T12" fmla="*/ 10 w 63"/>
                  <a:gd name="T13" fmla="*/ 77 h 71"/>
                  <a:gd name="T14" fmla="*/ 12 w 63"/>
                  <a:gd name="T15" fmla="*/ 89 h 71"/>
                  <a:gd name="T16" fmla="*/ 16 w 63"/>
                  <a:gd name="T17" fmla="*/ 107 h 71"/>
                  <a:gd name="T18" fmla="*/ 19 w 63"/>
                  <a:gd name="T19" fmla="*/ 122 h 71"/>
                  <a:gd name="T20" fmla="*/ 21 w 63"/>
                  <a:gd name="T21" fmla="*/ 138 h 71"/>
                  <a:gd name="T22" fmla="*/ 23 w 63"/>
                  <a:gd name="T23" fmla="*/ 162 h 71"/>
                  <a:gd name="T24" fmla="*/ 25 w 63"/>
                  <a:gd name="T25" fmla="*/ 180 h 71"/>
                  <a:gd name="T26" fmla="*/ 27 w 63"/>
                  <a:gd name="T27" fmla="*/ 194 h 71"/>
                  <a:gd name="T28" fmla="*/ 29 w 63"/>
                  <a:gd name="T29" fmla="*/ 211 h 71"/>
                  <a:gd name="T30" fmla="*/ 31 w 63"/>
                  <a:gd name="T31" fmla="*/ 231 h 71"/>
                  <a:gd name="T32" fmla="*/ 34 w 63"/>
                  <a:gd name="T33" fmla="*/ 255 h 7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3"/>
                  <a:gd name="T52" fmla="*/ 0 h 71"/>
                  <a:gd name="T53" fmla="*/ 63 w 63"/>
                  <a:gd name="T54" fmla="*/ 71 h 7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3" h="71">
                    <a:moveTo>
                      <a:pt x="0" y="0"/>
                    </a:moveTo>
                    <a:lnTo>
                      <a:pt x="2" y="2"/>
                    </a:lnTo>
                    <a:lnTo>
                      <a:pt x="6" y="5"/>
                    </a:lnTo>
                    <a:lnTo>
                      <a:pt x="9" y="9"/>
                    </a:lnTo>
                    <a:lnTo>
                      <a:pt x="12" y="13"/>
                    </a:lnTo>
                    <a:lnTo>
                      <a:pt x="16" y="16"/>
                    </a:lnTo>
                    <a:lnTo>
                      <a:pt x="20" y="21"/>
                    </a:lnTo>
                    <a:lnTo>
                      <a:pt x="24" y="25"/>
                    </a:lnTo>
                    <a:lnTo>
                      <a:pt x="28" y="29"/>
                    </a:lnTo>
                    <a:lnTo>
                      <a:pt x="32" y="34"/>
                    </a:lnTo>
                    <a:lnTo>
                      <a:pt x="36" y="39"/>
                    </a:lnTo>
                    <a:lnTo>
                      <a:pt x="39" y="44"/>
                    </a:lnTo>
                    <a:lnTo>
                      <a:pt x="44" y="49"/>
                    </a:lnTo>
                    <a:lnTo>
                      <a:pt x="48" y="54"/>
                    </a:lnTo>
                    <a:lnTo>
                      <a:pt x="53" y="59"/>
                    </a:lnTo>
                    <a:lnTo>
                      <a:pt x="57" y="65"/>
                    </a:lnTo>
                    <a:lnTo>
                      <a:pt x="62" y="7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01" name="Line 61">
                <a:extLst>
                  <a:ext uri="{FF2B5EF4-FFF2-40B4-BE49-F238E27FC236}">
                    <a16:creationId xmlns:a16="http://schemas.microsoft.com/office/drawing/2014/main" id="{30F43924-8BDC-E7F7-15BC-31E264D39430}"/>
                  </a:ext>
                </a:extLst>
              </p:cNvPr>
              <p:cNvSpPr>
                <a:spLocks noChangeShapeType="1"/>
              </p:cNvSpPr>
              <p:nvPr/>
            </p:nvSpPr>
            <p:spPr bwMode="auto">
              <a:xfrm flipV="1">
                <a:off x="3842" y="2154"/>
                <a:ext cx="4" cy="1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02" name="Line 62">
                <a:extLst>
                  <a:ext uri="{FF2B5EF4-FFF2-40B4-BE49-F238E27FC236}">
                    <a16:creationId xmlns:a16="http://schemas.microsoft.com/office/drawing/2014/main" id="{50546C9B-451C-CD93-E152-6AA0DE4A8CEA}"/>
                  </a:ext>
                </a:extLst>
              </p:cNvPr>
              <p:cNvSpPr>
                <a:spLocks noChangeShapeType="1"/>
              </p:cNvSpPr>
              <p:nvPr/>
            </p:nvSpPr>
            <p:spPr bwMode="auto">
              <a:xfrm flipH="1">
                <a:off x="3898" y="2238"/>
                <a:ext cx="10" cy="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03" name="Freeform 63">
                <a:extLst>
                  <a:ext uri="{FF2B5EF4-FFF2-40B4-BE49-F238E27FC236}">
                    <a16:creationId xmlns:a16="http://schemas.microsoft.com/office/drawing/2014/main" id="{5A4121A3-C7B9-EAB9-56F4-7D8BE3FA8574}"/>
                  </a:ext>
                </a:extLst>
              </p:cNvPr>
              <p:cNvSpPr>
                <a:spLocks/>
              </p:cNvSpPr>
              <p:nvPr/>
            </p:nvSpPr>
            <p:spPr bwMode="auto">
              <a:xfrm>
                <a:off x="3903" y="2239"/>
                <a:ext cx="89" cy="180"/>
              </a:xfrm>
              <a:custGeom>
                <a:avLst/>
                <a:gdLst>
                  <a:gd name="T0" fmla="*/ 0 w 94"/>
                  <a:gd name="T1" fmla="*/ 0 h 161"/>
                  <a:gd name="T2" fmla="*/ 4 w 94"/>
                  <a:gd name="T3" fmla="*/ 23 h 161"/>
                  <a:gd name="T4" fmla="*/ 9 w 94"/>
                  <a:gd name="T5" fmla="*/ 55 h 161"/>
                  <a:gd name="T6" fmla="*/ 9 w 94"/>
                  <a:gd name="T7" fmla="*/ 87 h 161"/>
                  <a:gd name="T8" fmla="*/ 12 w 94"/>
                  <a:gd name="T9" fmla="*/ 130 h 161"/>
                  <a:gd name="T10" fmla="*/ 17 w 94"/>
                  <a:gd name="T11" fmla="*/ 176 h 161"/>
                  <a:gd name="T12" fmla="*/ 20 w 94"/>
                  <a:gd name="T13" fmla="*/ 225 h 161"/>
                  <a:gd name="T14" fmla="*/ 24 w 94"/>
                  <a:gd name="T15" fmla="*/ 268 h 161"/>
                  <a:gd name="T16" fmla="*/ 27 w 94"/>
                  <a:gd name="T17" fmla="*/ 316 h 161"/>
                  <a:gd name="T18" fmla="*/ 31 w 94"/>
                  <a:gd name="T19" fmla="*/ 368 h 161"/>
                  <a:gd name="T20" fmla="*/ 35 w 94"/>
                  <a:gd name="T21" fmla="*/ 413 h 161"/>
                  <a:gd name="T22" fmla="*/ 39 w 94"/>
                  <a:gd name="T23" fmla="*/ 460 h 161"/>
                  <a:gd name="T24" fmla="*/ 41 w 94"/>
                  <a:gd name="T25" fmla="*/ 498 h 161"/>
                  <a:gd name="T26" fmla="*/ 44 w 94"/>
                  <a:gd name="T27" fmla="*/ 536 h 161"/>
                  <a:gd name="T28" fmla="*/ 45 w 94"/>
                  <a:gd name="T29" fmla="*/ 560 h 161"/>
                  <a:gd name="T30" fmla="*/ 47 w 94"/>
                  <a:gd name="T31" fmla="*/ 589 h 161"/>
                  <a:gd name="T32" fmla="*/ 48 w 94"/>
                  <a:gd name="T33" fmla="*/ 612 h 1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4"/>
                  <a:gd name="T52" fmla="*/ 0 h 161"/>
                  <a:gd name="T53" fmla="*/ 94 w 94"/>
                  <a:gd name="T54" fmla="*/ 161 h 1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4" h="161">
                    <a:moveTo>
                      <a:pt x="0" y="0"/>
                    </a:moveTo>
                    <a:lnTo>
                      <a:pt x="4" y="6"/>
                    </a:lnTo>
                    <a:lnTo>
                      <a:pt x="10" y="14"/>
                    </a:lnTo>
                    <a:lnTo>
                      <a:pt x="17" y="23"/>
                    </a:lnTo>
                    <a:lnTo>
                      <a:pt x="24" y="34"/>
                    </a:lnTo>
                    <a:lnTo>
                      <a:pt x="30" y="46"/>
                    </a:lnTo>
                    <a:lnTo>
                      <a:pt x="37" y="58"/>
                    </a:lnTo>
                    <a:lnTo>
                      <a:pt x="45" y="71"/>
                    </a:lnTo>
                    <a:lnTo>
                      <a:pt x="53" y="83"/>
                    </a:lnTo>
                    <a:lnTo>
                      <a:pt x="59" y="96"/>
                    </a:lnTo>
                    <a:lnTo>
                      <a:pt x="66" y="108"/>
                    </a:lnTo>
                    <a:lnTo>
                      <a:pt x="73" y="120"/>
                    </a:lnTo>
                    <a:lnTo>
                      <a:pt x="78" y="131"/>
                    </a:lnTo>
                    <a:lnTo>
                      <a:pt x="84" y="140"/>
                    </a:lnTo>
                    <a:lnTo>
                      <a:pt x="87" y="148"/>
                    </a:lnTo>
                    <a:lnTo>
                      <a:pt x="91" y="155"/>
                    </a:lnTo>
                    <a:lnTo>
                      <a:pt x="93" y="16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04" name="Line 64">
                <a:extLst>
                  <a:ext uri="{FF2B5EF4-FFF2-40B4-BE49-F238E27FC236}">
                    <a16:creationId xmlns:a16="http://schemas.microsoft.com/office/drawing/2014/main" id="{04AC0304-9519-797C-3B92-09736A5E2719}"/>
                  </a:ext>
                </a:extLst>
              </p:cNvPr>
              <p:cNvSpPr>
                <a:spLocks noChangeShapeType="1"/>
              </p:cNvSpPr>
              <p:nvPr/>
            </p:nvSpPr>
            <p:spPr bwMode="auto">
              <a:xfrm flipV="1">
                <a:off x="3901" y="2233"/>
                <a:ext cx="4" cy="1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05" name="Line 65">
                <a:extLst>
                  <a:ext uri="{FF2B5EF4-FFF2-40B4-BE49-F238E27FC236}">
                    <a16:creationId xmlns:a16="http://schemas.microsoft.com/office/drawing/2014/main" id="{76D95975-45C8-98BC-22F2-82B5C93DC760}"/>
                  </a:ext>
                </a:extLst>
              </p:cNvPr>
              <p:cNvSpPr>
                <a:spLocks noChangeShapeType="1"/>
              </p:cNvSpPr>
              <p:nvPr/>
            </p:nvSpPr>
            <p:spPr bwMode="auto">
              <a:xfrm flipH="1">
                <a:off x="3985" y="2416"/>
                <a:ext cx="14"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06" name="Freeform 66">
                <a:extLst>
                  <a:ext uri="{FF2B5EF4-FFF2-40B4-BE49-F238E27FC236}">
                    <a16:creationId xmlns:a16="http://schemas.microsoft.com/office/drawing/2014/main" id="{F3C51AED-C1BC-933B-6C77-A5D03F81F5E0}"/>
                  </a:ext>
                </a:extLst>
              </p:cNvPr>
              <p:cNvSpPr>
                <a:spLocks/>
              </p:cNvSpPr>
              <p:nvPr/>
            </p:nvSpPr>
            <p:spPr bwMode="auto">
              <a:xfrm>
                <a:off x="3991" y="2417"/>
                <a:ext cx="82" cy="210"/>
              </a:xfrm>
              <a:custGeom>
                <a:avLst/>
                <a:gdLst>
                  <a:gd name="T0" fmla="*/ 0 w 87"/>
                  <a:gd name="T1" fmla="*/ 0 h 188"/>
                  <a:gd name="T2" fmla="*/ 2 w 87"/>
                  <a:gd name="T3" fmla="*/ 4 h 188"/>
                  <a:gd name="T4" fmla="*/ 5 w 87"/>
                  <a:gd name="T5" fmla="*/ 45 h 188"/>
                  <a:gd name="T6" fmla="*/ 8 w 87"/>
                  <a:gd name="T7" fmla="*/ 78 h 188"/>
                  <a:gd name="T8" fmla="*/ 8 w 87"/>
                  <a:gd name="T9" fmla="*/ 122 h 188"/>
                  <a:gd name="T10" fmla="*/ 8 w 87"/>
                  <a:gd name="T11" fmla="*/ 170 h 188"/>
                  <a:gd name="T12" fmla="*/ 13 w 87"/>
                  <a:gd name="T13" fmla="*/ 227 h 188"/>
                  <a:gd name="T14" fmla="*/ 16 w 87"/>
                  <a:gd name="T15" fmla="*/ 284 h 188"/>
                  <a:gd name="T16" fmla="*/ 19 w 87"/>
                  <a:gd name="T17" fmla="*/ 343 h 188"/>
                  <a:gd name="T18" fmla="*/ 22 w 87"/>
                  <a:gd name="T19" fmla="*/ 395 h 188"/>
                  <a:gd name="T20" fmla="*/ 25 w 87"/>
                  <a:gd name="T21" fmla="*/ 456 h 188"/>
                  <a:gd name="T22" fmla="*/ 29 w 87"/>
                  <a:gd name="T23" fmla="*/ 514 h 188"/>
                  <a:gd name="T24" fmla="*/ 31 w 87"/>
                  <a:gd name="T25" fmla="*/ 561 h 188"/>
                  <a:gd name="T26" fmla="*/ 35 w 87"/>
                  <a:gd name="T27" fmla="*/ 609 h 188"/>
                  <a:gd name="T28" fmla="*/ 38 w 87"/>
                  <a:gd name="T29" fmla="*/ 648 h 188"/>
                  <a:gd name="T30" fmla="*/ 40 w 87"/>
                  <a:gd name="T31" fmla="*/ 681 h 188"/>
                  <a:gd name="T32" fmla="*/ 42 w 87"/>
                  <a:gd name="T33" fmla="*/ 703 h 1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7"/>
                  <a:gd name="T52" fmla="*/ 0 h 188"/>
                  <a:gd name="T53" fmla="*/ 87 w 87"/>
                  <a:gd name="T54" fmla="*/ 188 h 1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7" h="188">
                    <a:moveTo>
                      <a:pt x="0" y="0"/>
                    </a:moveTo>
                    <a:lnTo>
                      <a:pt x="2" y="4"/>
                    </a:lnTo>
                    <a:lnTo>
                      <a:pt x="5" y="12"/>
                    </a:lnTo>
                    <a:lnTo>
                      <a:pt x="9" y="21"/>
                    </a:lnTo>
                    <a:lnTo>
                      <a:pt x="14" y="33"/>
                    </a:lnTo>
                    <a:lnTo>
                      <a:pt x="19" y="46"/>
                    </a:lnTo>
                    <a:lnTo>
                      <a:pt x="25" y="60"/>
                    </a:lnTo>
                    <a:lnTo>
                      <a:pt x="31" y="75"/>
                    </a:lnTo>
                    <a:lnTo>
                      <a:pt x="37" y="90"/>
                    </a:lnTo>
                    <a:lnTo>
                      <a:pt x="44" y="105"/>
                    </a:lnTo>
                    <a:lnTo>
                      <a:pt x="51" y="120"/>
                    </a:lnTo>
                    <a:lnTo>
                      <a:pt x="58" y="135"/>
                    </a:lnTo>
                    <a:lnTo>
                      <a:pt x="63" y="149"/>
                    </a:lnTo>
                    <a:lnTo>
                      <a:pt x="70" y="161"/>
                    </a:lnTo>
                    <a:lnTo>
                      <a:pt x="76" y="172"/>
                    </a:lnTo>
                    <a:lnTo>
                      <a:pt x="81" y="181"/>
                    </a:lnTo>
                    <a:lnTo>
                      <a:pt x="86" y="187"/>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07" name="Line 67">
                <a:extLst>
                  <a:ext uri="{FF2B5EF4-FFF2-40B4-BE49-F238E27FC236}">
                    <a16:creationId xmlns:a16="http://schemas.microsoft.com/office/drawing/2014/main" id="{9F87E02B-290F-C4F0-A42B-883681968119}"/>
                  </a:ext>
                </a:extLst>
              </p:cNvPr>
              <p:cNvSpPr>
                <a:spLocks noChangeShapeType="1"/>
              </p:cNvSpPr>
              <p:nvPr/>
            </p:nvSpPr>
            <p:spPr bwMode="auto">
              <a:xfrm flipV="1">
                <a:off x="3989" y="2412"/>
                <a:ext cx="5" cy="1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08" name="Line 68">
                <a:extLst>
                  <a:ext uri="{FF2B5EF4-FFF2-40B4-BE49-F238E27FC236}">
                    <a16:creationId xmlns:a16="http://schemas.microsoft.com/office/drawing/2014/main" id="{481044B8-3732-2EEA-B766-97A2C193A301}"/>
                  </a:ext>
                </a:extLst>
              </p:cNvPr>
              <p:cNvSpPr>
                <a:spLocks noChangeShapeType="1"/>
              </p:cNvSpPr>
              <p:nvPr/>
            </p:nvSpPr>
            <p:spPr bwMode="auto">
              <a:xfrm flipH="1">
                <a:off x="4067" y="2625"/>
                <a:ext cx="10" cy="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09" name="Freeform 69">
                <a:extLst>
                  <a:ext uri="{FF2B5EF4-FFF2-40B4-BE49-F238E27FC236}">
                    <a16:creationId xmlns:a16="http://schemas.microsoft.com/office/drawing/2014/main" id="{353E1FFC-C0B0-6ECD-75B1-32EB578E6B9C}"/>
                  </a:ext>
                </a:extLst>
              </p:cNvPr>
              <p:cNvSpPr>
                <a:spLocks/>
              </p:cNvSpPr>
              <p:nvPr/>
            </p:nvSpPr>
            <p:spPr bwMode="auto">
              <a:xfrm>
                <a:off x="4072" y="2626"/>
                <a:ext cx="46" cy="159"/>
              </a:xfrm>
              <a:custGeom>
                <a:avLst/>
                <a:gdLst>
                  <a:gd name="T0" fmla="*/ 0 w 48"/>
                  <a:gd name="T1" fmla="*/ 0 h 142"/>
                  <a:gd name="T2" fmla="*/ 4 w 48"/>
                  <a:gd name="T3" fmla="*/ 24 h 142"/>
                  <a:gd name="T4" fmla="*/ 9 w 48"/>
                  <a:gd name="T5" fmla="*/ 55 h 142"/>
                  <a:gd name="T6" fmla="*/ 12 w 48"/>
                  <a:gd name="T7" fmla="*/ 90 h 142"/>
                  <a:gd name="T8" fmla="*/ 12 w 48"/>
                  <a:gd name="T9" fmla="*/ 127 h 142"/>
                  <a:gd name="T10" fmla="*/ 12 w 48"/>
                  <a:gd name="T11" fmla="*/ 166 h 142"/>
                  <a:gd name="T12" fmla="*/ 13 w 48"/>
                  <a:gd name="T13" fmla="*/ 208 h 142"/>
                  <a:gd name="T14" fmla="*/ 16 w 48"/>
                  <a:gd name="T15" fmla="*/ 253 h 142"/>
                  <a:gd name="T16" fmla="*/ 19 w 48"/>
                  <a:gd name="T17" fmla="*/ 293 h 142"/>
                  <a:gd name="T18" fmla="*/ 23 w 48"/>
                  <a:gd name="T19" fmla="*/ 337 h 142"/>
                  <a:gd name="T20" fmla="*/ 25 w 48"/>
                  <a:gd name="T21" fmla="*/ 384 h 142"/>
                  <a:gd name="T22" fmla="*/ 26 w 48"/>
                  <a:gd name="T23" fmla="*/ 418 h 142"/>
                  <a:gd name="T24" fmla="*/ 27 w 48"/>
                  <a:gd name="T25" fmla="*/ 458 h 142"/>
                  <a:gd name="T26" fmla="*/ 28 w 48"/>
                  <a:gd name="T27" fmla="*/ 488 h 142"/>
                  <a:gd name="T28" fmla="*/ 28 w 48"/>
                  <a:gd name="T29" fmla="*/ 514 h 142"/>
                  <a:gd name="T30" fmla="*/ 29 w 48"/>
                  <a:gd name="T31" fmla="*/ 539 h 142"/>
                  <a:gd name="T32" fmla="*/ 29 w 48"/>
                  <a:gd name="T33" fmla="*/ 549 h 1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142"/>
                  <a:gd name="T53" fmla="*/ 48 w 48"/>
                  <a:gd name="T54" fmla="*/ 142 h 1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142">
                    <a:moveTo>
                      <a:pt x="0" y="0"/>
                    </a:moveTo>
                    <a:lnTo>
                      <a:pt x="4" y="6"/>
                    </a:lnTo>
                    <a:lnTo>
                      <a:pt x="9" y="14"/>
                    </a:lnTo>
                    <a:lnTo>
                      <a:pt x="13" y="23"/>
                    </a:lnTo>
                    <a:lnTo>
                      <a:pt x="17" y="32"/>
                    </a:lnTo>
                    <a:lnTo>
                      <a:pt x="21" y="43"/>
                    </a:lnTo>
                    <a:lnTo>
                      <a:pt x="25" y="54"/>
                    </a:lnTo>
                    <a:lnTo>
                      <a:pt x="28" y="65"/>
                    </a:lnTo>
                    <a:lnTo>
                      <a:pt x="31" y="76"/>
                    </a:lnTo>
                    <a:lnTo>
                      <a:pt x="35" y="87"/>
                    </a:lnTo>
                    <a:lnTo>
                      <a:pt x="38" y="98"/>
                    </a:lnTo>
                    <a:lnTo>
                      <a:pt x="40" y="108"/>
                    </a:lnTo>
                    <a:lnTo>
                      <a:pt x="43" y="117"/>
                    </a:lnTo>
                    <a:lnTo>
                      <a:pt x="44" y="125"/>
                    </a:lnTo>
                    <a:lnTo>
                      <a:pt x="45" y="132"/>
                    </a:lnTo>
                    <a:lnTo>
                      <a:pt x="46" y="138"/>
                    </a:lnTo>
                    <a:lnTo>
                      <a:pt x="47" y="141"/>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10" name="Line 70">
                <a:extLst>
                  <a:ext uri="{FF2B5EF4-FFF2-40B4-BE49-F238E27FC236}">
                    <a16:creationId xmlns:a16="http://schemas.microsoft.com/office/drawing/2014/main" id="{C58EA47B-647F-F951-D39C-630865E2EC32}"/>
                  </a:ext>
                </a:extLst>
              </p:cNvPr>
              <p:cNvSpPr>
                <a:spLocks noChangeShapeType="1"/>
              </p:cNvSpPr>
              <p:nvPr/>
            </p:nvSpPr>
            <p:spPr bwMode="auto">
              <a:xfrm flipV="1">
                <a:off x="4070" y="2621"/>
                <a:ext cx="4" cy="1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11" name="Line 71">
                <a:extLst>
                  <a:ext uri="{FF2B5EF4-FFF2-40B4-BE49-F238E27FC236}">
                    <a16:creationId xmlns:a16="http://schemas.microsoft.com/office/drawing/2014/main" id="{D86C7316-2D2D-D2C9-3591-EAEE4B9A5C08}"/>
                  </a:ext>
                </a:extLst>
              </p:cNvPr>
              <p:cNvSpPr>
                <a:spLocks noChangeShapeType="1"/>
              </p:cNvSpPr>
              <p:nvPr/>
            </p:nvSpPr>
            <p:spPr bwMode="auto">
              <a:xfrm flipH="1">
                <a:off x="4110" y="2784"/>
                <a:ext cx="12"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12" name="Freeform 72">
                <a:extLst>
                  <a:ext uri="{FF2B5EF4-FFF2-40B4-BE49-F238E27FC236}">
                    <a16:creationId xmlns:a16="http://schemas.microsoft.com/office/drawing/2014/main" id="{D17FDECC-F58E-78BC-9D5E-69370098A1F3}"/>
                  </a:ext>
                </a:extLst>
              </p:cNvPr>
              <p:cNvSpPr>
                <a:spLocks/>
              </p:cNvSpPr>
              <p:nvPr/>
            </p:nvSpPr>
            <p:spPr bwMode="auto">
              <a:xfrm>
                <a:off x="4117" y="2784"/>
                <a:ext cx="23" cy="168"/>
              </a:xfrm>
              <a:custGeom>
                <a:avLst/>
                <a:gdLst>
                  <a:gd name="T0" fmla="*/ 0 w 25"/>
                  <a:gd name="T1" fmla="*/ 0 h 151"/>
                  <a:gd name="T2" fmla="*/ 0 w 25"/>
                  <a:gd name="T3" fmla="*/ 4 h 151"/>
                  <a:gd name="T4" fmla="*/ 0 w 25"/>
                  <a:gd name="T5" fmla="*/ 33 h 151"/>
                  <a:gd name="T6" fmla="*/ 0 w 25"/>
                  <a:gd name="T7" fmla="*/ 63 h 151"/>
                  <a:gd name="T8" fmla="*/ 0 w 25"/>
                  <a:gd name="T9" fmla="*/ 97 h 151"/>
                  <a:gd name="T10" fmla="*/ 0 w 25"/>
                  <a:gd name="T11" fmla="*/ 134 h 151"/>
                  <a:gd name="T12" fmla="*/ 1 w 25"/>
                  <a:gd name="T13" fmla="*/ 180 h 151"/>
                  <a:gd name="T14" fmla="*/ 1 w 25"/>
                  <a:gd name="T15" fmla="*/ 223 h 151"/>
                  <a:gd name="T16" fmla="*/ 2 w 25"/>
                  <a:gd name="T17" fmla="*/ 259 h 151"/>
                  <a:gd name="T18" fmla="*/ 3 w 25"/>
                  <a:gd name="T19" fmla="*/ 309 h 151"/>
                  <a:gd name="T20" fmla="*/ 6 w 25"/>
                  <a:gd name="T21" fmla="*/ 353 h 151"/>
                  <a:gd name="T22" fmla="*/ 6 w 25"/>
                  <a:gd name="T23" fmla="*/ 394 h 151"/>
                  <a:gd name="T24" fmla="*/ 6 w 25"/>
                  <a:gd name="T25" fmla="*/ 437 h 151"/>
                  <a:gd name="T26" fmla="*/ 6 w 25"/>
                  <a:gd name="T27" fmla="*/ 472 h 151"/>
                  <a:gd name="T28" fmla="*/ 6 w 25"/>
                  <a:gd name="T29" fmla="*/ 502 h 151"/>
                  <a:gd name="T30" fmla="*/ 6 w 25"/>
                  <a:gd name="T31" fmla="*/ 525 h 151"/>
                  <a:gd name="T32" fmla="*/ 9 w 25"/>
                  <a:gd name="T33" fmla="*/ 541 h 1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
                  <a:gd name="T52" fmla="*/ 0 h 151"/>
                  <a:gd name="T53" fmla="*/ 25 w 25"/>
                  <a:gd name="T54" fmla="*/ 151 h 1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 h="151">
                    <a:moveTo>
                      <a:pt x="0" y="0"/>
                    </a:moveTo>
                    <a:lnTo>
                      <a:pt x="0" y="4"/>
                    </a:lnTo>
                    <a:lnTo>
                      <a:pt x="0" y="10"/>
                    </a:lnTo>
                    <a:lnTo>
                      <a:pt x="0" y="18"/>
                    </a:lnTo>
                    <a:lnTo>
                      <a:pt x="0" y="27"/>
                    </a:lnTo>
                    <a:lnTo>
                      <a:pt x="0" y="37"/>
                    </a:lnTo>
                    <a:lnTo>
                      <a:pt x="1" y="49"/>
                    </a:lnTo>
                    <a:lnTo>
                      <a:pt x="1" y="61"/>
                    </a:lnTo>
                    <a:lnTo>
                      <a:pt x="2" y="73"/>
                    </a:lnTo>
                    <a:lnTo>
                      <a:pt x="3" y="86"/>
                    </a:lnTo>
                    <a:lnTo>
                      <a:pt x="6" y="98"/>
                    </a:lnTo>
                    <a:lnTo>
                      <a:pt x="7" y="110"/>
                    </a:lnTo>
                    <a:lnTo>
                      <a:pt x="9" y="121"/>
                    </a:lnTo>
                    <a:lnTo>
                      <a:pt x="13" y="131"/>
                    </a:lnTo>
                    <a:lnTo>
                      <a:pt x="15" y="139"/>
                    </a:lnTo>
                    <a:lnTo>
                      <a:pt x="19" y="146"/>
                    </a:lnTo>
                    <a:lnTo>
                      <a:pt x="24" y="15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13" name="Line 73">
                <a:extLst>
                  <a:ext uri="{FF2B5EF4-FFF2-40B4-BE49-F238E27FC236}">
                    <a16:creationId xmlns:a16="http://schemas.microsoft.com/office/drawing/2014/main" id="{62C4AFE4-B3A2-E30B-1A13-02AE98BE6513}"/>
                  </a:ext>
                </a:extLst>
              </p:cNvPr>
              <p:cNvSpPr>
                <a:spLocks noChangeShapeType="1"/>
              </p:cNvSpPr>
              <p:nvPr/>
            </p:nvSpPr>
            <p:spPr bwMode="auto">
              <a:xfrm>
                <a:off x="4114" y="2784"/>
                <a:ext cx="5"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14" name="Line 74">
                <a:extLst>
                  <a:ext uri="{FF2B5EF4-FFF2-40B4-BE49-F238E27FC236}">
                    <a16:creationId xmlns:a16="http://schemas.microsoft.com/office/drawing/2014/main" id="{621BB7EB-102A-D704-381E-3A02FBECF289}"/>
                  </a:ext>
                </a:extLst>
              </p:cNvPr>
              <p:cNvSpPr>
                <a:spLocks noChangeShapeType="1"/>
              </p:cNvSpPr>
              <p:nvPr/>
            </p:nvSpPr>
            <p:spPr bwMode="auto">
              <a:xfrm flipH="1">
                <a:off x="4134" y="2949"/>
                <a:ext cx="11" cy="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15" name="Freeform 75">
                <a:extLst>
                  <a:ext uri="{FF2B5EF4-FFF2-40B4-BE49-F238E27FC236}">
                    <a16:creationId xmlns:a16="http://schemas.microsoft.com/office/drawing/2014/main" id="{22C7D77E-07B6-F5DE-EBE1-91B8704B2FDE}"/>
                  </a:ext>
                </a:extLst>
              </p:cNvPr>
              <p:cNvSpPr>
                <a:spLocks/>
              </p:cNvSpPr>
              <p:nvPr/>
            </p:nvSpPr>
            <p:spPr bwMode="auto">
              <a:xfrm>
                <a:off x="4139" y="2951"/>
                <a:ext cx="111" cy="75"/>
              </a:xfrm>
              <a:custGeom>
                <a:avLst/>
                <a:gdLst>
                  <a:gd name="T0" fmla="*/ 0 w 117"/>
                  <a:gd name="T1" fmla="*/ 0 h 67"/>
                  <a:gd name="T2" fmla="*/ 3 w 117"/>
                  <a:gd name="T3" fmla="*/ 4 h 67"/>
                  <a:gd name="T4" fmla="*/ 9 w 117"/>
                  <a:gd name="T5" fmla="*/ 30 h 67"/>
                  <a:gd name="T6" fmla="*/ 9 w 117"/>
                  <a:gd name="T7" fmla="*/ 54 h 67"/>
                  <a:gd name="T8" fmla="*/ 9 w 117"/>
                  <a:gd name="T9" fmla="*/ 67 h 67"/>
                  <a:gd name="T10" fmla="*/ 13 w 117"/>
                  <a:gd name="T11" fmla="*/ 86 h 67"/>
                  <a:gd name="T12" fmla="*/ 17 w 117"/>
                  <a:gd name="T13" fmla="*/ 105 h 67"/>
                  <a:gd name="T14" fmla="*/ 20 w 117"/>
                  <a:gd name="T15" fmla="*/ 124 h 67"/>
                  <a:gd name="T16" fmla="*/ 24 w 117"/>
                  <a:gd name="T17" fmla="*/ 143 h 67"/>
                  <a:gd name="T18" fmla="*/ 27 w 117"/>
                  <a:gd name="T19" fmla="*/ 160 h 67"/>
                  <a:gd name="T20" fmla="*/ 30 w 117"/>
                  <a:gd name="T21" fmla="*/ 179 h 67"/>
                  <a:gd name="T22" fmla="*/ 36 w 117"/>
                  <a:gd name="T23" fmla="*/ 196 h 67"/>
                  <a:gd name="T24" fmla="*/ 40 w 117"/>
                  <a:gd name="T25" fmla="*/ 208 h 67"/>
                  <a:gd name="T26" fmla="*/ 45 w 117"/>
                  <a:gd name="T27" fmla="*/ 225 h 67"/>
                  <a:gd name="T28" fmla="*/ 50 w 117"/>
                  <a:gd name="T29" fmla="*/ 234 h 67"/>
                  <a:gd name="T30" fmla="*/ 56 w 117"/>
                  <a:gd name="T31" fmla="*/ 251 h 67"/>
                  <a:gd name="T32" fmla="*/ 62 w 117"/>
                  <a:gd name="T33" fmla="*/ 255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7"/>
                  <a:gd name="T52" fmla="*/ 0 h 67"/>
                  <a:gd name="T53" fmla="*/ 117 w 11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7" h="67">
                    <a:moveTo>
                      <a:pt x="0" y="0"/>
                    </a:moveTo>
                    <a:lnTo>
                      <a:pt x="3" y="4"/>
                    </a:lnTo>
                    <a:lnTo>
                      <a:pt x="9" y="8"/>
                    </a:lnTo>
                    <a:lnTo>
                      <a:pt x="14" y="13"/>
                    </a:lnTo>
                    <a:lnTo>
                      <a:pt x="19" y="17"/>
                    </a:lnTo>
                    <a:lnTo>
                      <a:pt x="25" y="22"/>
                    </a:lnTo>
                    <a:lnTo>
                      <a:pt x="30" y="27"/>
                    </a:lnTo>
                    <a:lnTo>
                      <a:pt x="36" y="32"/>
                    </a:lnTo>
                    <a:lnTo>
                      <a:pt x="43" y="37"/>
                    </a:lnTo>
                    <a:lnTo>
                      <a:pt x="51" y="41"/>
                    </a:lnTo>
                    <a:lnTo>
                      <a:pt x="57" y="46"/>
                    </a:lnTo>
                    <a:lnTo>
                      <a:pt x="66" y="50"/>
                    </a:lnTo>
                    <a:lnTo>
                      <a:pt x="74" y="54"/>
                    </a:lnTo>
                    <a:lnTo>
                      <a:pt x="84" y="58"/>
                    </a:lnTo>
                    <a:lnTo>
                      <a:pt x="95" y="61"/>
                    </a:lnTo>
                    <a:lnTo>
                      <a:pt x="105" y="64"/>
                    </a:lnTo>
                    <a:lnTo>
                      <a:pt x="116" y="66"/>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16" name="Line 76">
                <a:extLst>
                  <a:ext uri="{FF2B5EF4-FFF2-40B4-BE49-F238E27FC236}">
                    <a16:creationId xmlns:a16="http://schemas.microsoft.com/office/drawing/2014/main" id="{AEE872DC-6736-5124-1857-90D32335AFDB}"/>
                  </a:ext>
                </a:extLst>
              </p:cNvPr>
              <p:cNvSpPr>
                <a:spLocks noChangeShapeType="1"/>
              </p:cNvSpPr>
              <p:nvPr/>
            </p:nvSpPr>
            <p:spPr bwMode="auto">
              <a:xfrm flipV="1">
                <a:off x="4137" y="2944"/>
                <a:ext cx="3" cy="1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17" name="Line 77">
                <a:extLst>
                  <a:ext uri="{FF2B5EF4-FFF2-40B4-BE49-F238E27FC236}">
                    <a16:creationId xmlns:a16="http://schemas.microsoft.com/office/drawing/2014/main" id="{6E625BF6-6DE7-ACAA-5F89-50E469E90639}"/>
                  </a:ext>
                </a:extLst>
              </p:cNvPr>
              <p:cNvSpPr>
                <a:spLocks noChangeShapeType="1"/>
              </p:cNvSpPr>
              <p:nvPr/>
            </p:nvSpPr>
            <p:spPr bwMode="auto">
              <a:xfrm flipH="1">
                <a:off x="4246" y="3023"/>
                <a:ext cx="8" cy="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18" name="Freeform 78">
                <a:extLst>
                  <a:ext uri="{FF2B5EF4-FFF2-40B4-BE49-F238E27FC236}">
                    <a16:creationId xmlns:a16="http://schemas.microsoft.com/office/drawing/2014/main" id="{372EE9E8-06B5-C025-227D-628815EAAB55}"/>
                  </a:ext>
                </a:extLst>
              </p:cNvPr>
              <p:cNvSpPr>
                <a:spLocks/>
              </p:cNvSpPr>
              <p:nvPr/>
            </p:nvSpPr>
            <p:spPr bwMode="auto">
              <a:xfrm>
                <a:off x="4249" y="3025"/>
                <a:ext cx="215" cy="143"/>
              </a:xfrm>
              <a:custGeom>
                <a:avLst/>
                <a:gdLst>
                  <a:gd name="T0" fmla="*/ 0 w 227"/>
                  <a:gd name="T1" fmla="*/ 0 h 128"/>
                  <a:gd name="T2" fmla="*/ 9 w 227"/>
                  <a:gd name="T3" fmla="*/ 2 h 128"/>
                  <a:gd name="T4" fmla="*/ 14 w 227"/>
                  <a:gd name="T5" fmla="*/ 21 h 128"/>
                  <a:gd name="T6" fmla="*/ 22 w 227"/>
                  <a:gd name="T7" fmla="*/ 36 h 128"/>
                  <a:gd name="T8" fmla="*/ 29 w 227"/>
                  <a:gd name="T9" fmla="*/ 56 h 128"/>
                  <a:gd name="T10" fmla="*/ 38 w 227"/>
                  <a:gd name="T11" fmla="*/ 76 h 128"/>
                  <a:gd name="T12" fmla="*/ 46 w 227"/>
                  <a:gd name="T13" fmla="*/ 104 h 128"/>
                  <a:gd name="T14" fmla="*/ 56 w 227"/>
                  <a:gd name="T15" fmla="*/ 130 h 128"/>
                  <a:gd name="T16" fmla="*/ 64 w 227"/>
                  <a:gd name="T17" fmla="*/ 162 h 128"/>
                  <a:gd name="T18" fmla="*/ 72 w 227"/>
                  <a:gd name="T19" fmla="*/ 193 h 128"/>
                  <a:gd name="T20" fmla="*/ 80 w 227"/>
                  <a:gd name="T21" fmla="*/ 227 h 128"/>
                  <a:gd name="T22" fmla="*/ 89 w 227"/>
                  <a:gd name="T23" fmla="*/ 264 h 128"/>
                  <a:gd name="T24" fmla="*/ 95 w 227"/>
                  <a:gd name="T25" fmla="*/ 301 h 128"/>
                  <a:gd name="T26" fmla="*/ 102 w 227"/>
                  <a:gd name="T27" fmla="*/ 345 h 128"/>
                  <a:gd name="T28" fmla="*/ 109 w 227"/>
                  <a:gd name="T29" fmla="*/ 388 h 128"/>
                  <a:gd name="T30" fmla="*/ 114 w 227"/>
                  <a:gd name="T31" fmla="*/ 433 h 128"/>
                  <a:gd name="T32" fmla="*/ 117 w 227"/>
                  <a:gd name="T33" fmla="*/ 480 h 1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7"/>
                  <a:gd name="T52" fmla="*/ 0 h 128"/>
                  <a:gd name="T53" fmla="*/ 227 w 227"/>
                  <a:gd name="T54" fmla="*/ 128 h 1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7" h="128">
                    <a:moveTo>
                      <a:pt x="0" y="0"/>
                    </a:moveTo>
                    <a:lnTo>
                      <a:pt x="12" y="2"/>
                    </a:lnTo>
                    <a:lnTo>
                      <a:pt x="26" y="5"/>
                    </a:lnTo>
                    <a:lnTo>
                      <a:pt x="40" y="10"/>
                    </a:lnTo>
                    <a:lnTo>
                      <a:pt x="56" y="15"/>
                    </a:lnTo>
                    <a:lnTo>
                      <a:pt x="72" y="20"/>
                    </a:lnTo>
                    <a:lnTo>
                      <a:pt x="89" y="27"/>
                    </a:lnTo>
                    <a:lnTo>
                      <a:pt x="106" y="34"/>
                    </a:lnTo>
                    <a:lnTo>
                      <a:pt x="123" y="42"/>
                    </a:lnTo>
                    <a:lnTo>
                      <a:pt x="138" y="51"/>
                    </a:lnTo>
                    <a:lnTo>
                      <a:pt x="154" y="60"/>
                    </a:lnTo>
                    <a:lnTo>
                      <a:pt x="169" y="70"/>
                    </a:lnTo>
                    <a:lnTo>
                      <a:pt x="183" y="80"/>
                    </a:lnTo>
                    <a:lnTo>
                      <a:pt x="196" y="91"/>
                    </a:lnTo>
                    <a:lnTo>
                      <a:pt x="208" y="103"/>
                    </a:lnTo>
                    <a:lnTo>
                      <a:pt x="218" y="115"/>
                    </a:lnTo>
                    <a:lnTo>
                      <a:pt x="226" y="127"/>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19" name="Line 79">
                <a:extLst>
                  <a:ext uri="{FF2B5EF4-FFF2-40B4-BE49-F238E27FC236}">
                    <a16:creationId xmlns:a16="http://schemas.microsoft.com/office/drawing/2014/main" id="{DE7294C2-786F-0E21-2CCD-6CF778039B1A}"/>
                  </a:ext>
                </a:extLst>
              </p:cNvPr>
              <p:cNvSpPr>
                <a:spLocks noChangeShapeType="1"/>
              </p:cNvSpPr>
              <p:nvPr/>
            </p:nvSpPr>
            <p:spPr bwMode="auto">
              <a:xfrm flipV="1">
                <a:off x="4249" y="3018"/>
                <a:ext cx="1"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20" name="Line 80">
                <a:extLst>
                  <a:ext uri="{FF2B5EF4-FFF2-40B4-BE49-F238E27FC236}">
                    <a16:creationId xmlns:a16="http://schemas.microsoft.com/office/drawing/2014/main" id="{63D6D24D-D8A5-9A3A-6CCD-BB9B70A91DCE}"/>
                  </a:ext>
                </a:extLst>
              </p:cNvPr>
              <p:cNvSpPr>
                <a:spLocks noChangeShapeType="1"/>
              </p:cNvSpPr>
              <p:nvPr/>
            </p:nvSpPr>
            <p:spPr bwMode="auto">
              <a:xfrm flipH="1">
                <a:off x="4458" y="3166"/>
                <a:ext cx="11" cy="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21" name="Freeform 81">
                <a:extLst>
                  <a:ext uri="{FF2B5EF4-FFF2-40B4-BE49-F238E27FC236}">
                    <a16:creationId xmlns:a16="http://schemas.microsoft.com/office/drawing/2014/main" id="{EA0A2C34-958E-BEFD-1F2A-499122139D94}"/>
                  </a:ext>
                </a:extLst>
              </p:cNvPr>
              <p:cNvSpPr>
                <a:spLocks/>
              </p:cNvSpPr>
              <p:nvPr/>
            </p:nvSpPr>
            <p:spPr bwMode="auto">
              <a:xfrm>
                <a:off x="4463" y="3167"/>
                <a:ext cx="127" cy="168"/>
              </a:xfrm>
              <a:custGeom>
                <a:avLst/>
                <a:gdLst>
                  <a:gd name="T0" fmla="*/ 0 w 134"/>
                  <a:gd name="T1" fmla="*/ 0 h 151"/>
                  <a:gd name="T2" fmla="*/ 8 w 134"/>
                  <a:gd name="T3" fmla="*/ 41 h 151"/>
                  <a:gd name="T4" fmla="*/ 9 w 134"/>
                  <a:gd name="T5" fmla="*/ 87 h 151"/>
                  <a:gd name="T6" fmla="*/ 11 w 134"/>
                  <a:gd name="T7" fmla="*/ 134 h 151"/>
                  <a:gd name="T8" fmla="*/ 16 w 134"/>
                  <a:gd name="T9" fmla="*/ 180 h 151"/>
                  <a:gd name="T10" fmla="*/ 20 w 134"/>
                  <a:gd name="T11" fmla="*/ 225 h 151"/>
                  <a:gd name="T12" fmla="*/ 24 w 134"/>
                  <a:gd name="T13" fmla="*/ 259 h 151"/>
                  <a:gd name="T14" fmla="*/ 27 w 134"/>
                  <a:gd name="T15" fmla="*/ 307 h 151"/>
                  <a:gd name="T16" fmla="*/ 32 w 134"/>
                  <a:gd name="T17" fmla="*/ 344 h 151"/>
                  <a:gd name="T18" fmla="*/ 37 w 134"/>
                  <a:gd name="T19" fmla="*/ 381 h 151"/>
                  <a:gd name="T20" fmla="*/ 41 w 134"/>
                  <a:gd name="T21" fmla="*/ 418 h 151"/>
                  <a:gd name="T22" fmla="*/ 45 w 134"/>
                  <a:gd name="T23" fmla="*/ 444 h 151"/>
                  <a:gd name="T24" fmla="*/ 50 w 134"/>
                  <a:gd name="T25" fmla="*/ 474 h 151"/>
                  <a:gd name="T26" fmla="*/ 55 w 134"/>
                  <a:gd name="T27" fmla="*/ 494 h 151"/>
                  <a:gd name="T28" fmla="*/ 60 w 134"/>
                  <a:gd name="T29" fmla="*/ 515 h 151"/>
                  <a:gd name="T30" fmla="*/ 65 w 134"/>
                  <a:gd name="T31" fmla="*/ 527 h 151"/>
                  <a:gd name="T32" fmla="*/ 70 w 134"/>
                  <a:gd name="T33" fmla="*/ 541 h 1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4"/>
                  <a:gd name="T52" fmla="*/ 0 h 151"/>
                  <a:gd name="T53" fmla="*/ 134 w 134"/>
                  <a:gd name="T54" fmla="*/ 151 h 1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4" h="151">
                    <a:moveTo>
                      <a:pt x="0" y="0"/>
                    </a:moveTo>
                    <a:lnTo>
                      <a:pt x="8" y="12"/>
                    </a:lnTo>
                    <a:lnTo>
                      <a:pt x="15" y="24"/>
                    </a:lnTo>
                    <a:lnTo>
                      <a:pt x="23" y="37"/>
                    </a:lnTo>
                    <a:lnTo>
                      <a:pt x="29" y="49"/>
                    </a:lnTo>
                    <a:lnTo>
                      <a:pt x="37" y="62"/>
                    </a:lnTo>
                    <a:lnTo>
                      <a:pt x="45" y="73"/>
                    </a:lnTo>
                    <a:lnTo>
                      <a:pt x="53" y="85"/>
                    </a:lnTo>
                    <a:lnTo>
                      <a:pt x="61" y="96"/>
                    </a:lnTo>
                    <a:lnTo>
                      <a:pt x="69" y="106"/>
                    </a:lnTo>
                    <a:lnTo>
                      <a:pt x="77" y="116"/>
                    </a:lnTo>
                    <a:lnTo>
                      <a:pt x="86" y="124"/>
                    </a:lnTo>
                    <a:lnTo>
                      <a:pt x="95" y="132"/>
                    </a:lnTo>
                    <a:lnTo>
                      <a:pt x="104" y="138"/>
                    </a:lnTo>
                    <a:lnTo>
                      <a:pt x="113" y="143"/>
                    </a:lnTo>
                    <a:lnTo>
                      <a:pt x="123" y="147"/>
                    </a:lnTo>
                    <a:lnTo>
                      <a:pt x="133" y="15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22" name="Line 82">
                <a:extLst>
                  <a:ext uri="{FF2B5EF4-FFF2-40B4-BE49-F238E27FC236}">
                    <a16:creationId xmlns:a16="http://schemas.microsoft.com/office/drawing/2014/main" id="{ED4E145C-9627-34DD-2613-1291F82D831A}"/>
                  </a:ext>
                </a:extLst>
              </p:cNvPr>
              <p:cNvSpPr>
                <a:spLocks noChangeShapeType="1"/>
              </p:cNvSpPr>
              <p:nvPr/>
            </p:nvSpPr>
            <p:spPr bwMode="auto">
              <a:xfrm flipV="1">
                <a:off x="4461" y="3161"/>
                <a:ext cx="4" cy="1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23" name="Line 83">
                <a:extLst>
                  <a:ext uri="{FF2B5EF4-FFF2-40B4-BE49-F238E27FC236}">
                    <a16:creationId xmlns:a16="http://schemas.microsoft.com/office/drawing/2014/main" id="{3FD3F4CB-C006-3534-2A9E-A8288A9DE3B8}"/>
                  </a:ext>
                </a:extLst>
              </p:cNvPr>
              <p:cNvSpPr>
                <a:spLocks noChangeShapeType="1"/>
              </p:cNvSpPr>
              <p:nvPr/>
            </p:nvSpPr>
            <p:spPr bwMode="auto">
              <a:xfrm>
                <a:off x="4589" y="3331"/>
                <a:ext cx="0" cy="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24" name="Freeform 84">
                <a:extLst>
                  <a:ext uri="{FF2B5EF4-FFF2-40B4-BE49-F238E27FC236}">
                    <a16:creationId xmlns:a16="http://schemas.microsoft.com/office/drawing/2014/main" id="{F3BBD808-93E4-B625-BEFC-17D13ACFEAFB}"/>
                  </a:ext>
                </a:extLst>
              </p:cNvPr>
              <p:cNvSpPr>
                <a:spLocks/>
              </p:cNvSpPr>
              <p:nvPr/>
            </p:nvSpPr>
            <p:spPr bwMode="auto">
              <a:xfrm>
                <a:off x="4589" y="3334"/>
                <a:ext cx="185" cy="11"/>
              </a:xfrm>
              <a:custGeom>
                <a:avLst/>
                <a:gdLst>
                  <a:gd name="T0" fmla="*/ 0 w 195"/>
                  <a:gd name="T1" fmla="*/ 0 h 10"/>
                  <a:gd name="T2" fmla="*/ 9 w 195"/>
                  <a:gd name="T3" fmla="*/ 1 h 10"/>
                  <a:gd name="T4" fmla="*/ 10 w 195"/>
                  <a:gd name="T5" fmla="*/ 2 h 10"/>
                  <a:gd name="T6" fmla="*/ 20 w 195"/>
                  <a:gd name="T7" fmla="*/ 2 h 10"/>
                  <a:gd name="T8" fmla="*/ 26 w 195"/>
                  <a:gd name="T9" fmla="*/ 3 h 10"/>
                  <a:gd name="T10" fmla="*/ 34 w 195"/>
                  <a:gd name="T11" fmla="*/ 2 h 10"/>
                  <a:gd name="T12" fmla="*/ 41 w 195"/>
                  <a:gd name="T13" fmla="*/ 2 h 10"/>
                  <a:gd name="T14" fmla="*/ 48 w 195"/>
                  <a:gd name="T15" fmla="*/ 1 h 10"/>
                  <a:gd name="T16" fmla="*/ 56 w 195"/>
                  <a:gd name="T17" fmla="*/ 1 h 10"/>
                  <a:gd name="T18" fmla="*/ 64 w 195"/>
                  <a:gd name="T19" fmla="*/ 0 h 10"/>
                  <a:gd name="T20" fmla="*/ 71 w 195"/>
                  <a:gd name="T21" fmla="*/ 0 h 10"/>
                  <a:gd name="T22" fmla="*/ 79 w 195"/>
                  <a:gd name="T23" fmla="*/ 0 h 10"/>
                  <a:gd name="T24" fmla="*/ 83 w 195"/>
                  <a:gd name="T25" fmla="*/ 1 h 10"/>
                  <a:gd name="T26" fmla="*/ 90 w 195"/>
                  <a:gd name="T27" fmla="*/ 2 h 10"/>
                  <a:gd name="T28" fmla="*/ 95 w 195"/>
                  <a:gd name="T29" fmla="*/ 4 h 10"/>
                  <a:gd name="T30" fmla="*/ 99 w 195"/>
                  <a:gd name="T31" fmla="*/ 20 h 10"/>
                  <a:gd name="T32" fmla="*/ 102 w 195"/>
                  <a:gd name="T33" fmla="*/ 26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5"/>
                  <a:gd name="T52" fmla="*/ 0 h 10"/>
                  <a:gd name="T53" fmla="*/ 195 w 195"/>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5" h="10">
                    <a:moveTo>
                      <a:pt x="0" y="0"/>
                    </a:moveTo>
                    <a:lnTo>
                      <a:pt x="10" y="1"/>
                    </a:lnTo>
                    <a:lnTo>
                      <a:pt x="22" y="2"/>
                    </a:lnTo>
                    <a:lnTo>
                      <a:pt x="36" y="2"/>
                    </a:lnTo>
                    <a:lnTo>
                      <a:pt x="48" y="3"/>
                    </a:lnTo>
                    <a:lnTo>
                      <a:pt x="63" y="2"/>
                    </a:lnTo>
                    <a:lnTo>
                      <a:pt x="76" y="2"/>
                    </a:lnTo>
                    <a:lnTo>
                      <a:pt x="91" y="1"/>
                    </a:lnTo>
                    <a:lnTo>
                      <a:pt x="105" y="1"/>
                    </a:lnTo>
                    <a:lnTo>
                      <a:pt x="120" y="0"/>
                    </a:lnTo>
                    <a:lnTo>
                      <a:pt x="133" y="0"/>
                    </a:lnTo>
                    <a:lnTo>
                      <a:pt x="146" y="0"/>
                    </a:lnTo>
                    <a:lnTo>
                      <a:pt x="158" y="1"/>
                    </a:lnTo>
                    <a:lnTo>
                      <a:pt x="169" y="2"/>
                    </a:lnTo>
                    <a:lnTo>
                      <a:pt x="178" y="4"/>
                    </a:lnTo>
                    <a:lnTo>
                      <a:pt x="187" y="6"/>
                    </a:lnTo>
                    <a:lnTo>
                      <a:pt x="194" y="9"/>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25" name="Line 85">
                <a:extLst>
                  <a:ext uri="{FF2B5EF4-FFF2-40B4-BE49-F238E27FC236}">
                    <a16:creationId xmlns:a16="http://schemas.microsoft.com/office/drawing/2014/main" id="{CCD2BA2F-B946-3161-2BE5-ABD2B4601159}"/>
                  </a:ext>
                </a:extLst>
              </p:cNvPr>
              <p:cNvSpPr>
                <a:spLocks noChangeShapeType="1"/>
              </p:cNvSpPr>
              <p:nvPr/>
            </p:nvSpPr>
            <p:spPr bwMode="auto">
              <a:xfrm flipV="1">
                <a:off x="4589" y="3326"/>
                <a:ext cx="0"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26" name="Line 86">
                <a:extLst>
                  <a:ext uri="{FF2B5EF4-FFF2-40B4-BE49-F238E27FC236}">
                    <a16:creationId xmlns:a16="http://schemas.microsoft.com/office/drawing/2014/main" id="{3D3AFDFB-B692-903E-35A7-945C6A506ABD}"/>
                  </a:ext>
                </a:extLst>
              </p:cNvPr>
              <p:cNvSpPr>
                <a:spLocks noChangeShapeType="1"/>
              </p:cNvSpPr>
              <p:nvPr/>
            </p:nvSpPr>
            <p:spPr bwMode="auto">
              <a:xfrm flipH="1">
                <a:off x="4767" y="3342"/>
                <a:ext cx="10" cy="6"/>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27" name="Freeform 87">
                <a:extLst>
                  <a:ext uri="{FF2B5EF4-FFF2-40B4-BE49-F238E27FC236}">
                    <a16:creationId xmlns:a16="http://schemas.microsoft.com/office/drawing/2014/main" id="{6EB47587-A984-8366-B571-3F5D659E8745}"/>
                  </a:ext>
                </a:extLst>
              </p:cNvPr>
              <p:cNvSpPr>
                <a:spLocks/>
              </p:cNvSpPr>
              <p:nvPr/>
            </p:nvSpPr>
            <p:spPr bwMode="auto">
              <a:xfrm>
                <a:off x="4773" y="3344"/>
                <a:ext cx="155" cy="170"/>
              </a:xfrm>
              <a:custGeom>
                <a:avLst/>
                <a:gdLst>
                  <a:gd name="T0" fmla="*/ 0 w 164"/>
                  <a:gd name="T1" fmla="*/ 0 h 152"/>
                  <a:gd name="T2" fmla="*/ 7 w 164"/>
                  <a:gd name="T3" fmla="*/ 21 h 152"/>
                  <a:gd name="T4" fmla="*/ 9 w 164"/>
                  <a:gd name="T5" fmla="*/ 40 h 152"/>
                  <a:gd name="T6" fmla="*/ 13 w 164"/>
                  <a:gd name="T7" fmla="*/ 70 h 152"/>
                  <a:gd name="T8" fmla="*/ 19 w 164"/>
                  <a:gd name="T9" fmla="*/ 107 h 152"/>
                  <a:gd name="T10" fmla="*/ 24 w 164"/>
                  <a:gd name="T11" fmla="*/ 150 h 152"/>
                  <a:gd name="T12" fmla="*/ 29 w 164"/>
                  <a:gd name="T13" fmla="*/ 189 h 152"/>
                  <a:gd name="T14" fmla="*/ 37 w 164"/>
                  <a:gd name="T15" fmla="*/ 234 h 152"/>
                  <a:gd name="T16" fmla="*/ 43 w 164"/>
                  <a:gd name="T17" fmla="*/ 283 h 152"/>
                  <a:gd name="T18" fmla="*/ 50 w 164"/>
                  <a:gd name="T19" fmla="*/ 328 h 152"/>
                  <a:gd name="T20" fmla="*/ 56 w 164"/>
                  <a:gd name="T21" fmla="*/ 369 h 152"/>
                  <a:gd name="T22" fmla="*/ 61 w 164"/>
                  <a:gd name="T23" fmla="*/ 414 h 152"/>
                  <a:gd name="T24" fmla="*/ 68 w 164"/>
                  <a:gd name="T25" fmla="*/ 461 h 152"/>
                  <a:gd name="T26" fmla="*/ 72 w 164"/>
                  <a:gd name="T27" fmla="*/ 493 h 152"/>
                  <a:gd name="T28" fmla="*/ 77 w 164"/>
                  <a:gd name="T29" fmla="*/ 527 h 152"/>
                  <a:gd name="T30" fmla="*/ 80 w 164"/>
                  <a:gd name="T31" fmla="*/ 556 h 152"/>
                  <a:gd name="T32" fmla="*/ 83 w 164"/>
                  <a:gd name="T33" fmla="*/ 578 h 15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4"/>
                  <a:gd name="T52" fmla="*/ 0 h 152"/>
                  <a:gd name="T53" fmla="*/ 164 w 164"/>
                  <a:gd name="T54" fmla="*/ 152 h 15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4" h="152">
                    <a:moveTo>
                      <a:pt x="0" y="0"/>
                    </a:moveTo>
                    <a:lnTo>
                      <a:pt x="7" y="5"/>
                    </a:lnTo>
                    <a:lnTo>
                      <a:pt x="15" y="11"/>
                    </a:lnTo>
                    <a:lnTo>
                      <a:pt x="25" y="19"/>
                    </a:lnTo>
                    <a:lnTo>
                      <a:pt x="35" y="28"/>
                    </a:lnTo>
                    <a:lnTo>
                      <a:pt x="47" y="39"/>
                    </a:lnTo>
                    <a:lnTo>
                      <a:pt x="58" y="50"/>
                    </a:lnTo>
                    <a:lnTo>
                      <a:pt x="72" y="61"/>
                    </a:lnTo>
                    <a:lnTo>
                      <a:pt x="84" y="74"/>
                    </a:lnTo>
                    <a:lnTo>
                      <a:pt x="97" y="85"/>
                    </a:lnTo>
                    <a:lnTo>
                      <a:pt x="109" y="97"/>
                    </a:lnTo>
                    <a:lnTo>
                      <a:pt x="121" y="109"/>
                    </a:lnTo>
                    <a:lnTo>
                      <a:pt x="133" y="120"/>
                    </a:lnTo>
                    <a:lnTo>
                      <a:pt x="142" y="129"/>
                    </a:lnTo>
                    <a:lnTo>
                      <a:pt x="151" y="138"/>
                    </a:lnTo>
                    <a:lnTo>
                      <a:pt x="157" y="145"/>
                    </a:lnTo>
                    <a:lnTo>
                      <a:pt x="163" y="151"/>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28" name="Line 88">
                <a:extLst>
                  <a:ext uri="{FF2B5EF4-FFF2-40B4-BE49-F238E27FC236}">
                    <a16:creationId xmlns:a16="http://schemas.microsoft.com/office/drawing/2014/main" id="{51CB6FBA-F13D-AB8C-374D-0BED3084F625}"/>
                  </a:ext>
                </a:extLst>
              </p:cNvPr>
              <p:cNvSpPr>
                <a:spLocks noChangeShapeType="1"/>
              </p:cNvSpPr>
              <p:nvPr/>
            </p:nvSpPr>
            <p:spPr bwMode="auto">
              <a:xfrm flipV="1">
                <a:off x="4772" y="3337"/>
                <a:ext cx="2"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29" name="Line 89">
                <a:extLst>
                  <a:ext uri="{FF2B5EF4-FFF2-40B4-BE49-F238E27FC236}">
                    <a16:creationId xmlns:a16="http://schemas.microsoft.com/office/drawing/2014/main" id="{5BCFB67D-832E-CD2B-1EFA-F8BCFD5FD8AD}"/>
                  </a:ext>
                </a:extLst>
              </p:cNvPr>
              <p:cNvSpPr>
                <a:spLocks noChangeShapeType="1"/>
              </p:cNvSpPr>
              <p:nvPr/>
            </p:nvSpPr>
            <p:spPr bwMode="auto">
              <a:xfrm flipH="1">
                <a:off x="4921" y="3511"/>
                <a:ext cx="13" cy="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30" name="Freeform 90">
                <a:extLst>
                  <a:ext uri="{FF2B5EF4-FFF2-40B4-BE49-F238E27FC236}">
                    <a16:creationId xmlns:a16="http://schemas.microsoft.com/office/drawing/2014/main" id="{6601B11F-4F4D-4A6E-F19C-49D92353F8E1}"/>
                  </a:ext>
                </a:extLst>
              </p:cNvPr>
              <p:cNvSpPr>
                <a:spLocks/>
              </p:cNvSpPr>
              <p:nvPr/>
            </p:nvSpPr>
            <p:spPr bwMode="auto">
              <a:xfrm>
                <a:off x="4927" y="3513"/>
                <a:ext cx="253" cy="184"/>
              </a:xfrm>
              <a:custGeom>
                <a:avLst/>
                <a:gdLst>
                  <a:gd name="T0" fmla="*/ 0 w 267"/>
                  <a:gd name="T1" fmla="*/ 0 h 165"/>
                  <a:gd name="T2" fmla="*/ 7 w 267"/>
                  <a:gd name="T3" fmla="*/ 20 h 165"/>
                  <a:gd name="T4" fmla="*/ 9 w 267"/>
                  <a:gd name="T5" fmla="*/ 43 h 165"/>
                  <a:gd name="T6" fmla="*/ 17 w 267"/>
                  <a:gd name="T7" fmla="*/ 77 h 165"/>
                  <a:gd name="T8" fmla="*/ 25 w 267"/>
                  <a:gd name="T9" fmla="*/ 117 h 165"/>
                  <a:gd name="T10" fmla="*/ 35 w 267"/>
                  <a:gd name="T11" fmla="*/ 153 h 165"/>
                  <a:gd name="T12" fmla="*/ 45 w 267"/>
                  <a:gd name="T13" fmla="*/ 202 h 165"/>
                  <a:gd name="T14" fmla="*/ 57 w 267"/>
                  <a:gd name="T15" fmla="*/ 251 h 165"/>
                  <a:gd name="T16" fmla="*/ 68 w 267"/>
                  <a:gd name="T17" fmla="*/ 296 h 165"/>
                  <a:gd name="T18" fmla="*/ 80 w 267"/>
                  <a:gd name="T19" fmla="*/ 347 h 165"/>
                  <a:gd name="T20" fmla="*/ 91 w 267"/>
                  <a:gd name="T21" fmla="*/ 388 h 165"/>
                  <a:gd name="T22" fmla="*/ 102 w 267"/>
                  <a:gd name="T23" fmla="*/ 435 h 165"/>
                  <a:gd name="T24" fmla="*/ 111 w 267"/>
                  <a:gd name="T25" fmla="*/ 482 h 165"/>
                  <a:gd name="T26" fmla="*/ 122 w 267"/>
                  <a:gd name="T27" fmla="*/ 519 h 165"/>
                  <a:gd name="T28" fmla="*/ 129 w 267"/>
                  <a:gd name="T29" fmla="*/ 550 h 165"/>
                  <a:gd name="T30" fmla="*/ 136 w 267"/>
                  <a:gd name="T31" fmla="*/ 580 h 165"/>
                  <a:gd name="T32" fmla="*/ 138 w 267"/>
                  <a:gd name="T33" fmla="*/ 603 h 1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7"/>
                  <a:gd name="T52" fmla="*/ 0 h 165"/>
                  <a:gd name="T53" fmla="*/ 267 w 267"/>
                  <a:gd name="T54" fmla="*/ 165 h 16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7" h="165">
                    <a:moveTo>
                      <a:pt x="0" y="0"/>
                    </a:moveTo>
                    <a:lnTo>
                      <a:pt x="7" y="5"/>
                    </a:lnTo>
                    <a:lnTo>
                      <a:pt x="17" y="12"/>
                    </a:lnTo>
                    <a:lnTo>
                      <a:pt x="30" y="21"/>
                    </a:lnTo>
                    <a:lnTo>
                      <a:pt x="47" y="31"/>
                    </a:lnTo>
                    <a:lnTo>
                      <a:pt x="65" y="42"/>
                    </a:lnTo>
                    <a:lnTo>
                      <a:pt x="86" y="54"/>
                    </a:lnTo>
                    <a:lnTo>
                      <a:pt x="108" y="67"/>
                    </a:lnTo>
                    <a:lnTo>
                      <a:pt x="130" y="80"/>
                    </a:lnTo>
                    <a:lnTo>
                      <a:pt x="152" y="93"/>
                    </a:lnTo>
                    <a:lnTo>
                      <a:pt x="174" y="105"/>
                    </a:lnTo>
                    <a:lnTo>
                      <a:pt x="195" y="118"/>
                    </a:lnTo>
                    <a:lnTo>
                      <a:pt x="214" y="129"/>
                    </a:lnTo>
                    <a:lnTo>
                      <a:pt x="231" y="140"/>
                    </a:lnTo>
                    <a:lnTo>
                      <a:pt x="246" y="149"/>
                    </a:lnTo>
                    <a:lnTo>
                      <a:pt x="257" y="157"/>
                    </a:lnTo>
                    <a:lnTo>
                      <a:pt x="266" y="164"/>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31" name="Line 91">
                <a:extLst>
                  <a:ext uri="{FF2B5EF4-FFF2-40B4-BE49-F238E27FC236}">
                    <a16:creationId xmlns:a16="http://schemas.microsoft.com/office/drawing/2014/main" id="{279E0783-CE70-7146-468D-A848D530F5E0}"/>
                  </a:ext>
                </a:extLst>
              </p:cNvPr>
              <p:cNvSpPr>
                <a:spLocks noChangeShapeType="1"/>
              </p:cNvSpPr>
              <p:nvPr/>
            </p:nvSpPr>
            <p:spPr bwMode="auto">
              <a:xfrm flipV="1">
                <a:off x="4925" y="3506"/>
                <a:ext cx="4" cy="1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32" name="Line 92">
                <a:extLst>
                  <a:ext uri="{FF2B5EF4-FFF2-40B4-BE49-F238E27FC236}">
                    <a16:creationId xmlns:a16="http://schemas.microsoft.com/office/drawing/2014/main" id="{3DA2220A-2FA3-69FE-CF60-755F74CD4EB3}"/>
                  </a:ext>
                </a:extLst>
              </p:cNvPr>
              <p:cNvSpPr>
                <a:spLocks noChangeShapeType="1"/>
              </p:cNvSpPr>
              <p:nvPr/>
            </p:nvSpPr>
            <p:spPr bwMode="auto">
              <a:xfrm flipH="1">
                <a:off x="5173" y="3694"/>
                <a:ext cx="12" cy="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433" name="Freeform 93">
                <a:extLst>
                  <a:ext uri="{FF2B5EF4-FFF2-40B4-BE49-F238E27FC236}">
                    <a16:creationId xmlns:a16="http://schemas.microsoft.com/office/drawing/2014/main" id="{426547C5-E834-3347-2AFE-B53CC45EEA07}"/>
                  </a:ext>
                </a:extLst>
              </p:cNvPr>
              <p:cNvSpPr>
                <a:spLocks/>
              </p:cNvSpPr>
              <p:nvPr/>
            </p:nvSpPr>
            <p:spPr bwMode="auto">
              <a:xfrm>
                <a:off x="1425" y="3103"/>
                <a:ext cx="318" cy="375"/>
              </a:xfrm>
              <a:custGeom>
                <a:avLst/>
                <a:gdLst>
                  <a:gd name="T0" fmla="*/ 168 w 336"/>
                  <a:gd name="T1" fmla="*/ 482 h 336"/>
                  <a:gd name="T2" fmla="*/ 160 w 336"/>
                  <a:gd name="T3" fmla="*/ 523 h 336"/>
                  <a:gd name="T4" fmla="*/ 150 w 336"/>
                  <a:gd name="T5" fmla="*/ 577 h 336"/>
                  <a:gd name="T6" fmla="*/ 141 w 336"/>
                  <a:gd name="T7" fmla="*/ 618 h 336"/>
                  <a:gd name="T8" fmla="*/ 130 w 336"/>
                  <a:gd name="T9" fmla="*/ 669 h 336"/>
                  <a:gd name="T10" fmla="*/ 120 w 336"/>
                  <a:gd name="T11" fmla="*/ 714 h 336"/>
                  <a:gd name="T12" fmla="*/ 112 w 336"/>
                  <a:gd name="T13" fmla="*/ 752 h 336"/>
                  <a:gd name="T14" fmla="*/ 107 w 336"/>
                  <a:gd name="T15" fmla="*/ 794 h 336"/>
                  <a:gd name="T16" fmla="*/ 103 w 336"/>
                  <a:gd name="T17" fmla="*/ 829 h 336"/>
                  <a:gd name="T18" fmla="*/ 102 w 336"/>
                  <a:gd name="T19" fmla="*/ 850 h 336"/>
                  <a:gd name="T20" fmla="*/ 100 w 336"/>
                  <a:gd name="T21" fmla="*/ 872 h 336"/>
                  <a:gd name="T22" fmla="*/ 97 w 336"/>
                  <a:gd name="T23" fmla="*/ 897 h 336"/>
                  <a:gd name="T24" fmla="*/ 93 w 336"/>
                  <a:gd name="T25" fmla="*/ 912 h 336"/>
                  <a:gd name="T26" fmla="*/ 90 w 336"/>
                  <a:gd name="T27" fmla="*/ 942 h 336"/>
                  <a:gd name="T28" fmla="*/ 85 w 336"/>
                  <a:gd name="T29" fmla="*/ 968 h 336"/>
                  <a:gd name="T30" fmla="*/ 80 w 336"/>
                  <a:gd name="T31" fmla="*/ 999 h 336"/>
                  <a:gd name="T32" fmla="*/ 74 w 336"/>
                  <a:gd name="T33" fmla="*/ 1039 h 336"/>
                  <a:gd name="T34" fmla="*/ 64 w 336"/>
                  <a:gd name="T35" fmla="*/ 1070 h 336"/>
                  <a:gd name="T36" fmla="*/ 53 w 336"/>
                  <a:gd name="T37" fmla="*/ 1104 h 336"/>
                  <a:gd name="T38" fmla="*/ 40 w 336"/>
                  <a:gd name="T39" fmla="*/ 1135 h 336"/>
                  <a:gd name="T40" fmla="*/ 27 w 336"/>
                  <a:gd name="T41" fmla="*/ 1163 h 336"/>
                  <a:gd name="T42" fmla="*/ 17 w 336"/>
                  <a:gd name="T43" fmla="*/ 1189 h 336"/>
                  <a:gd name="T44" fmla="*/ 9 w 336"/>
                  <a:gd name="T45" fmla="*/ 1212 h 336"/>
                  <a:gd name="T46" fmla="*/ 3 w 336"/>
                  <a:gd name="T47" fmla="*/ 1237 h 336"/>
                  <a:gd name="T48" fmla="*/ 0 w 336"/>
                  <a:gd name="T49" fmla="*/ 1248 h 336"/>
                  <a:gd name="T50" fmla="*/ 2 w 336"/>
                  <a:gd name="T51" fmla="*/ 1237 h 336"/>
                  <a:gd name="T52" fmla="*/ 9 w 336"/>
                  <a:gd name="T53" fmla="*/ 1189 h 336"/>
                  <a:gd name="T54" fmla="*/ 9 w 336"/>
                  <a:gd name="T55" fmla="*/ 1134 h 336"/>
                  <a:gd name="T56" fmla="*/ 16 w 336"/>
                  <a:gd name="T57" fmla="*/ 1064 h 336"/>
                  <a:gd name="T58" fmla="*/ 21 w 336"/>
                  <a:gd name="T59" fmla="*/ 1001 h 336"/>
                  <a:gd name="T60" fmla="*/ 25 w 336"/>
                  <a:gd name="T61" fmla="*/ 949 h 336"/>
                  <a:gd name="T62" fmla="*/ 27 w 336"/>
                  <a:gd name="T63" fmla="*/ 912 h 336"/>
                  <a:gd name="T64" fmla="*/ 28 w 336"/>
                  <a:gd name="T65" fmla="*/ 911 h 336"/>
                  <a:gd name="T66" fmla="*/ 32 w 336"/>
                  <a:gd name="T67" fmla="*/ 890 h 336"/>
                  <a:gd name="T68" fmla="*/ 38 w 336"/>
                  <a:gd name="T69" fmla="*/ 850 h 336"/>
                  <a:gd name="T70" fmla="*/ 44 w 336"/>
                  <a:gd name="T71" fmla="*/ 805 h 336"/>
                  <a:gd name="T72" fmla="*/ 53 w 336"/>
                  <a:gd name="T73" fmla="*/ 748 h 336"/>
                  <a:gd name="T74" fmla="*/ 62 w 336"/>
                  <a:gd name="T75" fmla="*/ 696 h 336"/>
                  <a:gd name="T76" fmla="*/ 72 w 336"/>
                  <a:gd name="T77" fmla="*/ 644 h 336"/>
                  <a:gd name="T78" fmla="*/ 81 w 336"/>
                  <a:gd name="T79" fmla="*/ 599 h 336"/>
                  <a:gd name="T80" fmla="*/ 88 w 336"/>
                  <a:gd name="T81" fmla="*/ 565 h 336"/>
                  <a:gd name="T82" fmla="*/ 95 w 336"/>
                  <a:gd name="T83" fmla="*/ 522 h 336"/>
                  <a:gd name="T84" fmla="*/ 100 w 336"/>
                  <a:gd name="T85" fmla="*/ 481 h 336"/>
                  <a:gd name="T86" fmla="*/ 105 w 336"/>
                  <a:gd name="T87" fmla="*/ 431 h 336"/>
                  <a:gd name="T88" fmla="*/ 109 w 336"/>
                  <a:gd name="T89" fmla="*/ 378 h 336"/>
                  <a:gd name="T90" fmla="*/ 115 w 336"/>
                  <a:gd name="T91" fmla="*/ 336 h 336"/>
                  <a:gd name="T92" fmla="*/ 120 w 336"/>
                  <a:gd name="T93" fmla="*/ 296 h 336"/>
                  <a:gd name="T94" fmla="*/ 127 w 336"/>
                  <a:gd name="T95" fmla="*/ 262 h 336"/>
                  <a:gd name="T96" fmla="*/ 137 w 336"/>
                  <a:gd name="T97" fmla="*/ 229 h 336"/>
                  <a:gd name="T98" fmla="*/ 146 w 336"/>
                  <a:gd name="T99" fmla="*/ 201 h 336"/>
                  <a:gd name="T100" fmla="*/ 153 w 336"/>
                  <a:gd name="T101" fmla="*/ 156 h 336"/>
                  <a:gd name="T102" fmla="*/ 159 w 336"/>
                  <a:gd name="T103" fmla="*/ 118 h 336"/>
                  <a:gd name="T104" fmla="*/ 165 w 336"/>
                  <a:gd name="T105" fmla="*/ 77 h 336"/>
                  <a:gd name="T106" fmla="*/ 168 w 336"/>
                  <a:gd name="T107" fmla="*/ 45 h 336"/>
                  <a:gd name="T108" fmla="*/ 171 w 336"/>
                  <a:gd name="T109" fmla="*/ 21 h 336"/>
                  <a:gd name="T110" fmla="*/ 173 w 336"/>
                  <a:gd name="T111" fmla="*/ 0 h 3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36"/>
                  <a:gd name="T169" fmla="*/ 0 h 336"/>
                  <a:gd name="T170" fmla="*/ 336 w 336"/>
                  <a:gd name="T171" fmla="*/ 336 h 3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36" h="336">
                    <a:moveTo>
                      <a:pt x="327" y="122"/>
                    </a:moveTo>
                    <a:lnTo>
                      <a:pt x="324" y="129"/>
                    </a:lnTo>
                    <a:lnTo>
                      <a:pt x="318" y="135"/>
                    </a:lnTo>
                    <a:lnTo>
                      <a:pt x="311" y="141"/>
                    </a:lnTo>
                    <a:lnTo>
                      <a:pt x="302" y="148"/>
                    </a:lnTo>
                    <a:lnTo>
                      <a:pt x="293" y="154"/>
                    </a:lnTo>
                    <a:lnTo>
                      <a:pt x="283" y="160"/>
                    </a:lnTo>
                    <a:lnTo>
                      <a:pt x="273" y="166"/>
                    </a:lnTo>
                    <a:lnTo>
                      <a:pt x="262" y="173"/>
                    </a:lnTo>
                    <a:lnTo>
                      <a:pt x="252" y="179"/>
                    </a:lnTo>
                    <a:lnTo>
                      <a:pt x="242" y="185"/>
                    </a:lnTo>
                    <a:lnTo>
                      <a:pt x="232" y="191"/>
                    </a:lnTo>
                    <a:lnTo>
                      <a:pt x="224" y="196"/>
                    </a:lnTo>
                    <a:lnTo>
                      <a:pt x="216" y="202"/>
                    </a:lnTo>
                    <a:lnTo>
                      <a:pt x="210" y="207"/>
                    </a:lnTo>
                    <a:lnTo>
                      <a:pt x="206" y="212"/>
                    </a:lnTo>
                    <a:lnTo>
                      <a:pt x="203" y="216"/>
                    </a:lnTo>
                    <a:lnTo>
                      <a:pt x="201" y="221"/>
                    </a:lnTo>
                    <a:lnTo>
                      <a:pt x="199" y="224"/>
                    </a:lnTo>
                    <a:lnTo>
                      <a:pt x="198" y="228"/>
                    </a:lnTo>
                    <a:lnTo>
                      <a:pt x="196" y="231"/>
                    </a:lnTo>
                    <a:lnTo>
                      <a:pt x="193" y="234"/>
                    </a:lnTo>
                    <a:lnTo>
                      <a:pt x="190" y="237"/>
                    </a:lnTo>
                    <a:lnTo>
                      <a:pt x="188" y="240"/>
                    </a:lnTo>
                    <a:lnTo>
                      <a:pt x="184" y="242"/>
                    </a:lnTo>
                    <a:lnTo>
                      <a:pt x="181" y="245"/>
                    </a:lnTo>
                    <a:lnTo>
                      <a:pt x="178" y="249"/>
                    </a:lnTo>
                    <a:lnTo>
                      <a:pt x="173" y="252"/>
                    </a:lnTo>
                    <a:lnTo>
                      <a:pt x="169" y="255"/>
                    </a:lnTo>
                    <a:lnTo>
                      <a:pt x="164" y="259"/>
                    </a:lnTo>
                    <a:lnTo>
                      <a:pt x="160" y="263"/>
                    </a:lnTo>
                    <a:lnTo>
                      <a:pt x="154" y="267"/>
                    </a:lnTo>
                    <a:lnTo>
                      <a:pt x="148" y="273"/>
                    </a:lnTo>
                    <a:lnTo>
                      <a:pt x="142" y="278"/>
                    </a:lnTo>
                    <a:lnTo>
                      <a:pt x="134" y="283"/>
                    </a:lnTo>
                    <a:lnTo>
                      <a:pt x="124" y="287"/>
                    </a:lnTo>
                    <a:lnTo>
                      <a:pt x="114" y="292"/>
                    </a:lnTo>
                    <a:lnTo>
                      <a:pt x="102" y="296"/>
                    </a:lnTo>
                    <a:lnTo>
                      <a:pt x="90" y="301"/>
                    </a:lnTo>
                    <a:lnTo>
                      <a:pt x="78" y="304"/>
                    </a:lnTo>
                    <a:lnTo>
                      <a:pt x="65" y="308"/>
                    </a:lnTo>
                    <a:lnTo>
                      <a:pt x="54" y="312"/>
                    </a:lnTo>
                    <a:lnTo>
                      <a:pt x="43" y="316"/>
                    </a:lnTo>
                    <a:lnTo>
                      <a:pt x="31" y="319"/>
                    </a:lnTo>
                    <a:lnTo>
                      <a:pt x="22" y="322"/>
                    </a:lnTo>
                    <a:lnTo>
                      <a:pt x="15" y="325"/>
                    </a:lnTo>
                    <a:lnTo>
                      <a:pt x="8" y="328"/>
                    </a:lnTo>
                    <a:lnTo>
                      <a:pt x="3" y="331"/>
                    </a:lnTo>
                    <a:lnTo>
                      <a:pt x="0" y="334"/>
                    </a:lnTo>
                    <a:lnTo>
                      <a:pt x="0" y="335"/>
                    </a:lnTo>
                    <a:lnTo>
                      <a:pt x="0" y="334"/>
                    </a:lnTo>
                    <a:lnTo>
                      <a:pt x="2" y="331"/>
                    </a:lnTo>
                    <a:lnTo>
                      <a:pt x="6" y="326"/>
                    </a:lnTo>
                    <a:lnTo>
                      <a:pt x="10" y="319"/>
                    </a:lnTo>
                    <a:lnTo>
                      <a:pt x="15" y="311"/>
                    </a:lnTo>
                    <a:lnTo>
                      <a:pt x="19" y="303"/>
                    </a:lnTo>
                    <a:lnTo>
                      <a:pt x="25" y="294"/>
                    </a:lnTo>
                    <a:lnTo>
                      <a:pt x="30" y="285"/>
                    </a:lnTo>
                    <a:lnTo>
                      <a:pt x="36" y="276"/>
                    </a:lnTo>
                    <a:lnTo>
                      <a:pt x="40" y="268"/>
                    </a:lnTo>
                    <a:lnTo>
                      <a:pt x="45" y="260"/>
                    </a:lnTo>
                    <a:lnTo>
                      <a:pt x="49" y="254"/>
                    </a:lnTo>
                    <a:lnTo>
                      <a:pt x="53" y="249"/>
                    </a:lnTo>
                    <a:lnTo>
                      <a:pt x="54" y="245"/>
                    </a:lnTo>
                    <a:lnTo>
                      <a:pt x="55" y="244"/>
                    </a:lnTo>
                    <a:lnTo>
                      <a:pt x="56" y="244"/>
                    </a:lnTo>
                    <a:lnTo>
                      <a:pt x="58" y="241"/>
                    </a:lnTo>
                    <a:lnTo>
                      <a:pt x="62" y="238"/>
                    </a:lnTo>
                    <a:lnTo>
                      <a:pt x="66" y="234"/>
                    </a:lnTo>
                    <a:lnTo>
                      <a:pt x="72" y="228"/>
                    </a:lnTo>
                    <a:lnTo>
                      <a:pt x="79" y="222"/>
                    </a:lnTo>
                    <a:lnTo>
                      <a:pt x="87" y="216"/>
                    </a:lnTo>
                    <a:lnTo>
                      <a:pt x="96" y="209"/>
                    </a:lnTo>
                    <a:lnTo>
                      <a:pt x="103" y="201"/>
                    </a:lnTo>
                    <a:lnTo>
                      <a:pt x="112" y="194"/>
                    </a:lnTo>
                    <a:lnTo>
                      <a:pt x="121" y="186"/>
                    </a:lnTo>
                    <a:lnTo>
                      <a:pt x="130" y="179"/>
                    </a:lnTo>
                    <a:lnTo>
                      <a:pt x="139" y="172"/>
                    </a:lnTo>
                    <a:lnTo>
                      <a:pt x="148" y="166"/>
                    </a:lnTo>
                    <a:lnTo>
                      <a:pt x="156" y="160"/>
                    </a:lnTo>
                    <a:lnTo>
                      <a:pt x="164" y="155"/>
                    </a:lnTo>
                    <a:lnTo>
                      <a:pt x="171" y="151"/>
                    </a:lnTo>
                    <a:lnTo>
                      <a:pt x="178" y="145"/>
                    </a:lnTo>
                    <a:lnTo>
                      <a:pt x="183" y="140"/>
                    </a:lnTo>
                    <a:lnTo>
                      <a:pt x="188" y="134"/>
                    </a:lnTo>
                    <a:lnTo>
                      <a:pt x="193" y="128"/>
                    </a:lnTo>
                    <a:lnTo>
                      <a:pt x="198" y="122"/>
                    </a:lnTo>
                    <a:lnTo>
                      <a:pt x="203" y="115"/>
                    </a:lnTo>
                    <a:lnTo>
                      <a:pt x="208" y="109"/>
                    </a:lnTo>
                    <a:lnTo>
                      <a:pt x="212" y="102"/>
                    </a:lnTo>
                    <a:lnTo>
                      <a:pt x="217" y="96"/>
                    </a:lnTo>
                    <a:lnTo>
                      <a:pt x="223" y="90"/>
                    </a:lnTo>
                    <a:lnTo>
                      <a:pt x="228" y="85"/>
                    </a:lnTo>
                    <a:lnTo>
                      <a:pt x="235" y="79"/>
                    </a:lnTo>
                    <a:lnTo>
                      <a:pt x="242" y="74"/>
                    </a:lnTo>
                    <a:lnTo>
                      <a:pt x="248" y="70"/>
                    </a:lnTo>
                    <a:lnTo>
                      <a:pt x="257" y="66"/>
                    </a:lnTo>
                    <a:lnTo>
                      <a:pt x="265" y="62"/>
                    </a:lnTo>
                    <a:lnTo>
                      <a:pt x="274" y="58"/>
                    </a:lnTo>
                    <a:lnTo>
                      <a:pt x="282" y="53"/>
                    </a:lnTo>
                    <a:lnTo>
                      <a:pt x="289" y="48"/>
                    </a:lnTo>
                    <a:lnTo>
                      <a:pt x="296" y="42"/>
                    </a:lnTo>
                    <a:lnTo>
                      <a:pt x="302" y="37"/>
                    </a:lnTo>
                    <a:lnTo>
                      <a:pt x="308" y="31"/>
                    </a:lnTo>
                    <a:lnTo>
                      <a:pt x="314" y="26"/>
                    </a:lnTo>
                    <a:lnTo>
                      <a:pt x="318" y="21"/>
                    </a:lnTo>
                    <a:lnTo>
                      <a:pt x="323" y="16"/>
                    </a:lnTo>
                    <a:lnTo>
                      <a:pt x="326" y="12"/>
                    </a:lnTo>
                    <a:lnTo>
                      <a:pt x="329" y="8"/>
                    </a:lnTo>
                    <a:lnTo>
                      <a:pt x="332" y="5"/>
                    </a:lnTo>
                    <a:lnTo>
                      <a:pt x="334" y="2"/>
                    </a:lnTo>
                    <a:lnTo>
                      <a:pt x="335" y="0"/>
                    </a:lnTo>
                    <a:lnTo>
                      <a:pt x="327" y="122"/>
                    </a:lnTo>
                  </a:path>
                </a:pathLst>
              </a:custGeom>
              <a:solidFill>
                <a:srgbClr val="80CFE2"/>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34" name="Freeform 94">
                <a:extLst>
                  <a:ext uri="{FF2B5EF4-FFF2-40B4-BE49-F238E27FC236}">
                    <a16:creationId xmlns:a16="http://schemas.microsoft.com/office/drawing/2014/main" id="{9E459D05-BCFF-E9A6-AD7B-E7A55351BB90}"/>
                  </a:ext>
                </a:extLst>
              </p:cNvPr>
              <p:cNvSpPr>
                <a:spLocks/>
              </p:cNvSpPr>
              <p:nvPr/>
            </p:nvSpPr>
            <p:spPr bwMode="auto">
              <a:xfrm>
                <a:off x="1838" y="3093"/>
                <a:ext cx="94" cy="137"/>
              </a:xfrm>
              <a:custGeom>
                <a:avLst/>
                <a:gdLst>
                  <a:gd name="T0" fmla="*/ 0 w 99"/>
                  <a:gd name="T1" fmla="*/ 0 h 123"/>
                  <a:gd name="T2" fmla="*/ 12 w 99"/>
                  <a:gd name="T3" fmla="*/ 442 h 123"/>
                  <a:gd name="T4" fmla="*/ 29 w 99"/>
                  <a:gd name="T5" fmla="*/ 392 h 123"/>
                  <a:gd name="T6" fmla="*/ 29 w 99"/>
                  <a:gd name="T7" fmla="*/ 391 h 123"/>
                  <a:gd name="T8" fmla="*/ 30 w 99"/>
                  <a:gd name="T9" fmla="*/ 391 h 123"/>
                  <a:gd name="T10" fmla="*/ 32 w 99"/>
                  <a:gd name="T11" fmla="*/ 391 h 123"/>
                  <a:gd name="T12" fmla="*/ 33 w 99"/>
                  <a:gd name="T13" fmla="*/ 391 h 123"/>
                  <a:gd name="T14" fmla="*/ 34 w 99"/>
                  <a:gd name="T15" fmla="*/ 391 h 123"/>
                  <a:gd name="T16" fmla="*/ 35 w 99"/>
                  <a:gd name="T17" fmla="*/ 391 h 123"/>
                  <a:gd name="T18" fmla="*/ 38 w 99"/>
                  <a:gd name="T19" fmla="*/ 391 h 123"/>
                  <a:gd name="T20" fmla="*/ 39 w 99"/>
                  <a:gd name="T21" fmla="*/ 392 h 123"/>
                  <a:gd name="T22" fmla="*/ 40 w 99"/>
                  <a:gd name="T23" fmla="*/ 395 h 123"/>
                  <a:gd name="T24" fmla="*/ 42 w 99"/>
                  <a:gd name="T25" fmla="*/ 403 h 123"/>
                  <a:gd name="T26" fmla="*/ 44 w 99"/>
                  <a:gd name="T27" fmla="*/ 408 h 123"/>
                  <a:gd name="T28" fmla="*/ 46 w 99"/>
                  <a:gd name="T29" fmla="*/ 413 h 123"/>
                  <a:gd name="T30" fmla="*/ 48 w 99"/>
                  <a:gd name="T31" fmla="*/ 418 h 123"/>
                  <a:gd name="T32" fmla="*/ 50 w 99"/>
                  <a:gd name="T33" fmla="*/ 424 h 123"/>
                  <a:gd name="T34" fmla="*/ 52 w 99"/>
                  <a:gd name="T35" fmla="*/ 436 h 123"/>
                  <a:gd name="T36" fmla="*/ 53 w 99"/>
                  <a:gd name="T37" fmla="*/ 433 h 123"/>
                  <a:gd name="T38" fmla="*/ 52 w 99"/>
                  <a:gd name="T39" fmla="*/ 422 h 123"/>
                  <a:gd name="T40" fmla="*/ 51 w 99"/>
                  <a:gd name="T41" fmla="*/ 413 h 123"/>
                  <a:gd name="T42" fmla="*/ 48 w 99"/>
                  <a:gd name="T43" fmla="*/ 392 h 123"/>
                  <a:gd name="T44" fmla="*/ 47 w 99"/>
                  <a:gd name="T45" fmla="*/ 373 h 123"/>
                  <a:gd name="T46" fmla="*/ 44 w 99"/>
                  <a:gd name="T47" fmla="*/ 349 h 123"/>
                  <a:gd name="T48" fmla="*/ 40 w 99"/>
                  <a:gd name="T49" fmla="*/ 319 h 123"/>
                  <a:gd name="T50" fmla="*/ 37 w 99"/>
                  <a:gd name="T51" fmla="*/ 292 h 123"/>
                  <a:gd name="T52" fmla="*/ 33 w 99"/>
                  <a:gd name="T53" fmla="*/ 265 h 123"/>
                  <a:gd name="T54" fmla="*/ 28 w 99"/>
                  <a:gd name="T55" fmla="*/ 235 h 123"/>
                  <a:gd name="T56" fmla="*/ 26 w 99"/>
                  <a:gd name="T57" fmla="*/ 211 h 123"/>
                  <a:gd name="T58" fmla="*/ 24 w 99"/>
                  <a:gd name="T59" fmla="*/ 185 h 123"/>
                  <a:gd name="T60" fmla="*/ 21 w 99"/>
                  <a:gd name="T61" fmla="*/ 166 h 123"/>
                  <a:gd name="T62" fmla="*/ 19 w 99"/>
                  <a:gd name="T63" fmla="*/ 149 h 123"/>
                  <a:gd name="T64" fmla="*/ 18 w 99"/>
                  <a:gd name="T65" fmla="*/ 137 h 123"/>
                  <a:gd name="T66" fmla="*/ 17 w 99"/>
                  <a:gd name="T67" fmla="*/ 125 h 123"/>
                  <a:gd name="T68" fmla="*/ 16 w 99"/>
                  <a:gd name="T69" fmla="*/ 119 h 123"/>
                  <a:gd name="T70" fmla="*/ 14 w 99"/>
                  <a:gd name="T71" fmla="*/ 107 h 123"/>
                  <a:gd name="T72" fmla="*/ 12 w 99"/>
                  <a:gd name="T73" fmla="*/ 96 h 123"/>
                  <a:gd name="T74" fmla="*/ 9 w 99"/>
                  <a:gd name="T75" fmla="*/ 86 h 123"/>
                  <a:gd name="T76" fmla="*/ 9 w 99"/>
                  <a:gd name="T77" fmla="*/ 69 h 123"/>
                  <a:gd name="T78" fmla="*/ 9 w 99"/>
                  <a:gd name="T79" fmla="*/ 59 h 123"/>
                  <a:gd name="T80" fmla="*/ 9 w 99"/>
                  <a:gd name="T81" fmla="*/ 48 h 123"/>
                  <a:gd name="T82" fmla="*/ 9 w 99"/>
                  <a:gd name="T83" fmla="*/ 39 h 123"/>
                  <a:gd name="T84" fmla="*/ 8 w 99"/>
                  <a:gd name="T85" fmla="*/ 28 h 123"/>
                  <a:gd name="T86" fmla="*/ 6 w 99"/>
                  <a:gd name="T87" fmla="*/ 22 h 123"/>
                  <a:gd name="T88" fmla="*/ 3 w 99"/>
                  <a:gd name="T89" fmla="*/ 4 h 123"/>
                  <a:gd name="T90" fmla="*/ 2 w 99"/>
                  <a:gd name="T91" fmla="*/ 2 h 123"/>
                  <a:gd name="T92" fmla="*/ 1 w 99"/>
                  <a:gd name="T93" fmla="*/ 1 h 123"/>
                  <a:gd name="T94" fmla="*/ 0 w 99"/>
                  <a:gd name="T95" fmla="*/ 0 h 12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9"/>
                  <a:gd name="T145" fmla="*/ 0 h 123"/>
                  <a:gd name="T146" fmla="*/ 99 w 99"/>
                  <a:gd name="T147" fmla="*/ 123 h 12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9" h="123">
                    <a:moveTo>
                      <a:pt x="0" y="0"/>
                    </a:moveTo>
                    <a:lnTo>
                      <a:pt x="24" y="122"/>
                    </a:lnTo>
                    <a:lnTo>
                      <a:pt x="55" y="108"/>
                    </a:lnTo>
                    <a:lnTo>
                      <a:pt x="56" y="107"/>
                    </a:lnTo>
                    <a:lnTo>
                      <a:pt x="57" y="107"/>
                    </a:lnTo>
                    <a:lnTo>
                      <a:pt x="60" y="107"/>
                    </a:lnTo>
                    <a:lnTo>
                      <a:pt x="61" y="107"/>
                    </a:lnTo>
                    <a:lnTo>
                      <a:pt x="63" y="107"/>
                    </a:lnTo>
                    <a:lnTo>
                      <a:pt x="65" y="107"/>
                    </a:lnTo>
                    <a:lnTo>
                      <a:pt x="69" y="107"/>
                    </a:lnTo>
                    <a:lnTo>
                      <a:pt x="71" y="108"/>
                    </a:lnTo>
                    <a:lnTo>
                      <a:pt x="74" y="109"/>
                    </a:lnTo>
                    <a:lnTo>
                      <a:pt x="78" y="110"/>
                    </a:lnTo>
                    <a:lnTo>
                      <a:pt x="81" y="111"/>
                    </a:lnTo>
                    <a:lnTo>
                      <a:pt x="86" y="113"/>
                    </a:lnTo>
                    <a:lnTo>
                      <a:pt x="89" y="115"/>
                    </a:lnTo>
                    <a:lnTo>
                      <a:pt x="93" y="117"/>
                    </a:lnTo>
                    <a:lnTo>
                      <a:pt x="97" y="119"/>
                    </a:lnTo>
                    <a:lnTo>
                      <a:pt x="98" y="118"/>
                    </a:lnTo>
                    <a:lnTo>
                      <a:pt x="97" y="116"/>
                    </a:lnTo>
                    <a:lnTo>
                      <a:pt x="95" y="113"/>
                    </a:lnTo>
                    <a:lnTo>
                      <a:pt x="91" y="108"/>
                    </a:lnTo>
                    <a:lnTo>
                      <a:pt x="87" y="102"/>
                    </a:lnTo>
                    <a:lnTo>
                      <a:pt x="81" y="95"/>
                    </a:lnTo>
                    <a:lnTo>
                      <a:pt x="74" y="88"/>
                    </a:lnTo>
                    <a:lnTo>
                      <a:pt x="68" y="80"/>
                    </a:lnTo>
                    <a:lnTo>
                      <a:pt x="61" y="73"/>
                    </a:lnTo>
                    <a:lnTo>
                      <a:pt x="54" y="65"/>
                    </a:lnTo>
                    <a:lnTo>
                      <a:pt x="48" y="58"/>
                    </a:lnTo>
                    <a:lnTo>
                      <a:pt x="43" y="51"/>
                    </a:lnTo>
                    <a:lnTo>
                      <a:pt x="37" y="46"/>
                    </a:lnTo>
                    <a:lnTo>
                      <a:pt x="34" y="41"/>
                    </a:lnTo>
                    <a:lnTo>
                      <a:pt x="32" y="38"/>
                    </a:lnTo>
                    <a:lnTo>
                      <a:pt x="29" y="35"/>
                    </a:lnTo>
                    <a:lnTo>
                      <a:pt x="28" y="32"/>
                    </a:lnTo>
                    <a:lnTo>
                      <a:pt x="26" y="29"/>
                    </a:lnTo>
                    <a:lnTo>
                      <a:pt x="24" y="26"/>
                    </a:lnTo>
                    <a:lnTo>
                      <a:pt x="20" y="23"/>
                    </a:lnTo>
                    <a:lnTo>
                      <a:pt x="18" y="19"/>
                    </a:lnTo>
                    <a:lnTo>
                      <a:pt x="16" y="16"/>
                    </a:lnTo>
                    <a:lnTo>
                      <a:pt x="12" y="13"/>
                    </a:lnTo>
                    <a:lnTo>
                      <a:pt x="10" y="11"/>
                    </a:lnTo>
                    <a:lnTo>
                      <a:pt x="8" y="8"/>
                    </a:lnTo>
                    <a:lnTo>
                      <a:pt x="6" y="6"/>
                    </a:lnTo>
                    <a:lnTo>
                      <a:pt x="3" y="4"/>
                    </a:lnTo>
                    <a:lnTo>
                      <a:pt x="2" y="2"/>
                    </a:lnTo>
                    <a:lnTo>
                      <a:pt x="1" y="1"/>
                    </a:lnTo>
                    <a:lnTo>
                      <a:pt x="0" y="0"/>
                    </a:lnTo>
                  </a:path>
                </a:pathLst>
              </a:custGeom>
              <a:solidFill>
                <a:srgbClr val="80CFE2"/>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35" name="Freeform 95">
                <a:extLst>
                  <a:ext uri="{FF2B5EF4-FFF2-40B4-BE49-F238E27FC236}">
                    <a16:creationId xmlns:a16="http://schemas.microsoft.com/office/drawing/2014/main" id="{F81AE375-DA2A-A13A-122D-32BDBAF56419}"/>
                  </a:ext>
                </a:extLst>
              </p:cNvPr>
              <p:cNvSpPr>
                <a:spLocks/>
              </p:cNvSpPr>
              <p:nvPr/>
            </p:nvSpPr>
            <p:spPr bwMode="auto">
              <a:xfrm>
                <a:off x="4071" y="3211"/>
                <a:ext cx="80" cy="67"/>
              </a:xfrm>
              <a:custGeom>
                <a:avLst/>
                <a:gdLst>
                  <a:gd name="T0" fmla="*/ 0 w 84"/>
                  <a:gd name="T1" fmla="*/ 32 h 60"/>
                  <a:gd name="T2" fmla="*/ 3 w 84"/>
                  <a:gd name="T3" fmla="*/ 45 h 60"/>
                  <a:gd name="T4" fmla="*/ 8 w 84"/>
                  <a:gd name="T5" fmla="*/ 56 h 60"/>
                  <a:gd name="T6" fmla="*/ 10 w 84"/>
                  <a:gd name="T7" fmla="*/ 68 h 60"/>
                  <a:gd name="T8" fmla="*/ 10 w 84"/>
                  <a:gd name="T9" fmla="*/ 85 h 60"/>
                  <a:gd name="T10" fmla="*/ 10 w 84"/>
                  <a:gd name="T11" fmla="*/ 95 h 60"/>
                  <a:gd name="T12" fmla="*/ 12 w 84"/>
                  <a:gd name="T13" fmla="*/ 106 h 60"/>
                  <a:gd name="T14" fmla="*/ 15 w 84"/>
                  <a:gd name="T15" fmla="*/ 118 h 60"/>
                  <a:gd name="T16" fmla="*/ 19 w 84"/>
                  <a:gd name="T17" fmla="*/ 132 h 60"/>
                  <a:gd name="T18" fmla="*/ 21 w 84"/>
                  <a:gd name="T19" fmla="*/ 143 h 60"/>
                  <a:gd name="T20" fmla="*/ 23 w 84"/>
                  <a:gd name="T21" fmla="*/ 152 h 60"/>
                  <a:gd name="T22" fmla="*/ 25 w 84"/>
                  <a:gd name="T23" fmla="*/ 164 h 60"/>
                  <a:gd name="T24" fmla="*/ 27 w 84"/>
                  <a:gd name="T25" fmla="*/ 179 h 60"/>
                  <a:gd name="T26" fmla="*/ 29 w 84"/>
                  <a:gd name="T27" fmla="*/ 189 h 60"/>
                  <a:gd name="T28" fmla="*/ 30 w 84"/>
                  <a:gd name="T29" fmla="*/ 202 h 60"/>
                  <a:gd name="T30" fmla="*/ 34 w 84"/>
                  <a:gd name="T31" fmla="*/ 211 h 60"/>
                  <a:gd name="T32" fmla="*/ 37 w 84"/>
                  <a:gd name="T33" fmla="*/ 226 h 60"/>
                  <a:gd name="T34" fmla="*/ 46 w 84"/>
                  <a:gd name="T35" fmla="*/ 183 h 60"/>
                  <a:gd name="T36" fmla="*/ 44 w 84"/>
                  <a:gd name="T37" fmla="*/ 170 h 60"/>
                  <a:gd name="T38" fmla="*/ 42 w 84"/>
                  <a:gd name="T39" fmla="*/ 164 h 60"/>
                  <a:gd name="T40" fmla="*/ 40 w 84"/>
                  <a:gd name="T41" fmla="*/ 152 h 60"/>
                  <a:gd name="T42" fmla="*/ 36 w 84"/>
                  <a:gd name="T43" fmla="*/ 143 h 60"/>
                  <a:gd name="T44" fmla="*/ 34 w 84"/>
                  <a:gd name="T45" fmla="*/ 132 h 60"/>
                  <a:gd name="T46" fmla="*/ 30 w 84"/>
                  <a:gd name="T47" fmla="*/ 121 h 60"/>
                  <a:gd name="T48" fmla="*/ 29 w 84"/>
                  <a:gd name="T49" fmla="*/ 108 h 60"/>
                  <a:gd name="T50" fmla="*/ 27 w 84"/>
                  <a:gd name="T51" fmla="*/ 97 h 60"/>
                  <a:gd name="T52" fmla="*/ 25 w 84"/>
                  <a:gd name="T53" fmla="*/ 87 h 60"/>
                  <a:gd name="T54" fmla="*/ 23 w 84"/>
                  <a:gd name="T55" fmla="*/ 76 h 60"/>
                  <a:gd name="T56" fmla="*/ 21 w 84"/>
                  <a:gd name="T57" fmla="*/ 63 h 60"/>
                  <a:gd name="T58" fmla="*/ 19 w 84"/>
                  <a:gd name="T59" fmla="*/ 55 h 60"/>
                  <a:gd name="T60" fmla="*/ 16 w 84"/>
                  <a:gd name="T61" fmla="*/ 36 h 60"/>
                  <a:gd name="T62" fmla="*/ 13 w 84"/>
                  <a:gd name="T63" fmla="*/ 26 h 60"/>
                  <a:gd name="T64" fmla="*/ 10 w 84"/>
                  <a:gd name="T65" fmla="*/ 3 h 60"/>
                  <a:gd name="T66" fmla="*/ 10 w 84"/>
                  <a:gd name="T67" fmla="*/ 0 h 60"/>
                  <a:gd name="T68" fmla="*/ 0 w 84"/>
                  <a:gd name="T69" fmla="*/ 32 h 6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4"/>
                  <a:gd name="T106" fmla="*/ 0 h 60"/>
                  <a:gd name="T107" fmla="*/ 84 w 84"/>
                  <a:gd name="T108" fmla="*/ 60 h 6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4" h="60">
                    <a:moveTo>
                      <a:pt x="0" y="9"/>
                    </a:moveTo>
                    <a:lnTo>
                      <a:pt x="3" y="12"/>
                    </a:lnTo>
                    <a:lnTo>
                      <a:pt x="8" y="15"/>
                    </a:lnTo>
                    <a:lnTo>
                      <a:pt x="11" y="18"/>
                    </a:lnTo>
                    <a:lnTo>
                      <a:pt x="16" y="22"/>
                    </a:lnTo>
                    <a:lnTo>
                      <a:pt x="19" y="25"/>
                    </a:lnTo>
                    <a:lnTo>
                      <a:pt x="24" y="28"/>
                    </a:lnTo>
                    <a:lnTo>
                      <a:pt x="27" y="31"/>
                    </a:lnTo>
                    <a:lnTo>
                      <a:pt x="31" y="35"/>
                    </a:lnTo>
                    <a:lnTo>
                      <a:pt x="35" y="38"/>
                    </a:lnTo>
                    <a:lnTo>
                      <a:pt x="39" y="41"/>
                    </a:lnTo>
                    <a:lnTo>
                      <a:pt x="43" y="44"/>
                    </a:lnTo>
                    <a:lnTo>
                      <a:pt x="47" y="47"/>
                    </a:lnTo>
                    <a:lnTo>
                      <a:pt x="52" y="50"/>
                    </a:lnTo>
                    <a:lnTo>
                      <a:pt x="56" y="53"/>
                    </a:lnTo>
                    <a:lnTo>
                      <a:pt x="61" y="56"/>
                    </a:lnTo>
                    <a:lnTo>
                      <a:pt x="66" y="59"/>
                    </a:lnTo>
                    <a:lnTo>
                      <a:pt x="83" y="49"/>
                    </a:lnTo>
                    <a:lnTo>
                      <a:pt x="79" y="46"/>
                    </a:lnTo>
                    <a:lnTo>
                      <a:pt x="74" y="44"/>
                    </a:lnTo>
                    <a:lnTo>
                      <a:pt x="70" y="41"/>
                    </a:lnTo>
                    <a:lnTo>
                      <a:pt x="65" y="38"/>
                    </a:lnTo>
                    <a:lnTo>
                      <a:pt x="61" y="35"/>
                    </a:lnTo>
                    <a:lnTo>
                      <a:pt x="56" y="32"/>
                    </a:lnTo>
                    <a:lnTo>
                      <a:pt x="52" y="29"/>
                    </a:lnTo>
                    <a:lnTo>
                      <a:pt x="48" y="26"/>
                    </a:lnTo>
                    <a:lnTo>
                      <a:pt x="44" y="23"/>
                    </a:lnTo>
                    <a:lnTo>
                      <a:pt x="39" y="20"/>
                    </a:lnTo>
                    <a:lnTo>
                      <a:pt x="36" y="17"/>
                    </a:lnTo>
                    <a:lnTo>
                      <a:pt x="31" y="14"/>
                    </a:lnTo>
                    <a:lnTo>
                      <a:pt x="28" y="10"/>
                    </a:lnTo>
                    <a:lnTo>
                      <a:pt x="25" y="7"/>
                    </a:lnTo>
                    <a:lnTo>
                      <a:pt x="21" y="3"/>
                    </a:lnTo>
                    <a:lnTo>
                      <a:pt x="18" y="0"/>
                    </a:lnTo>
                    <a:lnTo>
                      <a:pt x="0" y="9"/>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36" name="Freeform 96">
                <a:extLst>
                  <a:ext uri="{FF2B5EF4-FFF2-40B4-BE49-F238E27FC236}">
                    <a16:creationId xmlns:a16="http://schemas.microsoft.com/office/drawing/2014/main" id="{9BBB2C31-5FA5-04A9-C78B-CE854F136BED}"/>
                  </a:ext>
                </a:extLst>
              </p:cNvPr>
              <p:cNvSpPr>
                <a:spLocks/>
              </p:cNvSpPr>
              <p:nvPr/>
            </p:nvSpPr>
            <p:spPr bwMode="auto">
              <a:xfrm>
                <a:off x="2061" y="3430"/>
                <a:ext cx="66" cy="79"/>
              </a:xfrm>
              <a:custGeom>
                <a:avLst/>
                <a:gdLst>
                  <a:gd name="T0" fmla="*/ 0 w 69"/>
                  <a:gd name="T1" fmla="*/ 20 h 71"/>
                  <a:gd name="T2" fmla="*/ 2 w 69"/>
                  <a:gd name="T3" fmla="*/ 30 h 71"/>
                  <a:gd name="T4" fmla="*/ 4 w 69"/>
                  <a:gd name="T5" fmla="*/ 46 h 71"/>
                  <a:gd name="T6" fmla="*/ 8 w 69"/>
                  <a:gd name="T7" fmla="*/ 62 h 71"/>
                  <a:gd name="T8" fmla="*/ 10 w 69"/>
                  <a:gd name="T9" fmla="*/ 77 h 71"/>
                  <a:gd name="T10" fmla="*/ 11 w 69"/>
                  <a:gd name="T11" fmla="*/ 89 h 71"/>
                  <a:gd name="T12" fmla="*/ 11 w 69"/>
                  <a:gd name="T13" fmla="*/ 107 h 71"/>
                  <a:gd name="T14" fmla="*/ 11 w 69"/>
                  <a:gd name="T15" fmla="*/ 120 h 71"/>
                  <a:gd name="T16" fmla="*/ 13 w 69"/>
                  <a:gd name="T17" fmla="*/ 134 h 71"/>
                  <a:gd name="T18" fmla="*/ 15 w 69"/>
                  <a:gd name="T19" fmla="*/ 149 h 71"/>
                  <a:gd name="T20" fmla="*/ 18 w 69"/>
                  <a:gd name="T21" fmla="*/ 164 h 71"/>
                  <a:gd name="T22" fmla="*/ 21 w 69"/>
                  <a:gd name="T23" fmla="*/ 180 h 71"/>
                  <a:gd name="T24" fmla="*/ 23 w 69"/>
                  <a:gd name="T25" fmla="*/ 190 h 71"/>
                  <a:gd name="T26" fmla="*/ 24 w 69"/>
                  <a:gd name="T27" fmla="*/ 206 h 71"/>
                  <a:gd name="T28" fmla="*/ 26 w 69"/>
                  <a:gd name="T29" fmla="*/ 223 h 71"/>
                  <a:gd name="T30" fmla="*/ 27 w 69"/>
                  <a:gd name="T31" fmla="*/ 231 h 71"/>
                  <a:gd name="T32" fmla="*/ 28 w 69"/>
                  <a:gd name="T33" fmla="*/ 255 h 71"/>
                  <a:gd name="T34" fmla="*/ 40 w 69"/>
                  <a:gd name="T35" fmla="*/ 235 h 71"/>
                  <a:gd name="T36" fmla="*/ 39 w 69"/>
                  <a:gd name="T37" fmla="*/ 226 h 71"/>
                  <a:gd name="T38" fmla="*/ 37 w 69"/>
                  <a:gd name="T39" fmla="*/ 206 h 71"/>
                  <a:gd name="T40" fmla="*/ 35 w 69"/>
                  <a:gd name="T41" fmla="*/ 190 h 71"/>
                  <a:gd name="T42" fmla="*/ 33 w 69"/>
                  <a:gd name="T43" fmla="*/ 180 h 71"/>
                  <a:gd name="T44" fmla="*/ 33 w 69"/>
                  <a:gd name="T45" fmla="*/ 164 h 71"/>
                  <a:gd name="T46" fmla="*/ 31 w 69"/>
                  <a:gd name="T47" fmla="*/ 149 h 71"/>
                  <a:gd name="T48" fmla="*/ 29 w 69"/>
                  <a:gd name="T49" fmla="*/ 134 h 71"/>
                  <a:gd name="T50" fmla="*/ 28 w 69"/>
                  <a:gd name="T51" fmla="*/ 120 h 71"/>
                  <a:gd name="T52" fmla="*/ 26 w 69"/>
                  <a:gd name="T53" fmla="*/ 107 h 71"/>
                  <a:gd name="T54" fmla="*/ 25 w 69"/>
                  <a:gd name="T55" fmla="*/ 87 h 71"/>
                  <a:gd name="T56" fmla="*/ 23 w 69"/>
                  <a:gd name="T57" fmla="*/ 70 h 71"/>
                  <a:gd name="T58" fmla="*/ 22 w 69"/>
                  <a:gd name="T59" fmla="*/ 57 h 71"/>
                  <a:gd name="T60" fmla="*/ 19 w 69"/>
                  <a:gd name="T61" fmla="*/ 41 h 71"/>
                  <a:gd name="T62" fmla="*/ 16 w 69"/>
                  <a:gd name="T63" fmla="*/ 27 h 71"/>
                  <a:gd name="T64" fmla="*/ 13 w 69"/>
                  <a:gd name="T65" fmla="*/ 4 h 71"/>
                  <a:gd name="T66" fmla="*/ 11 w 69"/>
                  <a:gd name="T67" fmla="*/ 0 h 71"/>
                  <a:gd name="T68" fmla="*/ 0 w 69"/>
                  <a:gd name="T69" fmla="*/ 20 h 7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9"/>
                  <a:gd name="T106" fmla="*/ 0 h 71"/>
                  <a:gd name="T107" fmla="*/ 69 w 69"/>
                  <a:gd name="T108" fmla="*/ 71 h 7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9" h="71">
                    <a:moveTo>
                      <a:pt x="0" y="5"/>
                    </a:moveTo>
                    <a:lnTo>
                      <a:pt x="2" y="9"/>
                    </a:lnTo>
                    <a:lnTo>
                      <a:pt x="4" y="13"/>
                    </a:lnTo>
                    <a:lnTo>
                      <a:pt x="8" y="17"/>
                    </a:lnTo>
                    <a:lnTo>
                      <a:pt x="10" y="21"/>
                    </a:lnTo>
                    <a:lnTo>
                      <a:pt x="13" y="25"/>
                    </a:lnTo>
                    <a:lnTo>
                      <a:pt x="18" y="29"/>
                    </a:lnTo>
                    <a:lnTo>
                      <a:pt x="21" y="33"/>
                    </a:lnTo>
                    <a:lnTo>
                      <a:pt x="25" y="37"/>
                    </a:lnTo>
                    <a:lnTo>
                      <a:pt x="27" y="41"/>
                    </a:lnTo>
                    <a:lnTo>
                      <a:pt x="30" y="45"/>
                    </a:lnTo>
                    <a:lnTo>
                      <a:pt x="33" y="49"/>
                    </a:lnTo>
                    <a:lnTo>
                      <a:pt x="37" y="53"/>
                    </a:lnTo>
                    <a:lnTo>
                      <a:pt x="39" y="57"/>
                    </a:lnTo>
                    <a:lnTo>
                      <a:pt x="42" y="61"/>
                    </a:lnTo>
                    <a:lnTo>
                      <a:pt x="45" y="65"/>
                    </a:lnTo>
                    <a:lnTo>
                      <a:pt x="46" y="70"/>
                    </a:lnTo>
                    <a:lnTo>
                      <a:pt x="68" y="66"/>
                    </a:lnTo>
                    <a:lnTo>
                      <a:pt x="66" y="62"/>
                    </a:lnTo>
                    <a:lnTo>
                      <a:pt x="64" y="57"/>
                    </a:lnTo>
                    <a:lnTo>
                      <a:pt x="61" y="53"/>
                    </a:lnTo>
                    <a:lnTo>
                      <a:pt x="58" y="49"/>
                    </a:lnTo>
                    <a:lnTo>
                      <a:pt x="56" y="45"/>
                    </a:lnTo>
                    <a:lnTo>
                      <a:pt x="52" y="41"/>
                    </a:lnTo>
                    <a:lnTo>
                      <a:pt x="49" y="37"/>
                    </a:lnTo>
                    <a:lnTo>
                      <a:pt x="47" y="33"/>
                    </a:lnTo>
                    <a:lnTo>
                      <a:pt x="43" y="29"/>
                    </a:lnTo>
                    <a:lnTo>
                      <a:pt x="40" y="24"/>
                    </a:lnTo>
                    <a:lnTo>
                      <a:pt x="37" y="20"/>
                    </a:lnTo>
                    <a:lnTo>
                      <a:pt x="35" y="16"/>
                    </a:lnTo>
                    <a:lnTo>
                      <a:pt x="31" y="12"/>
                    </a:lnTo>
                    <a:lnTo>
                      <a:pt x="28" y="8"/>
                    </a:lnTo>
                    <a:lnTo>
                      <a:pt x="25" y="4"/>
                    </a:lnTo>
                    <a:lnTo>
                      <a:pt x="22" y="0"/>
                    </a:lnTo>
                    <a:lnTo>
                      <a:pt x="0" y="5"/>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37" name="Freeform 97">
                <a:extLst>
                  <a:ext uri="{FF2B5EF4-FFF2-40B4-BE49-F238E27FC236}">
                    <a16:creationId xmlns:a16="http://schemas.microsoft.com/office/drawing/2014/main" id="{453C6753-3EEB-B59B-155C-C49F01524167}"/>
                  </a:ext>
                </a:extLst>
              </p:cNvPr>
              <p:cNvSpPr>
                <a:spLocks/>
              </p:cNvSpPr>
              <p:nvPr/>
            </p:nvSpPr>
            <p:spPr bwMode="auto">
              <a:xfrm>
                <a:off x="2598" y="2914"/>
                <a:ext cx="63" cy="35"/>
              </a:xfrm>
              <a:custGeom>
                <a:avLst/>
                <a:gdLst>
                  <a:gd name="T0" fmla="*/ 30 w 66"/>
                  <a:gd name="T1" fmla="*/ 0 h 31"/>
                  <a:gd name="T2" fmla="*/ 28 w 66"/>
                  <a:gd name="T3" fmla="*/ 1 h 31"/>
                  <a:gd name="T4" fmla="*/ 27 w 66"/>
                  <a:gd name="T5" fmla="*/ 2 h 31"/>
                  <a:gd name="T6" fmla="*/ 26 w 66"/>
                  <a:gd name="T7" fmla="*/ 20 h 31"/>
                  <a:gd name="T8" fmla="*/ 24 w 66"/>
                  <a:gd name="T9" fmla="*/ 23 h 31"/>
                  <a:gd name="T10" fmla="*/ 22 w 66"/>
                  <a:gd name="T11" fmla="*/ 26 h 31"/>
                  <a:gd name="T12" fmla="*/ 21 w 66"/>
                  <a:gd name="T13" fmla="*/ 29 h 31"/>
                  <a:gd name="T14" fmla="*/ 18 w 66"/>
                  <a:gd name="T15" fmla="*/ 33 h 31"/>
                  <a:gd name="T16" fmla="*/ 15 w 66"/>
                  <a:gd name="T17" fmla="*/ 37 h 31"/>
                  <a:gd name="T18" fmla="*/ 12 w 66"/>
                  <a:gd name="T19" fmla="*/ 42 h 31"/>
                  <a:gd name="T20" fmla="*/ 10 w 66"/>
                  <a:gd name="T21" fmla="*/ 47 h 31"/>
                  <a:gd name="T22" fmla="*/ 10 w 66"/>
                  <a:gd name="T23" fmla="*/ 53 h 31"/>
                  <a:gd name="T24" fmla="*/ 10 w 66"/>
                  <a:gd name="T25" fmla="*/ 55 h 31"/>
                  <a:gd name="T26" fmla="*/ 10 w 66"/>
                  <a:gd name="T27" fmla="*/ 60 h 31"/>
                  <a:gd name="T28" fmla="*/ 7 w 66"/>
                  <a:gd name="T29" fmla="*/ 62 h 31"/>
                  <a:gd name="T30" fmla="*/ 3 w 66"/>
                  <a:gd name="T31" fmla="*/ 62 h 31"/>
                  <a:gd name="T32" fmla="*/ 0 w 66"/>
                  <a:gd name="T33" fmla="*/ 68 h 31"/>
                  <a:gd name="T34" fmla="*/ 9 w 66"/>
                  <a:gd name="T35" fmla="*/ 128 h 31"/>
                  <a:gd name="T36" fmla="*/ 10 w 66"/>
                  <a:gd name="T37" fmla="*/ 124 h 31"/>
                  <a:gd name="T38" fmla="*/ 10 w 66"/>
                  <a:gd name="T39" fmla="*/ 124 h 31"/>
                  <a:gd name="T40" fmla="*/ 10 w 66"/>
                  <a:gd name="T41" fmla="*/ 113 h 31"/>
                  <a:gd name="T42" fmla="*/ 12 w 66"/>
                  <a:gd name="T43" fmla="*/ 111 h 31"/>
                  <a:gd name="T44" fmla="*/ 15 w 66"/>
                  <a:gd name="T45" fmla="*/ 110 h 31"/>
                  <a:gd name="T46" fmla="*/ 19 w 66"/>
                  <a:gd name="T47" fmla="*/ 100 h 31"/>
                  <a:gd name="T48" fmla="*/ 22 w 66"/>
                  <a:gd name="T49" fmla="*/ 98 h 31"/>
                  <a:gd name="T50" fmla="*/ 23 w 66"/>
                  <a:gd name="T51" fmla="*/ 97 h 31"/>
                  <a:gd name="T52" fmla="*/ 25 w 66"/>
                  <a:gd name="T53" fmla="*/ 89 h 31"/>
                  <a:gd name="T54" fmla="*/ 27 w 66"/>
                  <a:gd name="T55" fmla="*/ 79 h 31"/>
                  <a:gd name="T56" fmla="*/ 29 w 66"/>
                  <a:gd name="T57" fmla="*/ 77 h 31"/>
                  <a:gd name="T58" fmla="*/ 31 w 66"/>
                  <a:gd name="T59" fmla="*/ 70 h 31"/>
                  <a:gd name="T60" fmla="*/ 32 w 66"/>
                  <a:gd name="T61" fmla="*/ 62 h 31"/>
                  <a:gd name="T62" fmla="*/ 32 w 66"/>
                  <a:gd name="T63" fmla="*/ 60 h 31"/>
                  <a:gd name="T64" fmla="*/ 35 w 66"/>
                  <a:gd name="T65" fmla="*/ 53 h 31"/>
                  <a:gd name="T66" fmla="*/ 37 w 66"/>
                  <a:gd name="T67" fmla="*/ 47 h 31"/>
                  <a:gd name="T68" fmla="*/ 30 w 66"/>
                  <a:gd name="T69" fmla="*/ 0 h 3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6"/>
                  <a:gd name="T106" fmla="*/ 0 h 31"/>
                  <a:gd name="T107" fmla="*/ 66 w 66"/>
                  <a:gd name="T108" fmla="*/ 31 h 3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6" h="31">
                    <a:moveTo>
                      <a:pt x="52" y="0"/>
                    </a:moveTo>
                    <a:lnTo>
                      <a:pt x="48" y="1"/>
                    </a:lnTo>
                    <a:lnTo>
                      <a:pt x="45" y="2"/>
                    </a:lnTo>
                    <a:lnTo>
                      <a:pt x="43" y="4"/>
                    </a:lnTo>
                    <a:lnTo>
                      <a:pt x="39" y="5"/>
                    </a:lnTo>
                    <a:lnTo>
                      <a:pt x="36" y="6"/>
                    </a:lnTo>
                    <a:lnTo>
                      <a:pt x="34" y="7"/>
                    </a:lnTo>
                    <a:lnTo>
                      <a:pt x="30" y="8"/>
                    </a:lnTo>
                    <a:lnTo>
                      <a:pt x="27" y="9"/>
                    </a:lnTo>
                    <a:lnTo>
                      <a:pt x="24" y="10"/>
                    </a:lnTo>
                    <a:lnTo>
                      <a:pt x="20" y="11"/>
                    </a:lnTo>
                    <a:lnTo>
                      <a:pt x="17" y="12"/>
                    </a:lnTo>
                    <a:lnTo>
                      <a:pt x="13" y="13"/>
                    </a:lnTo>
                    <a:lnTo>
                      <a:pt x="10" y="14"/>
                    </a:lnTo>
                    <a:lnTo>
                      <a:pt x="7" y="15"/>
                    </a:lnTo>
                    <a:lnTo>
                      <a:pt x="3" y="15"/>
                    </a:lnTo>
                    <a:lnTo>
                      <a:pt x="0" y="16"/>
                    </a:lnTo>
                    <a:lnTo>
                      <a:pt x="9" y="30"/>
                    </a:lnTo>
                    <a:lnTo>
                      <a:pt x="12" y="28"/>
                    </a:lnTo>
                    <a:lnTo>
                      <a:pt x="16" y="28"/>
                    </a:lnTo>
                    <a:lnTo>
                      <a:pt x="20" y="27"/>
                    </a:lnTo>
                    <a:lnTo>
                      <a:pt x="24" y="26"/>
                    </a:lnTo>
                    <a:lnTo>
                      <a:pt x="27" y="25"/>
                    </a:lnTo>
                    <a:lnTo>
                      <a:pt x="31" y="24"/>
                    </a:lnTo>
                    <a:lnTo>
                      <a:pt x="35" y="23"/>
                    </a:lnTo>
                    <a:lnTo>
                      <a:pt x="38" y="22"/>
                    </a:lnTo>
                    <a:lnTo>
                      <a:pt x="41" y="21"/>
                    </a:lnTo>
                    <a:lnTo>
                      <a:pt x="45" y="19"/>
                    </a:lnTo>
                    <a:lnTo>
                      <a:pt x="49" y="18"/>
                    </a:lnTo>
                    <a:lnTo>
                      <a:pt x="53" y="17"/>
                    </a:lnTo>
                    <a:lnTo>
                      <a:pt x="56" y="15"/>
                    </a:lnTo>
                    <a:lnTo>
                      <a:pt x="58" y="14"/>
                    </a:lnTo>
                    <a:lnTo>
                      <a:pt x="62" y="12"/>
                    </a:lnTo>
                    <a:lnTo>
                      <a:pt x="65" y="11"/>
                    </a:lnTo>
                    <a:lnTo>
                      <a:pt x="52" y="0"/>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38" name="Freeform 98">
                <a:extLst>
                  <a:ext uri="{FF2B5EF4-FFF2-40B4-BE49-F238E27FC236}">
                    <a16:creationId xmlns:a16="http://schemas.microsoft.com/office/drawing/2014/main" id="{0205517E-A4D5-5C59-F836-6E32DE8C2774}"/>
                  </a:ext>
                </a:extLst>
              </p:cNvPr>
              <p:cNvSpPr>
                <a:spLocks/>
              </p:cNvSpPr>
              <p:nvPr/>
            </p:nvSpPr>
            <p:spPr bwMode="auto">
              <a:xfrm>
                <a:off x="2735" y="2909"/>
                <a:ext cx="28" cy="20"/>
              </a:xfrm>
              <a:custGeom>
                <a:avLst/>
                <a:gdLst>
                  <a:gd name="T0" fmla="*/ 7 w 30"/>
                  <a:gd name="T1" fmla="*/ 0 h 18"/>
                  <a:gd name="T2" fmla="*/ 7 w 30"/>
                  <a:gd name="T3" fmla="*/ 1 h 18"/>
                  <a:gd name="T4" fmla="*/ 7 w 30"/>
                  <a:gd name="T5" fmla="*/ 2 h 18"/>
                  <a:gd name="T6" fmla="*/ 6 w 30"/>
                  <a:gd name="T7" fmla="*/ 3 h 18"/>
                  <a:gd name="T8" fmla="*/ 6 w 30"/>
                  <a:gd name="T9" fmla="*/ 4 h 18"/>
                  <a:gd name="T10" fmla="*/ 6 w 30"/>
                  <a:gd name="T11" fmla="*/ 20 h 18"/>
                  <a:gd name="T12" fmla="*/ 4 w 30"/>
                  <a:gd name="T13" fmla="*/ 20 h 18"/>
                  <a:gd name="T14" fmla="*/ 4 w 30"/>
                  <a:gd name="T15" fmla="*/ 22 h 18"/>
                  <a:gd name="T16" fmla="*/ 3 w 30"/>
                  <a:gd name="T17" fmla="*/ 24 h 18"/>
                  <a:gd name="T18" fmla="*/ 2 w 30"/>
                  <a:gd name="T19" fmla="*/ 27 h 18"/>
                  <a:gd name="T20" fmla="*/ 2 w 30"/>
                  <a:gd name="T21" fmla="*/ 30 h 18"/>
                  <a:gd name="T22" fmla="*/ 2 w 30"/>
                  <a:gd name="T23" fmla="*/ 33 h 18"/>
                  <a:gd name="T24" fmla="*/ 1 w 30"/>
                  <a:gd name="T25" fmla="*/ 33 h 18"/>
                  <a:gd name="T26" fmla="*/ 1 w 30"/>
                  <a:gd name="T27" fmla="*/ 37 h 18"/>
                  <a:gd name="T28" fmla="*/ 0 w 30"/>
                  <a:gd name="T29" fmla="*/ 41 h 18"/>
                  <a:gd name="T30" fmla="*/ 10 w 30"/>
                  <a:gd name="T31" fmla="*/ 60 h 18"/>
                  <a:gd name="T32" fmla="*/ 10 w 30"/>
                  <a:gd name="T33" fmla="*/ 57 h 18"/>
                  <a:gd name="T34" fmla="*/ 10 w 30"/>
                  <a:gd name="T35" fmla="*/ 54 h 18"/>
                  <a:gd name="T36" fmla="*/ 10 w 30"/>
                  <a:gd name="T37" fmla="*/ 54 h 18"/>
                  <a:gd name="T38" fmla="*/ 10 w 30"/>
                  <a:gd name="T39" fmla="*/ 51 h 18"/>
                  <a:gd name="T40" fmla="*/ 11 w 30"/>
                  <a:gd name="T41" fmla="*/ 46 h 18"/>
                  <a:gd name="T42" fmla="*/ 11 w 30"/>
                  <a:gd name="T43" fmla="*/ 41 h 18"/>
                  <a:gd name="T44" fmla="*/ 12 w 30"/>
                  <a:gd name="T45" fmla="*/ 41 h 18"/>
                  <a:gd name="T46" fmla="*/ 12 w 30"/>
                  <a:gd name="T47" fmla="*/ 37 h 18"/>
                  <a:gd name="T48" fmla="*/ 12 w 30"/>
                  <a:gd name="T49" fmla="*/ 33 h 18"/>
                  <a:gd name="T50" fmla="*/ 12 w 30"/>
                  <a:gd name="T51" fmla="*/ 30 h 18"/>
                  <a:gd name="T52" fmla="*/ 13 w 30"/>
                  <a:gd name="T53" fmla="*/ 27 h 18"/>
                  <a:gd name="T54" fmla="*/ 13 w 30"/>
                  <a:gd name="T55" fmla="*/ 24 h 18"/>
                  <a:gd name="T56" fmla="*/ 13 w 30"/>
                  <a:gd name="T57" fmla="*/ 22 h 18"/>
                  <a:gd name="T58" fmla="*/ 13 w 30"/>
                  <a:gd name="T59" fmla="*/ 20 h 18"/>
                  <a:gd name="T60" fmla="*/ 7 w 30"/>
                  <a:gd name="T61" fmla="*/ 0 h 1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0"/>
                  <a:gd name="T94" fmla="*/ 0 h 18"/>
                  <a:gd name="T95" fmla="*/ 30 w 30"/>
                  <a:gd name="T96" fmla="*/ 18 h 1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0" h="18">
                    <a:moveTo>
                      <a:pt x="8" y="0"/>
                    </a:moveTo>
                    <a:lnTo>
                      <a:pt x="8" y="1"/>
                    </a:lnTo>
                    <a:lnTo>
                      <a:pt x="7" y="2"/>
                    </a:lnTo>
                    <a:lnTo>
                      <a:pt x="6" y="3"/>
                    </a:lnTo>
                    <a:lnTo>
                      <a:pt x="6" y="4"/>
                    </a:lnTo>
                    <a:lnTo>
                      <a:pt x="6" y="5"/>
                    </a:lnTo>
                    <a:lnTo>
                      <a:pt x="4" y="5"/>
                    </a:lnTo>
                    <a:lnTo>
                      <a:pt x="4" y="6"/>
                    </a:lnTo>
                    <a:lnTo>
                      <a:pt x="3" y="7"/>
                    </a:lnTo>
                    <a:lnTo>
                      <a:pt x="2" y="8"/>
                    </a:lnTo>
                    <a:lnTo>
                      <a:pt x="2" y="9"/>
                    </a:lnTo>
                    <a:lnTo>
                      <a:pt x="2" y="10"/>
                    </a:lnTo>
                    <a:lnTo>
                      <a:pt x="1" y="10"/>
                    </a:lnTo>
                    <a:lnTo>
                      <a:pt x="1" y="11"/>
                    </a:lnTo>
                    <a:lnTo>
                      <a:pt x="0" y="12"/>
                    </a:lnTo>
                    <a:lnTo>
                      <a:pt x="22" y="17"/>
                    </a:lnTo>
                    <a:lnTo>
                      <a:pt x="22" y="16"/>
                    </a:lnTo>
                    <a:lnTo>
                      <a:pt x="22" y="15"/>
                    </a:lnTo>
                    <a:lnTo>
                      <a:pt x="23" y="15"/>
                    </a:lnTo>
                    <a:lnTo>
                      <a:pt x="23" y="14"/>
                    </a:lnTo>
                    <a:lnTo>
                      <a:pt x="25" y="13"/>
                    </a:lnTo>
                    <a:lnTo>
                      <a:pt x="25" y="12"/>
                    </a:lnTo>
                    <a:lnTo>
                      <a:pt x="26" y="12"/>
                    </a:lnTo>
                    <a:lnTo>
                      <a:pt x="26" y="11"/>
                    </a:lnTo>
                    <a:lnTo>
                      <a:pt x="26" y="10"/>
                    </a:lnTo>
                    <a:lnTo>
                      <a:pt x="27" y="9"/>
                    </a:lnTo>
                    <a:lnTo>
                      <a:pt x="28" y="8"/>
                    </a:lnTo>
                    <a:lnTo>
                      <a:pt x="28" y="7"/>
                    </a:lnTo>
                    <a:lnTo>
                      <a:pt x="29" y="6"/>
                    </a:lnTo>
                    <a:lnTo>
                      <a:pt x="29" y="5"/>
                    </a:lnTo>
                    <a:lnTo>
                      <a:pt x="8" y="0"/>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39" name="Freeform 99">
                <a:extLst>
                  <a:ext uri="{FF2B5EF4-FFF2-40B4-BE49-F238E27FC236}">
                    <a16:creationId xmlns:a16="http://schemas.microsoft.com/office/drawing/2014/main" id="{30DB2564-B037-F04C-D116-3A89F82ADCAB}"/>
                  </a:ext>
                </a:extLst>
              </p:cNvPr>
              <p:cNvSpPr>
                <a:spLocks/>
              </p:cNvSpPr>
              <p:nvPr/>
            </p:nvSpPr>
            <p:spPr bwMode="auto">
              <a:xfrm>
                <a:off x="3630" y="2914"/>
                <a:ext cx="135" cy="68"/>
              </a:xfrm>
              <a:custGeom>
                <a:avLst/>
                <a:gdLst>
                  <a:gd name="T0" fmla="*/ 0 w 143"/>
                  <a:gd name="T1" fmla="*/ 39 h 61"/>
                  <a:gd name="T2" fmla="*/ 7 w 143"/>
                  <a:gd name="T3" fmla="*/ 54 h 61"/>
                  <a:gd name="T4" fmla="*/ 8 w 143"/>
                  <a:gd name="T5" fmla="*/ 67 h 61"/>
                  <a:gd name="T6" fmla="*/ 11 w 143"/>
                  <a:gd name="T7" fmla="*/ 77 h 61"/>
                  <a:gd name="T8" fmla="*/ 16 w 143"/>
                  <a:gd name="T9" fmla="*/ 94 h 61"/>
                  <a:gd name="T10" fmla="*/ 20 w 143"/>
                  <a:gd name="T11" fmla="*/ 105 h 61"/>
                  <a:gd name="T12" fmla="*/ 23 w 143"/>
                  <a:gd name="T13" fmla="*/ 117 h 61"/>
                  <a:gd name="T14" fmla="*/ 26 w 143"/>
                  <a:gd name="T15" fmla="*/ 123 h 61"/>
                  <a:gd name="T16" fmla="*/ 32 w 143"/>
                  <a:gd name="T17" fmla="*/ 136 h 61"/>
                  <a:gd name="T18" fmla="*/ 36 w 143"/>
                  <a:gd name="T19" fmla="*/ 148 h 61"/>
                  <a:gd name="T20" fmla="*/ 40 w 143"/>
                  <a:gd name="T21" fmla="*/ 162 h 61"/>
                  <a:gd name="T22" fmla="*/ 44 w 143"/>
                  <a:gd name="T23" fmla="*/ 165 h 61"/>
                  <a:gd name="T24" fmla="*/ 48 w 143"/>
                  <a:gd name="T25" fmla="*/ 181 h 61"/>
                  <a:gd name="T26" fmla="*/ 53 w 143"/>
                  <a:gd name="T27" fmla="*/ 188 h 61"/>
                  <a:gd name="T28" fmla="*/ 56 w 143"/>
                  <a:gd name="T29" fmla="*/ 202 h 61"/>
                  <a:gd name="T30" fmla="*/ 60 w 143"/>
                  <a:gd name="T31" fmla="*/ 210 h 61"/>
                  <a:gd name="T32" fmla="*/ 64 w 143"/>
                  <a:gd name="T33" fmla="*/ 225 h 61"/>
                  <a:gd name="T34" fmla="*/ 72 w 143"/>
                  <a:gd name="T35" fmla="*/ 183 h 61"/>
                  <a:gd name="T36" fmla="*/ 68 w 143"/>
                  <a:gd name="T37" fmla="*/ 169 h 61"/>
                  <a:gd name="T38" fmla="*/ 62 w 143"/>
                  <a:gd name="T39" fmla="*/ 162 h 61"/>
                  <a:gd name="T40" fmla="*/ 59 w 143"/>
                  <a:gd name="T41" fmla="*/ 148 h 61"/>
                  <a:gd name="T42" fmla="*/ 55 w 143"/>
                  <a:gd name="T43" fmla="*/ 136 h 61"/>
                  <a:gd name="T44" fmla="*/ 51 w 143"/>
                  <a:gd name="T45" fmla="*/ 123 h 61"/>
                  <a:gd name="T46" fmla="*/ 47 w 143"/>
                  <a:gd name="T47" fmla="*/ 117 h 61"/>
                  <a:gd name="T48" fmla="*/ 42 w 143"/>
                  <a:gd name="T49" fmla="*/ 105 h 61"/>
                  <a:gd name="T50" fmla="*/ 39 w 143"/>
                  <a:gd name="T51" fmla="*/ 94 h 61"/>
                  <a:gd name="T52" fmla="*/ 35 w 143"/>
                  <a:gd name="T53" fmla="*/ 84 h 61"/>
                  <a:gd name="T54" fmla="*/ 31 w 143"/>
                  <a:gd name="T55" fmla="*/ 75 h 61"/>
                  <a:gd name="T56" fmla="*/ 26 w 143"/>
                  <a:gd name="T57" fmla="*/ 62 h 61"/>
                  <a:gd name="T58" fmla="*/ 23 w 143"/>
                  <a:gd name="T59" fmla="*/ 48 h 61"/>
                  <a:gd name="T60" fmla="*/ 19 w 143"/>
                  <a:gd name="T61" fmla="*/ 35 h 61"/>
                  <a:gd name="T62" fmla="*/ 15 w 143"/>
                  <a:gd name="T63" fmla="*/ 25 h 61"/>
                  <a:gd name="T64" fmla="*/ 11 w 143"/>
                  <a:gd name="T65" fmla="*/ 3 h 61"/>
                  <a:gd name="T66" fmla="*/ 8 w 143"/>
                  <a:gd name="T67" fmla="*/ 0 h 61"/>
                  <a:gd name="T68" fmla="*/ 0 w 143"/>
                  <a:gd name="T69" fmla="*/ 39 h 6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3"/>
                  <a:gd name="T106" fmla="*/ 0 h 61"/>
                  <a:gd name="T107" fmla="*/ 143 w 143"/>
                  <a:gd name="T108" fmla="*/ 61 h 6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3" h="61">
                    <a:moveTo>
                      <a:pt x="0" y="11"/>
                    </a:moveTo>
                    <a:lnTo>
                      <a:pt x="7" y="14"/>
                    </a:lnTo>
                    <a:lnTo>
                      <a:pt x="15" y="18"/>
                    </a:lnTo>
                    <a:lnTo>
                      <a:pt x="23" y="21"/>
                    </a:lnTo>
                    <a:lnTo>
                      <a:pt x="30" y="25"/>
                    </a:lnTo>
                    <a:lnTo>
                      <a:pt x="38" y="28"/>
                    </a:lnTo>
                    <a:lnTo>
                      <a:pt x="46" y="31"/>
                    </a:lnTo>
                    <a:lnTo>
                      <a:pt x="54" y="34"/>
                    </a:lnTo>
                    <a:lnTo>
                      <a:pt x="63" y="37"/>
                    </a:lnTo>
                    <a:lnTo>
                      <a:pt x="71" y="40"/>
                    </a:lnTo>
                    <a:lnTo>
                      <a:pt x="79" y="43"/>
                    </a:lnTo>
                    <a:lnTo>
                      <a:pt x="88" y="45"/>
                    </a:lnTo>
                    <a:lnTo>
                      <a:pt x="96" y="48"/>
                    </a:lnTo>
                    <a:lnTo>
                      <a:pt x="104" y="51"/>
                    </a:lnTo>
                    <a:lnTo>
                      <a:pt x="112" y="54"/>
                    </a:lnTo>
                    <a:lnTo>
                      <a:pt x="121" y="57"/>
                    </a:lnTo>
                    <a:lnTo>
                      <a:pt x="128" y="60"/>
                    </a:lnTo>
                    <a:lnTo>
                      <a:pt x="142" y="49"/>
                    </a:lnTo>
                    <a:lnTo>
                      <a:pt x="134" y="46"/>
                    </a:lnTo>
                    <a:lnTo>
                      <a:pt x="125" y="43"/>
                    </a:lnTo>
                    <a:lnTo>
                      <a:pt x="117" y="40"/>
                    </a:lnTo>
                    <a:lnTo>
                      <a:pt x="109" y="37"/>
                    </a:lnTo>
                    <a:lnTo>
                      <a:pt x="101" y="34"/>
                    </a:lnTo>
                    <a:lnTo>
                      <a:pt x="94" y="31"/>
                    </a:lnTo>
                    <a:lnTo>
                      <a:pt x="85" y="28"/>
                    </a:lnTo>
                    <a:lnTo>
                      <a:pt x="77" y="25"/>
                    </a:lnTo>
                    <a:lnTo>
                      <a:pt x="69" y="22"/>
                    </a:lnTo>
                    <a:lnTo>
                      <a:pt x="61" y="20"/>
                    </a:lnTo>
                    <a:lnTo>
                      <a:pt x="53" y="17"/>
                    </a:lnTo>
                    <a:lnTo>
                      <a:pt x="45" y="13"/>
                    </a:lnTo>
                    <a:lnTo>
                      <a:pt x="37" y="10"/>
                    </a:lnTo>
                    <a:lnTo>
                      <a:pt x="29" y="7"/>
                    </a:lnTo>
                    <a:lnTo>
                      <a:pt x="23" y="3"/>
                    </a:lnTo>
                    <a:lnTo>
                      <a:pt x="15" y="0"/>
                    </a:lnTo>
                    <a:lnTo>
                      <a:pt x="0" y="11"/>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40" name="Freeform 100">
                <a:extLst>
                  <a:ext uri="{FF2B5EF4-FFF2-40B4-BE49-F238E27FC236}">
                    <a16:creationId xmlns:a16="http://schemas.microsoft.com/office/drawing/2014/main" id="{B6A8FF63-9B45-6348-C303-28EC3D86928E}"/>
                  </a:ext>
                </a:extLst>
              </p:cNvPr>
              <p:cNvSpPr>
                <a:spLocks/>
              </p:cNvSpPr>
              <p:nvPr/>
            </p:nvSpPr>
            <p:spPr bwMode="auto">
              <a:xfrm>
                <a:off x="2391" y="1946"/>
                <a:ext cx="120" cy="67"/>
              </a:xfrm>
              <a:custGeom>
                <a:avLst/>
                <a:gdLst>
                  <a:gd name="T0" fmla="*/ 0 w 127"/>
                  <a:gd name="T1" fmla="*/ 50 h 60"/>
                  <a:gd name="T2" fmla="*/ 8 w 127"/>
                  <a:gd name="T3" fmla="*/ 55 h 60"/>
                  <a:gd name="T4" fmla="*/ 9 w 127"/>
                  <a:gd name="T5" fmla="*/ 61 h 60"/>
                  <a:gd name="T6" fmla="*/ 11 w 127"/>
                  <a:gd name="T7" fmla="*/ 68 h 60"/>
                  <a:gd name="T8" fmla="*/ 16 w 127"/>
                  <a:gd name="T9" fmla="*/ 76 h 60"/>
                  <a:gd name="T10" fmla="*/ 20 w 127"/>
                  <a:gd name="T11" fmla="*/ 87 h 60"/>
                  <a:gd name="T12" fmla="*/ 24 w 127"/>
                  <a:gd name="T13" fmla="*/ 95 h 60"/>
                  <a:gd name="T14" fmla="*/ 26 w 127"/>
                  <a:gd name="T15" fmla="*/ 106 h 60"/>
                  <a:gd name="T16" fmla="*/ 31 w 127"/>
                  <a:gd name="T17" fmla="*/ 115 h 60"/>
                  <a:gd name="T18" fmla="*/ 35 w 127"/>
                  <a:gd name="T19" fmla="*/ 122 h 60"/>
                  <a:gd name="T20" fmla="*/ 38 w 127"/>
                  <a:gd name="T21" fmla="*/ 135 h 60"/>
                  <a:gd name="T22" fmla="*/ 41 w 127"/>
                  <a:gd name="T23" fmla="*/ 147 h 60"/>
                  <a:gd name="T24" fmla="*/ 43 w 127"/>
                  <a:gd name="T25" fmla="*/ 163 h 60"/>
                  <a:gd name="T26" fmla="*/ 46 w 127"/>
                  <a:gd name="T27" fmla="*/ 179 h 60"/>
                  <a:gd name="T28" fmla="*/ 50 w 127"/>
                  <a:gd name="T29" fmla="*/ 190 h 60"/>
                  <a:gd name="T30" fmla="*/ 53 w 127"/>
                  <a:gd name="T31" fmla="*/ 203 h 60"/>
                  <a:gd name="T32" fmla="*/ 55 w 127"/>
                  <a:gd name="T33" fmla="*/ 226 h 60"/>
                  <a:gd name="T34" fmla="*/ 63 w 127"/>
                  <a:gd name="T35" fmla="*/ 189 h 60"/>
                  <a:gd name="T36" fmla="*/ 60 w 127"/>
                  <a:gd name="T37" fmla="*/ 169 h 60"/>
                  <a:gd name="T38" fmla="*/ 58 w 127"/>
                  <a:gd name="T39" fmla="*/ 152 h 60"/>
                  <a:gd name="T40" fmla="*/ 55 w 127"/>
                  <a:gd name="T41" fmla="*/ 136 h 60"/>
                  <a:gd name="T42" fmla="*/ 51 w 127"/>
                  <a:gd name="T43" fmla="*/ 122 h 60"/>
                  <a:gd name="T44" fmla="*/ 49 w 127"/>
                  <a:gd name="T45" fmla="*/ 108 h 60"/>
                  <a:gd name="T46" fmla="*/ 44 w 127"/>
                  <a:gd name="T47" fmla="*/ 97 h 60"/>
                  <a:gd name="T48" fmla="*/ 41 w 127"/>
                  <a:gd name="T49" fmla="*/ 85 h 60"/>
                  <a:gd name="T50" fmla="*/ 37 w 127"/>
                  <a:gd name="T51" fmla="*/ 70 h 60"/>
                  <a:gd name="T52" fmla="*/ 34 w 127"/>
                  <a:gd name="T53" fmla="*/ 61 h 60"/>
                  <a:gd name="T54" fmla="*/ 30 w 127"/>
                  <a:gd name="T55" fmla="*/ 50 h 60"/>
                  <a:gd name="T56" fmla="*/ 26 w 127"/>
                  <a:gd name="T57" fmla="*/ 36 h 60"/>
                  <a:gd name="T58" fmla="*/ 22 w 127"/>
                  <a:gd name="T59" fmla="*/ 29 h 60"/>
                  <a:gd name="T60" fmla="*/ 18 w 127"/>
                  <a:gd name="T61" fmla="*/ 21 h 60"/>
                  <a:gd name="T62" fmla="*/ 14 w 127"/>
                  <a:gd name="T63" fmla="*/ 3 h 60"/>
                  <a:gd name="T64" fmla="*/ 9 w 127"/>
                  <a:gd name="T65" fmla="*/ 1 h 60"/>
                  <a:gd name="T66" fmla="*/ 8 w 127"/>
                  <a:gd name="T67" fmla="*/ 0 h 60"/>
                  <a:gd name="T68" fmla="*/ 0 w 127"/>
                  <a:gd name="T69" fmla="*/ 50 h 6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7"/>
                  <a:gd name="T106" fmla="*/ 0 h 60"/>
                  <a:gd name="T107" fmla="*/ 127 w 127"/>
                  <a:gd name="T108" fmla="*/ 60 h 6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7" h="60">
                    <a:moveTo>
                      <a:pt x="0" y="13"/>
                    </a:moveTo>
                    <a:lnTo>
                      <a:pt x="8" y="14"/>
                    </a:lnTo>
                    <a:lnTo>
                      <a:pt x="16" y="16"/>
                    </a:lnTo>
                    <a:lnTo>
                      <a:pt x="23" y="18"/>
                    </a:lnTo>
                    <a:lnTo>
                      <a:pt x="30" y="20"/>
                    </a:lnTo>
                    <a:lnTo>
                      <a:pt x="38" y="23"/>
                    </a:lnTo>
                    <a:lnTo>
                      <a:pt x="46" y="25"/>
                    </a:lnTo>
                    <a:lnTo>
                      <a:pt x="53" y="28"/>
                    </a:lnTo>
                    <a:lnTo>
                      <a:pt x="61" y="30"/>
                    </a:lnTo>
                    <a:lnTo>
                      <a:pt x="68" y="33"/>
                    </a:lnTo>
                    <a:lnTo>
                      <a:pt x="74" y="36"/>
                    </a:lnTo>
                    <a:lnTo>
                      <a:pt x="80" y="39"/>
                    </a:lnTo>
                    <a:lnTo>
                      <a:pt x="87" y="43"/>
                    </a:lnTo>
                    <a:lnTo>
                      <a:pt x="92" y="47"/>
                    </a:lnTo>
                    <a:lnTo>
                      <a:pt x="98" y="51"/>
                    </a:lnTo>
                    <a:lnTo>
                      <a:pt x="104" y="54"/>
                    </a:lnTo>
                    <a:lnTo>
                      <a:pt x="108" y="59"/>
                    </a:lnTo>
                    <a:lnTo>
                      <a:pt x="126" y="50"/>
                    </a:lnTo>
                    <a:lnTo>
                      <a:pt x="120" y="45"/>
                    </a:lnTo>
                    <a:lnTo>
                      <a:pt x="114" y="41"/>
                    </a:lnTo>
                    <a:lnTo>
                      <a:pt x="108" y="37"/>
                    </a:lnTo>
                    <a:lnTo>
                      <a:pt x="101" y="33"/>
                    </a:lnTo>
                    <a:lnTo>
                      <a:pt x="96" y="29"/>
                    </a:lnTo>
                    <a:lnTo>
                      <a:pt x="88" y="26"/>
                    </a:lnTo>
                    <a:lnTo>
                      <a:pt x="81" y="22"/>
                    </a:lnTo>
                    <a:lnTo>
                      <a:pt x="73" y="19"/>
                    </a:lnTo>
                    <a:lnTo>
                      <a:pt x="66" y="16"/>
                    </a:lnTo>
                    <a:lnTo>
                      <a:pt x="59" y="13"/>
                    </a:lnTo>
                    <a:lnTo>
                      <a:pt x="51" y="10"/>
                    </a:lnTo>
                    <a:lnTo>
                      <a:pt x="42" y="8"/>
                    </a:lnTo>
                    <a:lnTo>
                      <a:pt x="34" y="5"/>
                    </a:lnTo>
                    <a:lnTo>
                      <a:pt x="26" y="3"/>
                    </a:lnTo>
                    <a:lnTo>
                      <a:pt x="17" y="1"/>
                    </a:lnTo>
                    <a:lnTo>
                      <a:pt x="8" y="0"/>
                    </a:lnTo>
                    <a:lnTo>
                      <a:pt x="0" y="13"/>
                    </a:lnTo>
                  </a:path>
                </a:pathLst>
              </a:custGeom>
              <a:solidFill>
                <a:srgbClr val="C0E7F1"/>
              </a:solidFill>
              <a:ln w="12700" cap="rnd">
                <a:solidFill>
                  <a:srgbClr val="000000"/>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41" name="Freeform 101">
                <a:extLst>
                  <a:ext uri="{FF2B5EF4-FFF2-40B4-BE49-F238E27FC236}">
                    <a16:creationId xmlns:a16="http://schemas.microsoft.com/office/drawing/2014/main" id="{534E2367-BC2B-9186-B657-58A864CFCE16}"/>
                  </a:ext>
                </a:extLst>
              </p:cNvPr>
              <p:cNvSpPr>
                <a:spLocks/>
              </p:cNvSpPr>
              <p:nvPr/>
            </p:nvSpPr>
            <p:spPr bwMode="auto">
              <a:xfrm>
                <a:off x="1777" y="3317"/>
                <a:ext cx="102" cy="64"/>
              </a:xfrm>
              <a:custGeom>
                <a:avLst/>
                <a:gdLst>
                  <a:gd name="T0" fmla="*/ 0 w 106"/>
                  <a:gd name="T1" fmla="*/ 38 h 57"/>
                  <a:gd name="T2" fmla="*/ 6 w 106"/>
                  <a:gd name="T3" fmla="*/ 54 h 57"/>
                  <a:gd name="T4" fmla="*/ 12 w 106"/>
                  <a:gd name="T5" fmla="*/ 62 h 57"/>
                  <a:gd name="T6" fmla="*/ 13 w 106"/>
                  <a:gd name="T7" fmla="*/ 76 h 57"/>
                  <a:gd name="T8" fmla="*/ 13 w 106"/>
                  <a:gd name="T9" fmla="*/ 89 h 57"/>
                  <a:gd name="T10" fmla="*/ 16 w 106"/>
                  <a:gd name="T11" fmla="*/ 100 h 57"/>
                  <a:gd name="T12" fmla="*/ 22 w 106"/>
                  <a:gd name="T13" fmla="*/ 112 h 57"/>
                  <a:gd name="T14" fmla="*/ 27 w 106"/>
                  <a:gd name="T15" fmla="*/ 126 h 57"/>
                  <a:gd name="T16" fmla="*/ 30 w 106"/>
                  <a:gd name="T17" fmla="*/ 141 h 57"/>
                  <a:gd name="T18" fmla="*/ 32 w 106"/>
                  <a:gd name="T19" fmla="*/ 152 h 57"/>
                  <a:gd name="T20" fmla="*/ 35 w 106"/>
                  <a:gd name="T21" fmla="*/ 164 h 57"/>
                  <a:gd name="T22" fmla="*/ 38 w 106"/>
                  <a:gd name="T23" fmla="*/ 177 h 57"/>
                  <a:gd name="T24" fmla="*/ 43 w 106"/>
                  <a:gd name="T25" fmla="*/ 184 h 57"/>
                  <a:gd name="T26" fmla="*/ 47 w 106"/>
                  <a:gd name="T27" fmla="*/ 199 h 57"/>
                  <a:gd name="T28" fmla="*/ 51 w 106"/>
                  <a:gd name="T29" fmla="*/ 207 h 57"/>
                  <a:gd name="T30" fmla="*/ 56 w 106"/>
                  <a:gd name="T31" fmla="*/ 216 h 57"/>
                  <a:gd name="T32" fmla="*/ 60 w 106"/>
                  <a:gd name="T33" fmla="*/ 228 h 57"/>
                  <a:gd name="T34" fmla="*/ 65 w 106"/>
                  <a:gd name="T35" fmla="*/ 177 h 57"/>
                  <a:gd name="T36" fmla="*/ 62 w 106"/>
                  <a:gd name="T37" fmla="*/ 168 h 57"/>
                  <a:gd name="T38" fmla="*/ 59 w 106"/>
                  <a:gd name="T39" fmla="*/ 158 h 57"/>
                  <a:gd name="T40" fmla="*/ 55 w 106"/>
                  <a:gd name="T41" fmla="*/ 150 h 57"/>
                  <a:gd name="T42" fmla="*/ 51 w 106"/>
                  <a:gd name="T43" fmla="*/ 141 h 57"/>
                  <a:gd name="T44" fmla="*/ 48 w 106"/>
                  <a:gd name="T45" fmla="*/ 129 h 57"/>
                  <a:gd name="T46" fmla="*/ 44 w 106"/>
                  <a:gd name="T47" fmla="*/ 119 h 57"/>
                  <a:gd name="T48" fmla="*/ 40 w 106"/>
                  <a:gd name="T49" fmla="*/ 106 h 57"/>
                  <a:gd name="T50" fmla="*/ 37 w 106"/>
                  <a:gd name="T51" fmla="*/ 94 h 57"/>
                  <a:gd name="T52" fmla="*/ 34 w 106"/>
                  <a:gd name="T53" fmla="*/ 79 h 57"/>
                  <a:gd name="T54" fmla="*/ 31 w 106"/>
                  <a:gd name="T55" fmla="*/ 68 h 57"/>
                  <a:gd name="T56" fmla="*/ 29 w 106"/>
                  <a:gd name="T57" fmla="*/ 55 h 57"/>
                  <a:gd name="T58" fmla="*/ 26 w 106"/>
                  <a:gd name="T59" fmla="*/ 43 h 57"/>
                  <a:gd name="T60" fmla="*/ 20 w 106"/>
                  <a:gd name="T61" fmla="*/ 30 h 57"/>
                  <a:gd name="T62" fmla="*/ 16 w 106"/>
                  <a:gd name="T63" fmla="*/ 21 h 57"/>
                  <a:gd name="T64" fmla="*/ 13 w 106"/>
                  <a:gd name="T65" fmla="*/ 2 h 57"/>
                  <a:gd name="T66" fmla="*/ 13 w 106"/>
                  <a:gd name="T67" fmla="*/ 0 h 57"/>
                  <a:gd name="T68" fmla="*/ 0 w 106"/>
                  <a:gd name="T69" fmla="*/ 38 h 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6"/>
                  <a:gd name="T106" fmla="*/ 0 h 57"/>
                  <a:gd name="T107" fmla="*/ 106 w 106"/>
                  <a:gd name="T108" fmla="*/ 57 h 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6" h="57">
                    <a:moveTo>
                      <a:pt x="0" y="10"/>
                    </a:moveTo>
                    <a:lnTo>
                      <a:pt x="6" y="13"/>
                    </a:lnTo>
                    <a:lnTo>
                      <a:pt x="12" y="16"/>
                    </a:lnTo>
                    <a:lnTo>
                      <a:pt x="17" y="19"/>
                    </a:lnTo>
                    <a:lnTo>
                      <a:pt x="22" y="22"/>
                    </a:lnTo>
                    <a:lnTo>
                      <a:pt x="28" y="25"/>
                    </a:lnTo>
                    <a:lnTo>
                      <a:pt x="34" y="28"/>
                    </a:lnTo>
                    <a:lnTo>
                      <a:pt x="39" y="31"/>
                    </a:lnTo>
                    <a:lnTo>
                      <a:pt x="45" y="35"/>
                    </a:lnTo>
                    <a:lnTo>
                      <a:pt x="50" y="38"/>
                    </a:lnTo>
                    <a:lnTo>
                      <a:pt x="56" y="41"/>
                    </a:lnTo>
                    <a:lnTo>
                      <a:pt x="61" y="44"/>
                    </a:lnTo>
                    <a:lnTo>
                      <a:pt x="68" y="46"/>
                    </a:lnTo>
                    <a:lnTo>
                      <a:pt x="74" y="49"/>
                    </a:lnTo>
                    <a:lnTo>
                      <a:pt x="80" y="52"/>
                    </a:lnTo>
                    <a:lnTo>
                      <a:pt x="87" y="54"/>
                    </a:lnTo>
                    <a:lnTo>
                      <a:pt x="94" y="56"/>
                    </a:lnTo>
                    <a:lnTo>
                      <a:pt x="105" y="44"/>
                    </a:lnTo>
                    <a:lnTo>
                      <a:pt x="98" y="42"/>
                    </a:lnTo>
                    <a:lnTo>
                      <a:pt x="92" y="39"/>
                    </a:lnTo>
                    <a:lnTo>
                      <a:pt x="86" y="37"/>
                    </a:lnTo>
                    <a:lnTo>
                      <a:pt x="80" y="35"/>
                    </a:lnTo>
                    <a:lnTo>
                      <a:pt x="75" y="32"/>
                    </a:lnTo>
                    <a:lnTo>
                      <a:pt x="69" y="29"/>
                    </a:lnTo>
                    <a:lnTo>
                      <a:pt x="64" y="26"/>
                    </a:lnTo>
                    <a:lnTo>
                      <a:pt x="59" y="23"/>
                    </a:lnTo>
                    <a:lnTo>
                      <a:pt x="54" y="20"/>
                    </a:lnTo>
                    <a:lnTo>
                      <a:pt x="48" y="17"/>
                    </a:lnTo>
                    <a:lnTo>
                      <a:pt x="44" y="14"/>
                    </a:lnTo>
                    <a:lnTo>
                      <a:pt x="38" y="11"/>
                    </a:lnTo>
                    <a:lnTo>
                      <a:pt x="32" y="8"/>
                    </a:lnTo>
                    <a:lnTo>
                      <a:pt x="28" y="5"/>
                    </a:lnTo>
                    <a:lnTo>
                      <a:pt x="21" y="2"/>
                    </a:lnTo>
                    <a:lnTo>
                      <a:pt x="16" y="0"/>
                    </a:lnTo>
                    <a:lnTo>
                      <a:pt x="0" y="10"/>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42" name="Freeform 102">
                <a:extLst>
                  <a:ext uri="{FF2B5EF4-FFF2-40B4-BE49-F238E27FC236}">
                    <a16:creationId xmlns:a16="http://schemas.microsoft.com/office/drawing/2014/main" id="{326B4A23-3EF2-1BB6-E1C8-1B86D7E914F6}"/>
                  </a:ext>
                </a:extLst>
              </p:cNvPr>
              <p:cNvSpPr>
                <a:spLocks/>
              </p:cNvSpPr>
              <p:nvPr/>
            </p:nvSpPr>
            <p:spPr bwMode="auto">
              <a:xfrm>
                <a:off x="4178" y="3432"/>
                <a:ext cx="51" cy="38"/>
              </a:xfrm>
              <a:custGeom>
                <a:avLst/>
                <a:gdLst>
                  <a:gd name="T0" fmla="*/ 9 w 54"/>
                  <a:gd name="T1" fmla="*/ 124 h 34"/>
                  <a:gd name="T2" fmla="*/ 9 w 54"/>
                  <a:gd name="T3" fmla="*/ 118 h 34"/>
                  <a:gd name="T4" fmla="*/ 9 w 54"/>
                  <a:gd name="T5" fmla="*/ 116 h 34"/>
                  <a:gd name="T6" fmla="*/ 9 w 54"/>
                  <a:gd name="T7" fmla="*/ 108 h 34"/>
                  <a:gd name="T8" fmla="*/ 13 w 54"/>
                  <a:gd name="T9" fmla="*/ 106 h 34"/>
                  <a:gd name="T10" fmla="*/ 15 w 54"/>
                  <a:gd name="T11" fmla="*/ 104 h 34"/>
                  <a:gd name="T12" fmla="*/ 16 w 54"/>
                  <a:gd name="T13" fmla="*/ 95 h 34"/>
                  <a:gd name="T14" fmla="*/ 18 w 54"/>
                  <a:gd name="T15" fmla="*/ 93 h 34"/>
                  <a:gd name="T16" fmla="*/ 19 w 54"/>
                  <a:gd name="T17" fmla="*/ 87 h 34"/>
                  <a:gd name="T18" fmla="*/ 20 w 54"/>
                  <a:gd name="T19" fmla="*/ 78 h 34"/>
                  <a:gd name="T20" fmla="*/ 22 w 54"/>
                  <a:gd name="T21" fmla="*/ 76 h 34"/>
                  <a:gd name="T22" fmla="*/ 23 w 54"/>
                  <a:gd name="T23" fmla="*/ 68 h 34"/>
                  <a:gd name="T24" fmla="*/ 24 w 54"/>
                  <a:gd name="T25" fmla="*/ 63 h 34"/>
                  <a:gd name="T26" fmla="*/ 24 w 54"/>
                  <a:gd name="T27" fmla="*/ 56 h 34"/>
                  <a:gd name="T28" fmla="*/ 25 w 54"/>
                  <a:gd name="T29" fmla="*/ 50 h 34"/>
                  <a:gd name="T30" fmla="*/ 26 w 54"/>
                  <a:gd name="T31" fmla="*/ 40 h 34"/>
                  <a:gd name="T32" fmla="*/ 26 w 54"/>
                  <a:gd name="T33" fmla="*/ 32 h 34"/>
                  <a:gd name="T34" fmla="*/ 18 w 54"/>
                  <a:gd name="T35" fmla="*/ 0 h 34"/>
                  <a:gd name="T36" fmla="*/ 17 w 54"/>
                  <a:gd name="T37" fmla="*/ 1 h 34"/>
                  <a:gd name="T38" fmla="*/ 16 w 54"/>
                  <a:gd name="T39" fmla="*/ 2 h 34"/>
                  <a:gd name="T40" fmla="*/ 15 w 54"/>
                  <a:gd name="T41" fmla="*/ 4 h 34"/>
                  <a:gd name="T42" fmla="*/ 13 w 54"/>
                  <a:gd name="T43" fmla="*/ 21 h 34"/>
                  <a:gd name="T44" fmla="*/ 12 w 54"/>
                  <a:gd name="T45" fmla="*/ 26 h 34"/>
                  <a:gd name="T46" fmla="*/ 11 w 54"/>
                  <a:gd name="T47" fmla="*/ 29 h 34"/>
                  <a:gd name="T48" fmla="*/ 9 w 54"/>
                  <a:gd name="T49" fmla="*/ 36 h 34"/>
                  <a:gd name="T50" fmla="*/ 9 w 54"/>
                  <a:gd name="T51" fmla="*/ 45 h 34"/>
                  <a:gd name="T52" fmla="*/ 9 w 54"/>
                  <a:gd name="T53" fmla="*/ 50 h 34"/>
                  <a:gd name="T54" fmla="*/ 9 w 54"/>
                  <a:gd name="T55" fmla="*/ 56 h 34"/>
                  <a:gd name="T56" fmla="*/ 9 w 54"/>
                  <a:gd name="T57" fmla="*/ 61 h 34"/>
                  <a:gd name="T58" fmla="*/ 9 w 54"/>
                  <a:gd name="T59" fmla="*/ 68 h 34"/>
                  <a:gd name="T60" fmla="*/ 9 w 54"/>
                  <a:gd name="T61" fmla="*/ 70 h 34"/>
                  <a:gd name="T62" fmla="*/ 7 w 54"/>
                  <a:gd name="T63" fmla="*/ 76 h 34"/>
                  <a:gd name="T64" fmla="*/ 3 w 54"/>
                  <a:gd name="T65" fmla="*/ 76 h 34"/>
                  <a:gd name="T66" fmla="*/ 0 w 54"/>
                  <a:gd name="T67" fmla="*/ 78 h 34"/>
                  <a:gd name="T68" fmla="*/ 9 w 54"/>
                  <a:gd name="T69" fmla="*/ 124 h 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
                  <a:gd name="T106" fmla="*/ 0 h 34"/>
                  <a:gd name="T107" fmla="*/ 54 w 54"/>
                  <a:gd name="T108" fmla="*/ 34 h 3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 h="34">
                    <a:moveTo>
                      <a:pt x="12" y="33"/>
                    </a:moveTo>
                    <a:lnTo>
                      <a:pt x="16" y="31"/>
                    </a:lnTo>
                    <a:lnTo>
                      <a:pt x="19" y="30"/>
                    </a:lnTo>
                    <a:lnTo>
                      <a:pt x="21" y="29"/>
                    </a:lnTo>
                    <a:lnTo>
                      <a:pt x="25" y="28"/>
                    </a:lnTo>
                    <a:lnTo>
                      <a:pt x="27" y="27"/>
                    </a:lnTo>
                    <a:lnTo>
                      <a:pt x="30" y="25"/>
                    </a:lnTo>
                    <a:lnTo>
                      <a:pt x="33" y="24"/>
                    </a:lnTo>
                    <a:lnTo>
                      <a:pt x="35" y="23"/>
                    </a:lnTo>
                    <a:lnTo>
                      <a:pt x="38" y="21"/>
                    </a:lnTo>
                    <a:lnTo>
                      <a:pt x="41" y="20"/>
                    </a:lnTo>
                    <a:lnTo>
                      <a:pt x="43" y="18"/>
                    </a:lnTo>
                    <a:lnTo>
                      <a:pt x="45" y="17"/>
                    </a:lnTo>
                    <a:lnTo>
                      <a:pt x="46" y="15"/>
                    </a:lnTo>
                    <a:lnTo>
                      <a:pt x="48" y="13"/>
                    </a:lnTo>
                    <a:lnTo>
                      <a:pt x="51" y="11"/>
                    </a:lnTo>
                    <a:lnTo>
                      <a:pt x="53" y="9"/>
                    </a:lnTo>
                    <a:lnTo>
                      <a:pt x="34" y="0"/>
                    </a:lnTo>
                    <a:lnTo>
                      <a:pt x="32" y="1"/>
                    </a:lnTo>
                    <a:lnTo>
                      <a:pt x="29" y="2"/>
                    </a:lnTo>
                    <a:lnTo>
                      <a:pt x="27" y="4"/>
                    </a:lnTo>
                    <a:lnTo>
                      <a:pt x="25" y="5"/>
                    </a:lnTo>
                    <a:lnTo>
                      <a:pt x="24" y="7"/>
                    </a:lnTo>
                    <a:lnTo>
                      <a:pt x="23" y="8"/>
                    </a:lnTo>
                    <a:lnTo>
                      <a:pt x="20" y="10"/>
                    </a:lnTo>
                    <a:lnTo>
                      <a:pt x="19" y="12"/>
                    </a:lnTo>
                    <a:lnTo>
                      <a:pt x="18" y="13"/>
                    </a:lnTo>
                    <a:lnTo>
                      <a:pt x="16" y="15"/>
                    </a:lnTo>
                    <a:lnTo>
                      <a:pt x="14" y="16"/>
                    </a:lnTo>
                    <a:lnTo>
                      <a:pt x="11" y="18"/>
                    </a:lnTo>
                    <a:lnTo>
                      <a:pt x="9" y="19"/>
                    </a:lnTo>
                    <a:lnTo>
                      <a:pt x="7" y="20"/>
                    </a:lnTo>
                    <a:lnTo>
                      <a:pt x="3" y="20"/>
                    </a:lnTo>
                    <a:lnTo>
                      <a:pt x="0" y="21"/>
                    </a:lnTo>
                    <a:lnTo>
                      <a:pt x="12" y="33"/>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43" name="Freeform 103">
                <a:extLst>
                  <a:ext uri="{FF2B5EF4-FFF2-40B4-BE49-F238E27FC236}">
                    <a16:creationId xmlns:a16="http://schemas.microsoft.com/office/drawing/2014/main" id="{B5DCC8B9-451C-1A67-DB27-706DD7F67883}"/>
                  </a:ext>
                </a:extLst>
              </p:cNvPr>
              <p:cNvSpPr>
                <a:spLocks/>
              </p:cNvSpPr>
              <p:nvPr/>
            </p:nvSpPr>
            <p:spPr bwMode="auto">
              <a:xfrm>
                <a:off x="2316" y="2442"/>
                <a:ext cx="48" cy="35"/>
              </a:xfrm>
              <a:custGeom>
                <a:avLst/>
                <a:gdLst>
                  <a:gd name="T0" fmla="*/ 12 w 50"/>
                  <a:gd name="T1" fmla="*/ 128 h 31"/>
                  <a:gd name="T2" fmla="*/ 12 w 50"/>
                  <a:gd name="T3" fmla="*/ 124 h 31"/>
                  <a:gd name="T4" fmla="*/ 12 w 50"/>
                  <a:gd name="T5" fmla="*/ 113 h 31"/>
                  <a:gd name="T6" fmla="*/ 12 w 50"/>
                  <a:gd name="T7" fmla="*/ 111 h 31"/>
                  <a:gd name="T8" fmla="*/ 13 w 50"/>
                  <a:gd name="T9" fmla="*/ 110 h 31"/>
                  <a:gd name="T10" fmla="*/ 15 w 50"/>
                  <a:gd name="T11" fmla="*/ 98 h 31"/>
                  <a:gd name="T12" fmla="*/ 17 w 50"/>
                  <a:gd name="T13" fmla="*/ 97 h 31"/>
                  <a:gd name="T14" fmla="*/ 18 w 50"/>
                  <a:gd name="T15" fmla="*/ 89 h 31"/>
                  <a:gd name="T16" fmla="*/ 20 w 50"/>
                  <a:gd name="T17" fmla="*/ 79 h 31"/>
                  <a:gd name="T18" fmla="*/ 23 w 50"/>
                  <a:gd name="T19" fmla="*/ 77 h 31"/>
                  <a:gd name="T20" fmla="*/ 25 w 50"/>
                  <a:gd name="T21" fmla="*/ 70 h 31"/>
                  <a:gd name="T22" fmla="*/ 25 w 50"/>
                  <a:gd name="T23" fmla="*/ 62 h 31"/>
                  <a:gd name="T24" fmla="*/ 26 w 50"/>
                  <a:gd name="T25" fmla="*/ 60 h 31"/>
                  <a:gd name="T26" fmla="*/ 27 w 50"/>
                  <a:gd name="T27" fmla="*/ 55 h 31"/>
                  <a:gd name="T28" fmla="*/ 29 w 50"/>
                  <a:gd name="T29" fmla="*/ 53 h 31"/>
                  <a:gd name="T30" fmla="*/ 30 w 50"/>
                  <a:gd name="T31" fmla="*/ 42 h 31"/>
                  <a:gd name="T32" fmla="*/ 31 w 50"/>
                  <a:gd name="T33" fmla="*/ 37 h 31"/>
                  <a:gd name="T34" fmla="*/ 19 w 50"/>
                  <a:gd name="T35" fmla="*/ 0 h 31"/>
                  <a:gd name="T36" fmla="*/ 17 w 50"/>
                  <a:gd name="T37" fmla="*/ 1 h 31"/>
                  <a:gd name="T38" fmla="*/ 16 w 50"/>
                  <a:gd name="T39" fmla="*/ 2 h 31"/>
                  <a:gd name="T40" fmla="*/ 14 w 50"/>
                  <a:gd name="T41" fmla="*/ 3 h 31"/>
                  <a:gd name="T42" fmla="*/ 12 w 50"/>
                  <a:gd name="T43" fmla="*/ 23 h 31"/>
                  <a:gd name="T44" fmla="*/ 12 w 50"/>
                  <a:gd name="T45" fmla="*/ 26 h 31"/>
                  <a:gd name="T46" fmla="*/ 12 w 50"/>
                  <a:gd name="T47" fmla="*/ 29 h 31"/>
                  <a:gd name="T48" fmla="*/ 12 w 50"/>
                  <a:gd name="T49" fmla="*/ 33 h 31"/>
                  <a:gd name="T50" fmla="*/ 12 w 50"/>
                  <a:gd name="T51" fmla="*/ 42 h 31"/>
                  <a:gd name="T52" fmla="*/ 12 w 50"/>
                  <a:gd name="T53" fmla="*/ 47 h 31"/>
                  <a:gd name="T54" fmla="*/ 12 w 50"/>
                  <a:gd name="T55" fmla="*/ 53 h 31"/>
                  <a:gd name="T56" fmla="*/ 10 w 50"/>
                  <a:gd name="T57" fmla="*/ 60 h 31"/>
                  <a:gd name="T58" fmla="*/ 8 w 50"/>
                  <a:gd name="T59" fmla="*/ 62 h 31"/>
                  <a:gd name="T60" fmla="*/ 6 w 50"/>
                  <a:gd name="T61" fmla="*/ 68 h 31"/>
                  <a:gd name="T62" fmla="*/ 4 w 50"/>
                  <a:gd name="T63" fmla="*/ 77 h 31"/>
                  <a:gd name="T64" fmla="*/ 2 w 50"/>
                  <a:gd name="T65" fmla="*/ 79 h 31"/>
                  <a:gd name="T66" fmla="*/ 0 w 50"/>
                  <a:gd name="T67" fmla="*/ 87 h 31"/>
                  <a:gd name="T68" fmla="*/ 12 w 50"/>
                  <a:gd name="T69" fmla="*/ 128 h 3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0"/>
                  <a:gd name="T106" fmla="*/ 0 h 31"/>
                  <a:gd name="T107" fmla="*/ 50 w 50"/>
                  <a:gd name="T108" fmla="*/ 31 h 3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0" h="31">
                    <a:moveTo>
                      <a:pt x="18" y="30"/>
                    </a:moveTo>
                    <a:lnTo>
                      <a:pt x="19" y="28"/>
                    </a:lnTo>
                    <a:lnTo>
                      <a:pt x="21" y="27"/>
                    </a:lnTo>
                    <a:lnTo>
                      <a:pt x="23" y="26"/>
                    </a:lnTo>
                    <a:lnTo>
                      <a:pt x="25" y="25"/>
                    </a:lnTo>
                    <a:lnTo>
                      <a:pt x="27" y="23"/>
                    </a:lnTo>
                    <a:lnTo>
                      <a:pt x="29" y="22"/>
                    </a:lnTo>
                    <a:lnTo>
                      <a:pt x="30" y="21"/>
                    </a:lnTo>
                    <a:lnTo>
                      <a:pt x="32" y="19"/>
                    </a:lnTo>
                    <a:lnTo>
                      <a:pt x="35" y="18"/>
                    </a:lnTo>
                    <a:lnTo>
                      <a:pt x="37" y="17"/>
                    </a:lnTo>
                    <a:lnTo>
                      <a:pt x="38" y="15"/>
                    </a:lnTo>
                    <a:lnTo>
                      <a:pt x="40" y="14"/>
                    </a:lnTo>
                    <a:lnTo>
                      <a:pt x="42" y="13"/>
                    </a:lnTo>
                    <a:lnTo>
                      <a:pt x="45" y="12"/>
                    </a:lnTo>
                    <a:lnTo>
                      <a:pt x="47" y="10"/>
                    </a:lnTo>
                    <a:lnTo>
                      <a:pt x="49" y="9"/>
                    </a:lnTo>
                    <a:lnTo>
                      <a:pt x="31" y="0"/>
                    </a:lnTo>
                    <a:lnTo>
                      <a:pt x="29" y="1"/>
                    </a:lnTo>
                    <a:lnTo>
                      <a:pt x="28" y="2"/>
                    </a:lnTo>
                    <a:lnTo>
                      <a:pt x="26" y="3"/>
                    </a:lnTo>
                    <a:lnTo>
                      <a:pt x="23" y="5"/>
                    </a:lnTo>
                    <a:lnTo>
                      <a:pt x="21" y="6"/>
                    </a:lnTo>
                    <a:lnTo>
                      <a:pt x="19" y="7"/>
                    </a:lnTo>
                    <a:lnTo>
                      <a:pt x="18" y="8"/>
                    </a:lnTo>
                    <a:lnTo>
                      <a:pt x="16" y="10"/>
                    </a:lnTo>
                    <a:lnTo>
                      <a:pt x="13" y="11"/>
                    </a:lnTo>
                    <a:lnTo>
                      <a:pt x="12" y="12"/>
                    </a:lnTo>
                    <a:lnTo>
                      <a:pt x="10" y="14"/>
                    </a:lnTo>
                    <a:lnTo>
                      <a:pt x="8" y="15"/>
                    </a:lnTo>
                    <a:lnTo>
                      <a:pt x="6" y="16"/>
                    </a:lnTo>
                    <a:lnTo>
                      <a:pt x="4" y="18"/>
                    </a:lnTo>
                    <a:lnTo>
                      <a:pt x="2" y="19"/>
                    </a:lnTo>
                    <a:lnTo>
                      <a:pt x="0" y="20"/>
                    </a:lnTo>
                    <a:lnTo>
                      <a:pt x="18" y="30"/>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44" name="Freeform 104">
                <a:extLst>
                  <a:ext uri="{FF2B5EF4-FFF2-40B4-BE49-F238E27FC236}">
                    <a16:creationId xmlns:a16="http://schemas.microsoft.com/office/drawing/2014/main" id="{94C44056-DA67-3D40-5668-D19D9EF2D487}"/>
                  </a:ext>
                </a:extLst>
              </p:cNvPr>
              <p:cNvSpPr>
                <a:spLocks/>
              </p:cNvSpPr>
              <p:nvPr/>
            </p:nvSpPr>
            <p:spPr bwMode="auto">
              <a:xfrm>
                <a:off x="3834" y="2676"/>
                <a:ext cx="92" cy="69"/>
              </a:xfrm>
              <a:custGeom>
                <a:avLst/>
                <a:gdLst>
                  <a:gd name="T0" fmla="*/ 0 w 98"/>
                  <a:gd name="T1" fmla="*/ 33 h 61"/>
                  <a:gd name="T2" fmla="*/ 3 w 98"/>
                  <a:gd name="T3" fmla="*/ 54 h 61"/>
                  <a:gd name="T4" fmla="*/ 8 w 98"/>
                  <a:gd name="T5" fmla="*/ 69 h 61"/>
                  <a:gd name="T6" fmla="*/ 8 w 98"/>
                  <a:gd name="T7" fmla="*/ 85 h 61"/>
                  <a:gd name="T8" fmla="*/ 8 w 98"/>
                  <a:gd name="T9" fmla="*/ 97 h 61"/>
                  <a:gd name="T10" fmla="*/ 11 w 98"/>
                  <a:gd name="T11" fmla="*/ 113 h 61"/>
                  <a:gd name="T12" fmla="*/ 14 w 98"/>
                  <a:gd name="T13" fmla="*/ 128 h 61"/>
                  <a:gd name="T14" fmla="*/ 16 w 98"/>
                  <a:gd name="T15" fmla="*/ 139 h 61"/>
                  <a:gd name="T16" fmla="*/ 19 w 98"/>
                  <a:gd name="T17" fmla="*/ 146 h 61"/>
                  <a:gd name="T18" fmla="*/ 21 w 98"/>
                  <a:gd name="T19" fmla="*/ 164 h 61"/>
                  <a:gd name="T20" fmla="*/ 23 w 98"/>
                  <a:gd name="T21" fmla="*/ 178 h 61"/>
                  <a:gd name="T22" fmla="*/ 26 w 98"/>
                  <a:gd name="T23" fmla="*/ 187 h 61"/>
                  <a:gd name="T24" fmla="*/ 28 w 98"/>
                  <a:gd name="T25" fmla="*/ 202 h 61"/>
                  <a:gd name="T26" fmla="*/ 31 w 98"/>
                  <a:gd name="T27" fmla="*/ 212 h 61"/>
                  <a:gd name="T28" fmla="*/ 33 w 98"/>
                  <a:gd name="T29" fmla="*/ 234 h 61"/>
                  <a:gd name="T30" fmla="*/ 35 w 98"/>
                  <a:gd name="T31" fmla="*/ 241 h 61"/>
                  <a:gd name="T32" fmla="*/ 37 w 98"/>
                  <a:gd name="T33" fmla="*/ 265 h 61"/>
                  <a:gd name="T34" fmla="*/ 45 w 98"/>
                  <a:gd name="T35" fmla="*/ 228 h 61"/>
                  <a:gd name="T36" fmla="*/ 43 w 98"/>
                  <a:gd name="T37" fmla="*/ 210 h 61"/>
                  <a:gd name="T38" fmla="*/ 42 w 98"/>
                  <a:gd name="T39" fmla="*/ 201 h 61"/>
                  <a:gd name="T40" fmla="*/ 39 w 98"/>
                  <a:gd name="T41" fmla="*/ 179 h 61"/>
                  <a:gd name="T42" fmla="*/ 37 w 98"/>
                  <a:gd name="T43" fmla="*/ 165 h 61"/>
                  <a:gd name="T44" fmla="*/ 35 w 98"/>
                  <a:gd name="T45" fmla="*/ 157 h 61"/>
                  <a:gd name="T46" fmla="*/ 32 w 98"/>
                  <a:gd name="T47" fmla="*/ 140 h 61"/>
                  <a:gd name="T48" fmla="*/ 29 w 98"/>
                  <a:gd name="T49" fmla="*/ 128 h 61"/>
                  <a:gd name="T50" fmla="*/ 27 w 98"/>
                  <a:gd name="T51" fmla="*/ 113 h 61"/>
                  <a:gd name="T52" fmla="*/ 24 w 98"/>
                  <a:gd name="T53" fmla="*/ 100 h 61"/>
                  <a:gd name="T54" fmla="*/ 22 w 98"/>
                  <a:gd name="T55" fmla="*/ 88 h 61"/>
                  <a:gd name="T56" fmla="*/ 20 w 98"/>
                  <a:gd name="T57" fmla="*/ 75 h 61"/>
                  <a:gd name="T58" fmla="*/ 18 w 98"/>
                  <a:gd name="T59" fmla="*/ 58 h 61"/>
                  <a:gd name="T60" fmla="*/ 16 w 98"/>
                  <a:gd name="T61" fmla="*/ 42 h 61"/>
                  <a:gd name="T62" fmla="*/ 13 w 98"/>
                  <a:gd name="T63" fmla="*/ 29 h 61"/>
                  <a:gd name="T64" fmla="*/ 11 w 98"/>
                  <a:gd name="T65" fmla="*/ 3 h 61"/>
                  <a:gd name="T66" fmla="*/ 8 w 98"/>
                  <a:gd name="T67" fmla="*/ 0 h 61"/>
                  <a:gd name="T68" fmla="*/ 0 w 98"/>
                  <a:gd name="T69" fmla="*/ 33 h 6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8"/>
                  <a:gd name="T106" fmla="*/ 0 h 61"/>
                  <a:gd name="T107" fmla="*/ 98 w 98"/>
                  <a:gd name="T108" fmla="*/ 61 h 6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8" h="61">
                    <a:moveTo>
                      <a:pt x="0" y="8"/>
                    </a:moveTo>
                    <a:lnTo>
                      <a:pt x="3" y="12"/>
                    </a:lnTo>
                    <a:lnTo>
                      <a:pt x="8" y="16"/>
                    </a:lnTo>
                    <a:lnTo>
                      <a:pt x="12" y="19"/>
                    </a:lnTo>
                    <a:lnTo>
                      <a:pt x="17" y="22"/>
                    </a:lnTo>
                    <a:lnTo>
                      <a:pt x="23" y="26"/>
                    </a:lnTo>
                    <a:lnTo>
                      <a:pt x="28" y="29"/>
                    </a:lnTo>
                    <a:lnTo>
                      <a:pt x="33" y="31"/>
                    </a:lnTo>
                    <a:lnTo>
                      <a:pt x="38" y="34"/>
                    </a:lnTo>
                    <a:lnTo>
                      <a:pt x="44" y="37"/>
                    </a:lnTo>
                    <a:lnTo>
                      <a:pt x="50" y="40"/>
                    </a:lnTo>
                    <a:lnTo>
                      <a:pt x="55" y="43"/>
                    </a:lnTo>
                    <a:lnTo>
                      <a:pt x="60" y="46"/>
                    </a:lnTo>
                    <a:lnTo>
                      <a:pt x="65" y="49"/>
                    </a:lnTo>
                    <a:lnTo>
                      <a:pt x="70" y="53"/>
                    </a:lnTo>
                    <a:lnTo>
                      <a:pt x="73" y="56"/>
                    </a:lnTo>
                    <a:lnTo>
                      <a:pt x="78" y="60"/>
                    </a:lnTo>
                    <a:lnTo>
                      <a:pt x="97" y="52"/>
                    </a:lnTo>
                    <a:lnTo>
                      <a:pt x="92" y="48"/>
                    </a:lnTo>
                    <a:lnTo>
                      <a:pt x="88" y="45"/>
                    </a:lnTo>
                    <a:lnTo>
                      <a:pt x="83" y="41"/>
                    </a:lnTo>
                    <a:lnTo>
                      <a:pt x="78" y="38"/>
                    </a:lnTo>
                    <a:lnTo>
                      <a:pt x="73" y="35"/>
                    </a:lnTo>
                    <a:lnTo>
                      <a:pt x="68" y="32"/>
                    </a:lnTo>
                    <a:lnTo>
                      <a:pt x="62" y="29"/>
                    </a:lnTo>
                    <a:lnTo>
                      <a:pt x="58" y="26"/>
                    </a:lnTo>
                    <a:lnTo>
                      <a:pt x="52" y="23"/>
                    </a:lnTo>
                    <a:lnTo>
                      <a:pt x="46" y="20"/>
                    </a:lnTo>
                    <a:lnTo>
                      <a:pt x="42" y="17"/>
                    </a:lnTo>
                    <a:lnTo>
                      <a:pt x="36" y="13"/>
                    </a:lnTo>
                    <a:lnTo>
                      <a:pt x="32" y="10"/>
                    </a:lnTo>
                    <a:lnTo>
                      <a:pt x="27" y="7"/>
                    </a:lnTo>
                    <a:lnTo>
                      <a:pt x="23" y="3"/>
                    </a:lnTo>
                    <a:lnTo>
                      <a:pt x="19" y="0"/>
                    </a:lnTo>
                    <a:lnTo>
                      <a:pt x="0" y="8"/>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45" name="Freeform 105">
                <a:extLst>
                  <a:ext uri="{FF2B5EF4-FFF2-40B4-BE49-F238E27FC236}">
                    <a16:creationId xmlns:a16="http://schemas.microsoft.com/office/drawing/2014/main" id="{107F4672-5E39-66B7-59E9-45F479D8F3E3}"/>
                  </a:ext>
                </a:extLst>
              </p:cNvPr>
              <p:cNvSpPr>
                <a:spLocks/>
              </p:cNvSpPr>
              <p:nvPr/>
            </p:nvSpPr>
            <p:spPr bwMode="auto">
              <a:xfrm>
                <a:off x="1652" y="3557"/>
                <a:ext cx="35" cy="56"/>
              </a:xfrm>
              <a:custGeom>
                <a:avLst/>
                <a:gdLst>
                  <a:gd name="T0" fmla="*/ 0 w 37"/>
                  <a:gd name="T1" fmla="*/ 24 h 50"/>
                  <a:gd name="T2" fmla="*/ 1 w 37"/>
                  <a:gd name="T3" fmla="*/ 30 h 50"/>
                  <a:gd name="T4" fmla="*/ 2 w 37"/>
                  <a:gd name="T5" fmla="*/ 38 h 50"/>
                  <a:gd name="T6" fmla="*/ 5 w 37"/>
                  <a:gd name="T7" fmla="*/ 54 h 50"/>
                  <a:gd name="T8" fmla="*/ 6 w 37"/>
                  <a:gd name="T9" fmla="*/ 60 h 50"/>
                  <a:gd name="T10" fmla="*/ 8 w 37"/>
                  <a:gd name="T11" fmla="*/ 69 h 50"/>
                  <a:gd name="T12" fmla="*/ 9 w 37"/>
                  <a:gd name="T13" fmla="*/ 77 h 50"/>
                  <a:gd name="T14" fmla="*/ 9 w 37"/>
                  <a:gd name="T15" fmla="*/ 90 h 50"/>
                  <a:gd name="T16" fmla="*/ 9 w 37"/>
                  <a:gd name="T17" fmla="*/ 96 h 50"/>
                  <a:gd name="T18" fmla="*/ 9 w 37"/>
                  <a:gd name="T19" fmla="*/ 108 h 50"/>
                  <a:gd name="T20" fmla="*/ 9 w 37"/>
                  <a:gd name="T21" fmla="*/ 121 h 50"/>
                  <a:gd name="T22" fmla="*/ 9 w 37"/>
                  <a:gd name="T23" fmla="*/ 129 h 50"/>
                  <a:gd name="T24" fmla="*/ 9 w 37"/>
                  <a:gd name="T25" fmla="*/ 142 h 50"/>
                  <a:gd name="T26" fmla="*/ 9 w 37"/>
                  <a:gd name="T27" fmla="*/ 152 h 50"/>
                  <a:gd name="T28" fmla="*/ 9 w 37"/>
                  <a:gd name="T29" fmla="*/ 161 h 50"/>
                  <a:gd name="T30" fmla="*/ 9 w 37"/>
                  <a:gd name="T31" fmla="*/ 170 h 50"/>
                  <a:gd name="T32" fmla="*/ 9 w 37"/>
                  <a:gd name="T33" fmla="*/ 184 h 50"/>
                  <a:gd name="T34" fmla="*/ 18 w 37"/>
                  <a:gd name="T35" fmla="*/ 190 h 50"/>
                  <a:gd name="T36" fmla="*/ 19 w 37"/>
                  <a:gd name="T37" fmla="*/ 180 h 50"/>
                  <a:gd name="T38" fmla="*/ 19 w 37"/>
                  <a:gd name="T39" fmla="*/ 166 h 50"/>
                  <a:gd name="T40" fmla="*/ 19 w 37"/>
                  <a:gd name="T41" fmla="*/ 152 h 50"/>
                  <a:gd name="T42" fmla="*/ 19 w 37"/>
                  <a:gd name="T43" fmla="*/ 142 h 50"/>
                  <a:gd name="T44" fmla="*/ 19 w 37"/>
                  <a:gd name="T45" fmla="*/ 129 h 50"/>
                  <a:gd name="T46" fmla="*/ 19 w 37"/>
                  <a:gd name="T47" fmla="*/ 118 h 50"/>
                  <a:gd name="T48" fmla="*/ 19 w 37"/>
                  <a:gd name="T49" fmla="*/ 105 h 50"/>
                  <a:gd name="T50" fmla="*/ 19 w 37"/>
                  <a:gd name="T51" fmla="*/ 94 h 50"/>
                  <a:gd name="T52" fmla="*/ 18 w 37"/>
                  <a:gd name="T53" fmla="*/ 84 h 50"/>
                  <a:gd name="T54" fmla="*/ 17 w 37"/>
                  <a:gd name="T55" fmla="*/ 69 h 50"/>
                  <a:gd name="T56" fmla="*/ 16 w 37"/>
                  <a:gd name="T57" fmla="*/ 55 h 50"/>
                  <a:gd name="T58" fmla="*/ 16 w 37"/>
                  <a:gd name="T59" fmla="*/ 48 h 50"/>
                  <a:gd name="T60" fmla="*/ 15 w 37"/>
                  <a:gd name="T61" fmla="*/ 34 h 50"/>
                  <a:gd name="T62" fmla="*/ 13 w 37"/>
                  <a:gd name="T63" fmla="*/ 24 h 50"/>
                  <a:gd name="T64" fmla="*/ 12 w 37"/>
                  <a:gd name="T65" fmla="*/ 3 h 50"/>
                  <a:gd name="T66" fmla="*/ 9 w 37"/>
                  <a:gd name="T67" fmla="*/ 0 h 50"/>
                  <a:gd name="T68" fmla="*/ 0 w 37"/>
                  <a:gd name="T69" fmla="*/ 24 h 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7"/>
                  <a:gd name="T106" fmla="*/ 0 h 50"/>
                  <a:gd name="T107" fmla="*/ 37 w 37"/>
                  <a:gd name="T108" fmla="*/ 50 h 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7" h="50">
                    <a:moveTo>
                      <a:pt x="0" y="6"/>
                    </a:moveTo>
                    <a:lnTo>
                      <a:pt x="1" y="8"/>
                    </a:lnTo>
                    <a:lnTo>
                      <a:pt x="2" y="10"/>
                    </a:lnTo>
                    <a:lnTo>
                      <a:pt x="5" y="13"/>
                    </a:lnTo>
                    <a:lnTo>
                      <a:pt x="6" y="15"/>
                    </a:lnTo>
                    <a:lnTo>
                      <a:pt x="8" y="18"/>
                    </a:lnTo>
                    <a:lnTo>
                      <a:pt x="9" y="20"/>
                    </a:lnTo>
                    <a:lnTo>
                      <a:pt x="10" y="23"/>
                    </a:lnTo>
                    <a:lnTo>
                      <a:pt x="11" y="25"/>
                    </a:lnTo>
                    <a:lnTo>
                      <a:pt x="12" y="28"/>
                    </a:lnTo>
                    <a:lnTo>
                      <a:pt x="12" y="31"/>
                    </a:lnTo>
                    <a:lnTo>
                      <a:pt x="14" y="33"/>
                    </a:lnTo>
                    <a:lnTo>
                      <a:pt x="14" y="36"/>
                    </a:lnTo>
                    <a:lnTo>
                      <a:pt x="14" y="39"/>
                    </a:lnTo>
                    <a:lnTo>
                      <a:pt x="14" y="41"/>
                    </a:lnTo>
                    <a:lnTo>
                      <a:pt x="12" y="44"/>
                    </a:lnTo>
                    <a:lnTo>
                      <a:pt x="11" y="47"/>
                    </a:lnTo>
                    <a:lnTo>
                      <a:pt x="34" y="49"/>
                    </a:lnTo>
                    <a:lnTo>
                      <a:pt x="35" y="46"/>
                    </a:lnTo>
                    <a:lnTo>
                      <a:pt x="36" y="43"/>
                    </a:lnTo>
                    <a:lnTo>
                      <a:pt x="36" y="39"/>
                    </a:lnTo>
                    <a:lnTo>
                      <a:pt x="36" y="36"/>
                    </a:lnTo>
                    <a:lnTo>
                      <a:pt x="36" y="33"/>
                    </a:lnTo>
                    <a:lnTo>
                      <a:pt x="36" y="30"/>
                    </a:lnTo>
                    <a:lnTo>
                      <a:pt x="35" y="27"/>
                    </a:lnTo>
                    <a:lnTo>
                      <a:pt x="35" y="24"/>
                    </a:lnTo>
                    <a:lnTo>
                      <a:pt x="33" y="21"/>
                    </a:lnTo>
                    <a:lnTo>
                      <a:pt x="32" y="18"/>
                    </a:lnTo>
                    <a:lnTo>
                      <a:pt x="30" y="14"/>
                    </a:lnTo>
                    <a:lnTo>
                      <a:pt x="29" y="12"/>
                    </a:lnTo>
                    <a:lnTo>
                      <a:pt x="27" y="9"/>
                    </a:lnTo>
                    <a:lnTo>
                      <a:pt x="25" y="6"/>
                    </a:lnTo>
                    <a:lnTo>
                      <a:pt x="24" y="3"/>
                    </a:lnTo>
                    <a:lnTo>
                      <a:pt x="21" y="0"/>
                    </a:lnTo>
                    <a:lnTo>
                      <a:pt x="0" y="6"/>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46" name="Freeform 106">
                <a:extLst>
                  <a:ext uri="{FF2B5EF4-FFF2-40B4-BE49-F238E27FC236}">
                    <a16:creationId xmlns:a16="http://schemas.microsoft.com/office/drawing/2014/main" id="{85A1A11A-8E10-E642-497B-371948B0A8C9}"/>
                  </a:ext>
                </a:extLst>
              </p:cNvPr>
              <p:cNvSpPr>
                <a:spLocks/>
              </p:cNvSpPr>
              <p:nvPr/>
            </p:nvSpPr>
            <p:spPr bwMode="auto">
              <a:xfrm>
                <a:off x="2135" y="3210"/>
                <a:ext cx="101" cy="64"/>
              </a:xfrm>
              <a:custGeom>
                <a:avLst/>
                <a:gdLst>
                  <a:gd name="T0" fmla="*/ 0 w 106"/>
                  <a:gd name="T1" fmla="*/ 38 h 57"/>
                  <a:gd name="T2" fmla="*/ 6 w 106"/>
                  <a:gd name="T3" fmla="*/ 54 h 57"/>
                  <a:gd name="T4" fmla="*/ 10 w 106"/>
                  <a:gd name="T5" fmla="*/ 62 h 57"/>
                  <a:gd name="T6" fmla="*/ 10 w 106"/>
                  <a:gd name="T7" fmla="*/ 76 h 57"/>
                  <a:gd name="T8" fmla="*/ 10 w 106"/>
                  <a:gd name="T9" fmla="*/ 89 h 57"/>
                  <a:gd name="T10" fmla="*/ 16 w 106"/>
                  <a:gd name="T11" fmla="*/ 100 h 57"/>
                  <a:gd name="T12" fmla="*/ 20 w 106"/>
                  <a:gd name="T13" fmla="*/ 112 h 57"/>
                  <a:gd name="T14" fmla="*/ 23 w 106"/>
                  <a:gd name="T15" fmla="*/ 126 h 57"/>
                  <a:gd name="T16" fmla="*/ 26 w 106"/>
                  <a:gd name="T17" fmla="*/ 141 h 57"/>
                  <a:gd name="T18" fmla="*/ 28 w 106"/>
                  <a:gd name="T19" fmla="*/ 152 h 57"/>
                  <a:gd name="T20" fmla="*/ 31 w 106"/>
                  <a:gd name="T21" fmla="*/ 164 h 57"/>
                  <a:gd name="T22" fmla="*/ 34 w 106"/>
                  <a:gd name="T23" fmla="*/ 177 h 57"/>
                  <a:gd name="T24" fmla="*/ 39 w 106"/>
                  <a:gd name="T25" fmla="*/ 184 h 57"/>
                  <a:gd name="T26" fmla="*/ 43 w 106"/>
                  <a:gd name="T27" fmla="*/ 199 h 57"/>
                  <a:gd name="T28" fmla="*/ 45 w 106"/>
                  <a:gd name="T29" fmla="*/ 207 h 57"/>
                  <a:gd name="T30" fmla="*/ 49 w 106"/>
                  <a:gd name="T31" fmla="*/ 216 h 57"/>
                  <a:gd name="T32" fmla="*/ 53 w 106"/>
                  <a:gd name="T33" fmla="*/ 228 h 57"/>
                  <a:gd name="T34" fmla="*/ 59 w 106"/>
                  <a:gd name="T35" fmla="*/ 177 h 57"/>
                  <a:gd name="T36" fmla="*/ 55 w 106"/>
                  <a:gd name="T37" fmla="*/ 168 h 57"/>
                  <a:gd name="T38" fmla="*/ 51 w 106"/>
                  <a:gd name="T39" fmla="*/ 158 h 57"/>
                  <a:gd name="T40" fmla="*/ 49 w 106"/>
                  <a:gd name="T41" fmla="*/ 150 h 57"/>
                  <a:gd name="T42" fmla="*/ 45 w 106"/>
                  <a:gd name="T43" fmla="*/ 141 h 57"/>
                  <a:gd name="T44" fmla="*/ 43 w 106"/>
                  <a:gd name="T45" fmla="*/ 129 h 57"/>
                  <a:gd name="T46" fmla="*/ 39 w 106"/>
                  <a:gd name="T47" fmla="*/ 119 h 57"/>
                  <a:gd name="T48" fmla="*/ 36 w 106"/>
                  <a:gd name="T49" fmla="*/ 106 h 57"/>
                  <a:gd name="T50" fmla="*/ 33 w 106"/>
                  <a:gd name="T51" fmla="*/ 94 h 57"/>
                  <a:gd name="T52" fmla="*/ 30 w 106"/>
                  <a:gd name="T53" fmla="*/ 79 h 57"/>
                  <a:gd name="T54" fmla="*/ 27 w 106"/>
                  <a:gd name="T55" fmla="*/ 68 h 57"/>
                  <a:gd name="T56" fmla="*/ 25 w 106"/>
                  <a:gd name="T57" fmla="*/ 55 h 57"/>
                  <a:gd name="T58" fmla="*/ 22 w 106"/>
                  <a:gd name="T59" fmla="*/ 43 h 57"/>
                  <a:gd name="T60" fmla="*/ 19 w 106"/>
                  <a:gd name="T61" fmla="*/ 30 h 57"/>
                  <a:gd name="T62" fmla="*/ 16 w 106"/>
                  <a:gd name="T63" fmla="*/ 21 h 57"/>
                  <a:gd name="T64" fmla="*/ 10 w 106"/>
                  <a:gd name="T65" fmla="*/ 2 h 57"/>
                  <a:gd name="T66" fmla="*/ 10 w 106"/>
                  <a:gd name="T67" fmla="*/ 0 h 57"/>
                  <a:gd name="T68" fmla="*/ 0 w 106"/>
                  <a:gd name="T69" fmla="*/ 38 h 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6"/>
                  <a:gd name="T106" fmla="*/ 0 h 57"/>
                  <a:gd name="T107" fmla="*/ 106 w 106"/>
                  <a:gd name="T108" fmla="*/ 57 h 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6" h="57">
                    <a:moveTo>
                      <a:pt x="0" y="10"/>
                    </a:moveTo>
                    <a:lnTo>
                      <a:pt x="6" y="13"/>
                    </a:lnTo>
                    <a:lnTo>
                      <a:pt x="12" y="16"/>
                    </a:lnTo>
                    <a:lnTo>
                      <a:pt x="17" y="19"/>
                    </a:lnTo>
                    <a:lnTo>
                      <a:pt x="22" y="22"/>
                    </a:lnTo>
                    <a:lnTo>
                      <a:pt x="28" y="25"/>
                    </a:lnTo>
                    <a:lnTo>
                      <a:pt x="34" y="28"/>
                    </a:lnTo>
                    <a:lnTo>
                      <a:pt x="39" y="31"/>
                    </a:lnTo>
                    <a:lnTo>
                      <a:pt x="45" y="35"/>
                    </a:lnTo>
                    <a:lnTo>
                      <a:pt x="50" y="38"/>
                    </a:lnTo>
                    <a:lnTo>
                      <a:pt x="56" y="41"/>
                    </a:lnTo>
                    <a:lnTo>
                      <a:pt x="61" y="44"/>
                    </a:lnTo>
                    <a:lnTo>
                      <a:pt x="68" y="46"/>
                    </a:lnTo>
                    <a:lnTo>
                      <a:pt x="74" y="49"/>
                    </a:lnTo>
                    <a:lnTo>
                      <a:pt x="80" y="52"/>
                    </a:lnTo>
                    <a:lnTo>
                      <a:pt x="87" y="54"/>
                    </a:lnTo>
                    <a:lnTo>
                      <a:pt x="94" y="56"/>
                    </a:lnTo>
                    <a:lnTo>
                      <a:pt x="105" y="44"/>
                    </a:lnTo>
                    <a:lnTo>
                      <a:pt x="98" y="42"/>
                    </a:lnTo>
                    <a:lnTo>
                      <a:pt x="92" y="39"/>
                    </a:lnTo>
                    <a:lnTo>
                      <a:pt x="86" y="37"/>
                    </a:lnTo>
                    <a:lnTo>
                      <a:pt x="80" y="35"/>
                    </a:lnTo>
                    <a:lnTo>
                      <a:pt x="75" y="32"/>
                    </a:lnTo>
                    <a:lnTo>
                      <a:pt x="69" y="29"/>
                    </a:lnTo>
                    <a:lnTo>
                      <a:pt x="64" y="26"/>
                    </a:lnTo>
                    <a:lnTo>
                      <a:pt x="59" y="23"/>
                    </a:lnTo>
                    <a:lnTo>
                      <a:pt x="54" y="20"/>
                    </a:lnTo>
                    <a:lnTo>
                      <a:pt x="48" y="17"/>
                    </a:lnTo>
                    <a:lnTo>
                      <a:pt x="44" y="14"/>
                    </a:lnTo>
                    <a:lnTo>
                      <a:pt x="38" y="11"/>
                    </a:lnTo>
                    <a:lnTo>
                      <a:pt x="32" y="8"/>
                    </a:lnTo>
                    <a:lnTo>
                      <a:pt x="28" y="5"/>
                    </a:lnTo>
                    <a:lnTo>
                      <a:pt x="21" y="2"/>
                    </a:lnTo>
                    <a:lnTo>
                      <a:pt x="16" y="0"/>
                    </a:lnTo>
                    <a:lnTo>
                      <a:pt x="0" y="10"/>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47" name="Freeform 107">
                <a:extLst>
                  <a:ext uri="{FF2B5EF4-FFF2-40B4-BE49-F238E27FC236}">
                    <a16:creationId xmlns:a16="http://schemas.microsoft.com/office/drawing/2014/main" id="{A95382F8-E42C-AFD8-F7F6-EB02DF65F34C}"/>
                  </a:ext>
                </a:extLst>
              </p:cNvPr>
              <p:cNvSpPr>
                <a:spLocks/>
              </p:cNvSpPr>
              <p:nvPr/>
            </p:nvSpPr>
            <p:spPr bwMode="auto">
              <a:xfrm>
                <a:off x="3515" y="1924"/>
                <a:ext cx="101" cy="63"/>
              </a:xfrm>
              <a:custGeom>
                <a:avLst/>
                <a:gdLst>
                  <a:gd name="T0" fmla="*/ 0 w 106"/>
                  <a:gd name="T1" fmla="*/ 31 h 57"/>
                  <a:gd name="T2" fmla="*/ 6 w 106"/>
                  <a:gd name="T3" fmla="*/ 42 h 57"/>
                  <a:gd name="T4" fmla="*/ 10 w 106"/>
                  <a:gd name="T5" fmla="*/ 54 h 57"/>
                  <a:gd name="T6" fmla="*/ 10 w 106"/>
                  <a:gd name="T7" fmla="*/ 62 h 57"/>
                  <a:gd name="T8" fmla="*/ 10 w 106"/>
                  <a:gd name="T9" fmla="*/ 73 h 57"/>
                  <a:gd name="T10" fmla="*/ 16 w 106"/>
                  <a:gd name="T11" fmla="*/ 84 h 57"/>
                  <a:gd name="T12" fmla="*/ 20 w 106"/>
                  <a:gd name="T13" fmla="*/ 93 h 57"/>
                  <a:gd name="T14" fmla="*/ 23 w 106"/>
                  <a:gd name="T15" fmla="*/ 103 h 57"/>
                  <a:gd name="T16" fmla="*/ 26 w 106"/>
                  <a:gd name="T17" fmla="*/ 118 h 57"/>
                  <a:gd name="T18" fmla="*/ 28 w 106"/>
                  <a:gd name="T19" fmla="*/ 126 h 57"/>
                  <a:gd name="T20" fmla="*/ 31 w 106"/>
                  <a:gd name="T21" fmla="*/ 137 h 57"/>
                  <a:gd name="T22" fmla="*/ 34 w 106"/>
                  <a:gd name="T23" fmla="*/ 147 h 57"/>
                  <a:gd name="T24" fmla="*/ 39 w 106"/>
                  <a:gd name="T25" fmla="*/ 154 h 57"/>
                  <a:gd name="T26" fmla="*/ 43 w 106"/>
                  <a:gd name="T27" fmla="*/ 162 h 57"/>
                  <a:gd name="T28" fmla="*/ 45 w 106"/>
                  <a:gd name="T29" fmla="*/ 171 h 57"/>
                  <a:gd name="T30" fmla="*/ 49 w 106"/>
                  <a:gd name="T31" fmla="*/ 179 h 57"/>
                  <a:gd name="T32" fmla="*/ 53 w 106"/>
                  <a:gd name="T33" fmla="*/ 188 h 57"/>
                  <a:gd name="T34" fmla="*/ 59 w 106"/>
                  <a:gd name="T35" fmla="*/ 147 h 57"/>
                  <a:gd name="T36" fmla="*/ 55 w 106"/>
                  <a:gd name="T37" fmla="*/ 139 h 57"/>
                  <a:gd name="T38" fmla="*/ 51 w 106"/>
                  <a:gd name="T39" fmla="*/ 130 h 57"/>
                  <a:gd name="T40" fmla="*/ 49 w 106"/>
                  <a:gd name="T41" fmla="*/ 124 h 57"/>
                  <a:gd name="T42" fmla="*/ 45 w 106"/>
                  <a:gd name="T43" fmla="*/ 118 h 57"/>
                  <a:gd name="T44" fmla="*/ 43 w 106"/>
                  <a:gd name="T45" fmla="*/ 107 h 57"/>
                  <a:gd name="T46" fmla="*/ 39 w 106"/>
                  <a:gd name="T47" fmla="*/ 97 h 57"/>
                  <a:gd name="T48" fmla="*/ 36 w 106"/>
                  <a:gd name="T49" fmla="*/ 88 h 57"/>
                  <a:gd name="T50" fmla="*/ 33 w 106"/>
                  <a:gd name="T51" fmla="*/ 76 h 57"/>
                  <a:gd name="T52" fmla="*/ 30 w 106"/>
                  <a:gd name="T53" fmla="*/ 66 h 57"/>
                  <a:gd name="T54" fmla="*/ 27 w 106"/>
                  <a:gd name="T55" fmla="*/ 56 h 57"/>
                  <a:gd name="T56" fmla="*/ 25 w 106"/>
                  <a:gd name="T57" fmla="*/ 46 h 57"/>
                  <a:gd name="T58" fmla="*/ 22 w 106"/>
                  <a:gd name="T59" fmla="*/ 34 h 57"/>
                  <a:gd name="T60" fmla="*/ 19 w 106"/>
                  <a:gd name="T61" fmla="*/ 25 h 57"/>
                  <a:gd name="T62" fmla="*/ 16 w 106"/>
                  <a:gd name="T63" fmla="*/ 19 h 57"/>
                  <a:gd name="T64" fmla="*/ 10 w 106"/>
                  <a:gd name="T65" fmla="*/ 2 h 57"/>
                  <a:gd name="T66" fmla="*/ 10 w 106"/>
                  <a:gd name="T67" fmla="*/ 0 h 57"/>
                  <a:gd name="T68" fmla="*/ 0 w 106"/>
                  <a:gd name="T69" fmla="*/ 31 h 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6"/>
                  <a:gd name="T106" fmla="*/ 0 h 57"/>
                  <a:gd name="T107" fmla="*/ 106 w 106"/>
                  <a:gd name="T108" fmla="*/ 57 h 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6" h="57">
                    <a:moveTo>
                      <a:pt x="0" y="10"/>
                    </a:moveTo>
                    <a:lnTo>
                      <a:pt x="6" y="13"/>
                    </a:lnTo>
                    <a:lnTo>
                      <a:pt x="12" y="16"/>
                    </a:lnTo>
                    <a:lnTo>
                      <a:pt x="17" y="19"/>
                    </a:lnTo>
                    <a:lnTo>
                      <a:pt x="22" y="22"/>
                    </a:lnTo>
                    <a:lnTo>
                      <a:pt x="28" y="25"/>
                    </a:lnTo>
                    <a:lnTo>
                      <a:pt x="34" y="28"/>
                    </a:lnTo>
                    <a:lnTo>
                      <a:pt x="39" y="31"/>
                    </a:lnTo>
                    <a:lnTo>
                      <a:pt x="45" y="35"/>
                    </a:lnTo>
                    <a:lnTo>
                      <a:pt x="50" y="38"/>
                    </a:lnTo>
                    <a:lnTo>
                      <a:pt x="56" y="41"/>
                    </a:lnTo>
                    <a:lnTo>
                      <a:pt x="61" y="44"/>
                    </a:lnTo>
                    <a:lnTo>
                      <a:pt x="68" y="46"/>
                    </a:lnTo>
                    <a:lnTo>
                      <a:pt x="74" y="49"/>
                    </a:lnTo>
                    <a:lnTo>
                      <a:pt x="80" y="52"/>
                    </a:lnTo>
                    <a:lnTo>
                      <a:pt x="87" y="54"/>
                    </a:lnTo>
                    <a:lnTo>
                      <a:pt x="94" y="56"/>
                    </a:lnTo>
                    <a:lnTo>
                      <a:pt x="105" y="44"/>
                    </a:lnTo>
                    <a:lnTo>
                      <a:pt x="98" y="42"/>
                    </a:lnTo>
                    <a:lnTo>
                      <a:pt x="92" y="39"/>
                    </a:lnTo>
                    <a:lnTo>
                      <a:pt x="86" y="37"/>
                    </a:lnTo>
                    <a:lnTo>
                      <a:pt x="80" y="35"/>
                    </a:lnTo>
                    <a:lnTo>
                      <a:pt x="75" y="32"/>
                    </a:lnTo>
                    <a:lnTo>
                      <a:pt x="69" y="29"/>
                    </a:lnTo>
                    <a:lnTo>
                      <a:pt x="64" y="26"/>
                    </a:lnTo>
                    <a:lnTo>
                      <a:pt x="59" y="23"/>
                    </a:lnTo>
                    <a:lnTo>
                      <a:pt x="54" y="20"/>
                    </a:lnTo>
                    <a:lnTo>
                      <a:pt x="48" y="17"/>
                    </a:lnTo>
                    <a:lnTo>
                      <a:pt x="44" y="14"/>
                    </a:lnTo>
                    <a:lnTo>
                      <a:pt x="38" y="11"/>
                    </a:lnTo>
                    <a:lnTo>
                      <a:pt x="32" y="8"/>
                    </a:lnTo>
                    <a:lnTo>
                      <a:pt x="28" y="5"/>
                    </a:lnTo>
                    <a:lnTo>
                      <a:pt x="21" y="2"/>
                    </a:lnTo>
                    <a:lnTo>
                      <a:pt x="16" y="0"/>
                    </a:lnTo>
                    <a:lnTo>
                      <a:pt x="0" y="10"/>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48" name="Freeform 108">
                <a:extLst>
                  <a:ext uri="{FF2B5EF4-FFF2-40B4-BE49-F238E27FC236}">
                    <a16:creationId xmlns:a16="http://schemas.microsoft.com/office/drawing/2014/main" id="{53D034A6-6A21-0774-A3E7-93B0368E23D4}"/>
                  </a:ext>
                </a:extLst>
              </p:cNvPr>
              <p:cNvSpPr>
                <a:spLocks/>
              </p:cNvSpPr>
              <p:nvPr/>
            </p:nvSpPr>
            <p:spPr bwMode="auto">
              <a:xfrm>
                <a:off x="2135" y="2674"/>
                <a:ext cx="101" cy="64"/>
              </a:xfrm>
              <a:custGeom>
                <a:avLst/>
                <a:gdLst>
                  <a:gd name="T0" fmla="*/ 0 w 106"/>
                  <a:gd name="T1" fmla="*/ 38 h 57"/>
                  <a:gd name="T2" fmla="*/ 6 w 106"/>
                  <a:gd name="T3" fmla="*/ 54 h 57"/>
                  <a:gd name="T4" fmla="*/ 10 w 106"/>
                  <a:gd name="T5" fmla="*/ 62 h 57"/>
                  <a:gd name="T6" fmla="*/ 10 w 106"/>
                  <a:gd name="T7" fmla="*/ 76 h 57"/>
                  <a:gd name="T8" fmla="*/ 10 w 106"/>
                  <a:gd name="T9" fmla="*/ 89 h 57"/>
                  <a:gd name="T10" fmla="*/ 16 w 106"/>
                  <a:gd name="T11" fmla="*/ 100 h 57"/>
                  <a:gd name="T12" fmla="*/ 20 w 106"/>
                  <a:gd name="T13" fmla="*/ 112 h 57"/>
                  <a:gd name="T14" fmla="*/ 23 w 106"/>
                  <a:gd name="T15" fmla="*/ 126 h 57"/>
                  <a:gd name="T16" fmla="*/ 26 w 106"/>
                  <a:gd name="T17" fmla="*/ 141 h 57"/>
                  <a:gd name="T18" fmla="*/ 28 w 106"/>
                  <a:gd name="T19" fmla="*/ 152 h 57"/>
                  <a:gd name="T20" fmla="*/ 31 w 106"/>
                  <a:gd name="T21" fmla="*/ 164 h 57"/>
                  <a:gd name="T22" fmla="*/ 34 w 106"/>
                  <a:gd name="T23" fmla="*/ 177 h 57"/>
                  <a:gd name="T24" fmla="*/ 39 w 106"/>
                  <a:gd name="T25" fmla="*/ 184 h 57"/>
                  <a:gd name="T26" fmla="*/ 43 w 106"/>
                  <a:gd name="T27" fmla="*/ 199 h 57"/>
                  <a:gd name="T28" fmla="*/ 45 w 106"/>
                  <a:gd name="T29" fmla="*/ 207 h 57"/>
                  <a:gd name="T30" fmla="*/ 49 w 106"/>
                  <a:gd name="T31" fmla="*/ 216 h 57"/>
                  <a:gd name="T32" fmla="*/ 53 w 106"/>
                  <a:gd name="T33" fmla="*/ 228 h 57"/>
                  <a:gd name="T34" fmla="*/ 59 w 106"/>
                  <a:gd name="T35" fmla="*/ 177 h 57"/>
                  <a:gd name="T36" fmla="*/ 55 w 106"/>
                  <a:gd name="T37" fmla="*/ 168 h 57"/>
                  <a:gd name="T38" fmla="*/ 51 w 106"/>
                  <a:gd name="T39" fmla="*/ 158 h 57"/>
                  <a:gd name="T40" fmla="*/ 49 w 106"/>
                  <a:gd name="T41" fmla="*/ 150 h 57"/>
                  <a:gd name="T42" fmla="*/ 45 w 106"/>
                  <a:gd name="T43" fmla="*/ 141 h 57"/>
                  <a:gd name="T44" fmla="*/ 43 w 106"/>
                  <a:gd name="T45" fmla="*/ 129 h 57"/>
                  <a:gd name="T46" fmla="*/ 39 w 106"/>
                  <a:gd name="T47" fmla="*/ 119 h 57"/>
                  <a:gd name="T48" fmla="*/ 36 w 106"/>
                  <a:gd name="T49" fmla="*/ 106 h 57"/>
                  <a:gd name="T50" fmla="*/ 33 w 106"/>
                  <a:gd name="T51" fmla="*/ 94 h 57"/>
                  <a:gd name="T52" fmla="*/ 30 w 106"/>
                  <a:gd name="T53" fmla="*/ 79 h 57"/>
                  <a:gd name="T54" fmla="*/ 27 w 106"/>
                  <a:gd name="T55" fmla="*/ 68 h 57"/>
                  <a:gd name="T56" fmla="*/ 25 w 106"/>
                  <a:gd name="T57" fmla="*/ 55 h 57"/>
                  <a:gd name="T58" fmla="*/ 22 w 106"/>
                  <a:gd name="T59" fmla="*/ 43 h 57"/>
                  <a:gd name="T60" fmla="*/ 19 w 106"/>
                  <a:gd name="T61" fmla="*/ 30 h 57"/>
                  <a:gd name="T62" fmla="*/ 16 w 106"/>
                  <a:gd name="T63" fmla="*/ 21 h 57"/>
                  <a:gd name="T64" fmla="*/ 10 w 106"/>
                  <a:gd name="T65" fmla="*/ 2 h 57"/>
                  <a:gd name="T66" fmla="*/ 10 w 106"/>
                  <a:gd name="T67" fmla="*/ 0 h 57"/>
                  <a:gd name="T68" fmla="*/ 0 w 106"/>
                  <a:gd name="T69" fmla="*/ 38 h 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6"/>
                  <a:gd name="T106" fmla="*/ 0 h 57"/>
                  <a:gd name="T107" fmla="*/ 106 w 106"/>
                  <a:gd name="T108" fmla="*/ 57 h 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6" h="57">
                    <a:moveTo>
                      <a:pt x="0" y="10"/>
                    </a:moveTo>
                    <a:lnTo>
                      <a:pt x="6" y="13"/>
                    </a:lnTo>
                    <a:lnTo>
                      <a:pt x="12" y="16"/>
                    </a:lnTo>
                    <a:lnTo>
                      <a:pt x="17" y="19"/>
                    </a:lnTo>
                    <a:lnTo>
                      <a:pt x="22" y="22"/>
                    </a:lnTo>
                    <a:lnTo>
                      <a:pt x="28" y="25"/>
                    </a:lnTo>
                    <a:lnTo>
                      <a:pt x="34" y="28"/>
                    </a:lnTo>
                    <a:lnTo>
                      <a:pt x="39" y="31"/>
                    </a:lnTo>
                    <a:lnTo>
                      <a:pt x="45" y="35"/>
                    </a:lnTo>
                    <a:lnTo>
                      <a:pt x="50" y="38"/>
                    </a:lnTo>
                    <a:lnTo>
                      <a:pt x="56" y="41"/>
                    </a:lnTo>
                    <a:lnTo>
                      <a:pt x="61" y="44"/>
                    </a:lnTo>
                    <a:lnTo>
                      <a:pt x="68" y="46"/>
                    </a:lnTo>
                    <a:lnTo>
                      <a:pt x="74" y="49"/>
                    </a:lnTo>
                    <a:lnTo>
                      <a:pt x="80" y="52"/>
                    </a:lnTo>
                    <a:lnTo>
                      <a:pt x="87" y="54"/>
                    </a:lnTo>
                    <a:lnTo>
                      <a:pt x="94" y="56"/>
                    </a:lnTo>
                    <a:lnTo>
                      <a:pt x="105" y="44"/>
                    </a:lnTo>
                    <a:lnTo>
                      <a:pt x="98" y="42"/>
                    </a:lnTo>
                    <a:lnTo>
                      <a:pt x="92" y="39"/>
                    </a:lnTo>
                    <a:lnTo>
                      <a:pt x="86" y="37"/>
                    </a:lnTo>
                    <a:lnTo>
                      <a:pt x="80" y="35"/>
                    </a:lnTo>
                    <a:lnTo>
                      <a:pt x="75" y="32"/>
                    </a:lnTo>
                    <a:lnTo>
                      <a:pt x="69" y="29"/>
                    </a:lnTo>
                    <a:lnTo>
                      <a:pt x="64" y="26"/>
                    </a:lnTo>
                    <a:lnTo>
                      <a:pt x="59" y="23"/>
                    </a:lnTo>
                    <a:lnTo>
                      <a:pt x="54" y="20"/>
                    </a:lnTo>
                    <a:lnTo>
                      <a:pt x="48" y="17"/>
                    </a:lnTo>
                    <a:lnTo>
                      <a:pt x="44" y="14"/>
                    </a:lnTo>
                    <a:lnTo>
                      <a:pt x="38" y="11"/>
                    </a:lnTo>
                    <a:lnTo>
                      <a:pt x="32" y="8"/>
                    </a:lnTo>
                    <a:lnTo>
                      <a:pt x="28" y="5"/>
                    </a:lnTo>
                    <a:lnTo>
                      <a:pt x="21" y="2"/>
                    </a:lnTo>
                    <a:lnTo>
                      <a:pt x="16" y="0"/>
                    </a:lnTo>
                    <a:lnTo>
                      <a:pt x="0" y="10"/>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49" name="Freeform 109">
                <a:extLst>
                  <a:ext uri="{FF2B5EF4-FFF2-40B4-BE49-F238E27FC236}">
                    <a16:creationId xmlns:a16="http://schemas.microsoft.com/office/drawing/2014/main" id="{764D81AF-79FB-C600-7B26-DB8966B40A15}"/>
                  </a:ext>
                </a:extLst>
              </p:cNvPr>
              <p:cNvSpPr>
                <a:spLocks/>
              </p:cNvSpPr>
              <p:nvPr/>
            </p:nvSpPr>
            <p:spPr bwMode="auto">
              <a:xfrm>
                <a:off x="3873" y="3371"/>
                <a:ext cx="101" cy="64"/>
              </a:xfrm>
              <a:custGeom>
                <a:avLst/>
                <a:gdLst>
                  <a:gd name="T0" fmla="*/ 0 w 106"/>
                  <a:gd name="T1" fmla="*/ 38 h 57"/>
                  <a:gd name="T2" fmla="*/ 6 w 106"/>
                  <a:gd name="T3" fmla="*/ 54 h 57"/>
                  <a:gd name="T4" fmla="*/ 10 w 106"/>
                  <a:gd name="T5" fmla="*/ 62 h 57"/>
                  <a:gd name="T6" fmla="*/ 10 w 106"/>
                  <a:gd name="T7" fmla="*/ 76 h 57"/>
                  <a:gd name="T8" fmla="*/ 10 w 106"/>
                  <a:gd name="T9" fmla="*/ 89 h 57"/>
                  <a:gd name="T10" fmla="*/ 16 w 106"/>
                  <a:gd name="T11" fmla="*/ 100 h 57"/>
                  <a:gd name="T12" fmla="*/ 20 w 106"/>
                  <a:gd name="T13" fmla="*/ 112 h 57"/>
                  <a:gd name="T14" fmla="*/ 23 w 106"/>
                  <a:gd name="T15" fmla="*/ 126 h 57"/>
                  <a:gd name="T16" fmla="*/ 26 w 106"/>
                  <a:gd name="T17" fmla="*/ 141 h 57"/>
                  <a:gd name="T18" fmla="*/ 28 w 106"/>
                  <a:gd name="T19" fmla="*/ 152 h 57"/>
                  <a:gd name="T20" fmla="*/ 31 w 106"/>
                  <a:gd name="T21" fmla="*/ 164 h 57"/>
                  <a:gd name="T22" fmla="*/ 34 w 106"/>
                  <a:gd name="T23" fmla="*/ 177 h 57"/>
                  <a:gd name="T24" fmla="*/ 39 w 106"/>
                  <a:gd name="T25" fmla="*/ 184 h 57"/>
                  <a:gd name="T26" fmla="*/ 43 w 106"/>
                  <a:gd name="T27" fmla="*/ 199 h 57"/>
                  <a:gd name="T28" fmla="*/ 45 w 106"/>
                  <a:gd name="T29" fmla="*/ 207 h 57"/>
                  <a:gd name="T30" fmla="*/ 49 w 106"/>
                  <a:gd name="T31" fmla="*/ 216 h 57"/>
                  <a:gd name="T32" fmla="*/ 53 w 106"/>
                  <a:gd name="T33" fmla="*/ 228 h 57"/>
                  <a:gd name="T34" fmla="*/ 59 w 106"/>
                  <a:gd name="T35" fmla="*/ 177 h 57"/>
                  <a:gd name="T36" fmla="*/ 55 w 106"/>
                  <a:gd name="T37" fmla="*/ 168 h 57"/>
                  <a:gd name="T38" fmla="*/ 51 w 106"/>
                  <a:gd name="T39" fmla="*/ 158 h 57"/>
                  <a:gd name="T40" fmla="*/ 49 w 106"/>
                  <a:gd name="T41" fmla="*/ 150 h 57"/>
                  <a:gd name="T42" fmla="*/ 45 w 106"/>
                  <a:gd name="T43" fmla="*/ 141 h 57"/>
                  <a:gd name="T44" fmla="*/ 43 w 106"/>
                  <a:gd name="T45" fmla="*/ 129 h 57"/>
                  <a:gd name="T46" fmla="*/ 39 w 106"/>
                  <a:gd name="T47" fmla="*/ 119 h 57"/>
                  <a:gd name="T48" fmla="*/ 36 w 106"/>
                  <a:gd name="T49" fmla="*/ 106 h 57"/>
                  <a:gd name="T50" fmla="*/ 33 w 106"/>
                  <a:gd name="T51" fmla="*/ 94 h 57"/>
                  <a:gd name="T52" fmla="*/ 30 w 106"/>
                  <a:gd name="T53" fmla="*/ 79 h 57"/>
                  <a:gd name="T54" fmla="*/ 27 w 106"/>
                  <a:gd name="T55" fmla="*/ 68 h 57"/>
                  <a:gd name="T56" fmla="*/ 25 w 106"/>
                  <a:gd name="T57" fmla="*/ 55 h 57"/>
                  <a:gd name="T58" fmla="*/ 22 w 106"/>
                  <a:gd name="T59" fmla="*/ 43 h 57"/>
                  <a:gd name="T60" fmla="*/ 19 w 106"/>
                  <a:gd name="T61" fmla="*/ 30 h 57"/>
                  <a:gd name="T62" fmla="*/ 16 w 106"/>
                  <a:gd name="T63" fmla="*/ 21 h 57"/>
                  <a:gd name="T64" fmla="*/ 10 w 106"/>
                  <a:gd name="T65" fmla="*/ 2 h 57"/>
                  <a:gd name="T66" fmla="*/ 10 w 106"/>
                  <a:gd name="T67" fmla="*/ 0 h 57"/>
                  <a:gd name="T68" fmla="*/ 0 w 106"/>
                  <a:gd name="T69" fmla="*/ 38 h 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6"/>
                  <a:gd name="T106" fmla="*/ 0 h 57"/>
                  <a:gd name="T107" fmla="*/ 106 w 106"/>
                  <a:gd name="T108" fmla="*/ 57 h 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6" h="57">
                    <a:moveTo>
                      <a:pt x="0" y="10"/>
                    </a:moveTo>
                    <a:lnTo>
                      <a:pt x="6" y="13"/>
                    </a:lnTo>
                    <a:lnTo>
                      <a:pt x="12" y="16"/>
                    </a:lnTo>
                    <a:lnTo>
                      <a:pt x="17" y="19"/>
                    </a:lnTo>
                    <a:lnTo>
                      <a:pt x="22" y="22"/>
                    </a:lnTo>
                    <a:lnTo>
                      <a:pt x="28" y="25"/>
                    </a:lnTo>
                    <a:lnTo>
                      <a:pt x="34" y="28"/>
                    </a:lnTo>
                    <a:lnTo>
                      <a:pt x="39" y="31"/>
                    </a:lnTo>
                    <a:lnTo>
                      <a:pt x="45" y="35"/>
                    </a:lnTo>
                    <a:lnTo>
                      <a:pt x="50" y="38"/>
                    </a:lnTo>
                    <a:lnTo>
                      <a:pt x="56" y="41"/>
                    </a:lnTo>
                    <a:lnTo>
                      <a:pt x="61" y="44"/>
                    </a:lnTo>
                    <a:lnTo>
                      <a:pt x="68" y="46"/>
                    </a:lnTo>
                    <a:lnTo>
                      <a:pt x="74" y="49"/>
                    </a:lnTo>
                    <a:lnTo>
                      <a:pt x="80" y="52"/>
                    </a:lnTo>
                    <a:lnTo>
                      <a:pt x="87" y="54"/>
                    </a:lnTo>
                    <a:lnTo>
                      <a:pt x="94" y="56"/>
                    </a:lnTo>
                    <a:lnTo>
                      <a:pt x="105" y="44"/>
                    </a:lnTo>
                    <a:lnTo>
                      <a:pt x="98" y="42"/>
                    </a:lnTo>
                    <a:lnTo>
                      <a:pt x="92" y="39"/>
                    </a:lnTo>
                    <a:lnTo>
                      <a:pt x="86" y="37"/>
                    </a:lnTo>
                    <a:lnTo>
                      <a:pt x="80" y="35"/>
                    </a:lnTo>
                    <a:lnTo>
                      <a:pt x="75" y="32"/>
                    </a:lnTo>
                    <a:lnTo>
                      <a:pt x="69" y="29"/>
                    </a:lnTo>
                    <a:lnTo>
                      <a:pt x="64" y="26"/>
                    </a:lnTo>
                    <a:lnTo>
                      <a:pt x="59" y="23"/>
                    </a:lnTo>
                    <a:lnTo>
                      <a:pt x="54" y="20"/>
                    </a:lnTo>
                    <a:lnTo>
                      <a:pt x="48" y="17"/>
                    </a:lnTo>
                    <a:lnTo>
                      <a:pt x="44" y="14"/>
                    </a:lnTo>
                    <a:lnTo>
                      <a:pt x="38" y="11"/>
                    </a:lnTo>
                    <a:lnTo>
                      <a:pt x="32" y="8"/>
                    </a:lnTo>
                    <a:lnTo>
                      <a:pt x="28" y="5"/>
                    </a:lnTo>
                    <a:lnTo>
                      <a:pt x="21" y="2"/>
                    </a:lnTo>
                    <a:lnTo>
                      <a:pt x="16" y="0"/>
                    </a:lnTo>
                    <a:lnTo>
                      <a:pt x="0" y="10"/>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50" name="Freeform 110">
                <a:extLst>
                  <a:ext uri="{FF2B5EF4-FFF2-40B4-BE49-F238E27FC236}">
                    <a16:creationId xmlns:a16="http://schemas.microsoft.com/office/drawing/2014/main" id="{2BE3158F-56B9-28E9-6E18-EEF23B9A9CFD}"/>
                  </a:ext>
                </a:extLst>
              </p:cNvPr>
              <p:cNvSpPr>
                <a:spLocks/>
              </p:cNvSpPr>
              <p:nvPr/>
            </p:nvSpPr>
            <p:spPr bwMode="auto">
              <a:xfrm>
                <a:off x="4282" y="3210"/>
                <a:ext cx="101" cy="64"/>
              </a:xfrm>
              <a:custGeom>
                <a:avLst/>
                <a:gdLst>
                  <a:gd name="T0" fmla="*/ 0 w 106"/>
                  <a:gd name="T1" fmla="*/ 38 h 57"/>
                  <a:gd name="T2" fmla="*/ 6 w 106"/>
                  <a:gd name="T3" fmla="*/ 54 h 57"/>
                  <a:gd name="T4" fmla="*/ 10 w 106"/>
                  <a:gd name="T5" fmla="*/ 62 h 57"/>
                  <a:gd name="T6" fmla="*/ 10 w 106"/>
                  <a:gd name="T7" fmla="*/ 76 h 57"/>
                  <a:gd name="T8" fmla="*/ 10 w 106"/>
                  <a:gd name="T9" fmla="*/ 89 h 57"/>
                  <a:gd name="T10" fmla="*/ 16 w 106"/>
                  <a:gd name="T11" fmla="*/ 100 h 57"/>
                  <a:gd name="T12" fmla="*/ 20 w 106"/>
                  <a:gd name="T13" fmla="*/ 112 h 57"/>
                  <a:gd name="T14" fmla="*/ 23 w 106"/>
                  <a:gd name="T15" fmla="*/ 126 h 57"/>
                  <a:gd name="T16" fmla="*/ 26 w 106"/>
                  <a:gd name="T17" fmla="*/ 141 h 57"/>
                  <a:gd name="T18" fmla="*/ 28 w 106"/>
                  <a:gd name="T19" fmla="*/ 152 h 57"/>
                  <a:gd name="T20" fmla="*/ 31 w 106"/>
                  <a:gd name="T21" fmla="*/ 164 h 57"/>
                  <a:gd name="T22" fmla="*/ 34 w 106"/>
                  <a:gd name="T23" fmla="*/ 177 h 57"/>
                  <a:gd name="T24" fmla="*/ 39 w 106"/>
                  <a:gd name="T25" fmla="*/ 184 h 57"/>
                  <a:gd name="T26" fmla="*/ 43 w 106"/>
                  <a:gd name="T27" fmla="*/ 199 h 57"/>
                  <a:gd name="T28" fmla="*/ 45 w 106"/>
                  <a:gd name="T29" fmla="*/ 207 h 57"/>
                  <a:gd name="T30" fmla="*/ 49 w 106"/>
                  <a:gd name="T31" fmla="*/ 216 h 57"/>
                  <a:gd name="T32" fmla="*/ 53 w 106"/>
                  <a:gd name="T33" fmla="*/ 228 h 57"/>
                  <a:gd name="T34" fmla="*/ 59 w 106"/>
                  <a:gd name="T35" fmla="*/ 177 h 57"/>
                  <a:gd name="T36" fmla="*/ 55 w 106"/>
                  <a:gd name="T37" fmla="*/ 168 h 57"/>
                  <a:gd name="T38" fmla="*/ 51 w 106"/>
                  <a:gd name="T39" fmla="*/ 158 h 57"/>
                  <a:gd name="T40" fmla="*/ 49 w 106"/>
                  <a:gd name="T41" fmla="*/ 150 h 57"/>
                  <a:gd name="T42" fmla="*/ 45 w 106"/>
                  <a:gd name="T43" fmla="*/ 141 h 57"/>
                  <a:gd name="T44" fmla="*/ 43 w 106"/>
                  <a:gd name="T45" fmla="*/ 129 h 57"/>
                  <a:gd name="T46" fmla="*/ 39 w 106"/>
                  <a:gd name="T47" fmla="*/ 119 h 57"/>
                  <a:gd name="T48" fmla="*/ 36 w 106"/>
                  <a:gd name="T49" fmla="*/ 106 h 57"/>
                  <a:gd name="T50" fmla="*/ 33 w 106"/>
                  <a:gd name="T51" fmla="*/ 94 h 57"/>
                  <a:gd name="T52" fmla="*/ 30 w 106"/>
                  <a:gd name="T53" fmla="*/ 79 h 57"/>
                  <a:gd name="T54" fmla="*/ 27 w 106"/>
                  <a:gd name="T55" fmla="*/ 68 h 57"/>
                  <a:gd name="T56" fmla="*/ 25 w 106"/>
                  <a:gd name="T57" fmla="*/ 55 h 57"/>
                  <a:gd name="T58" fmla="*/ 22 w 106"/>
                  <a:gd name="T59" fmla="*/ 43 h 57"/>
                  <a:gd name="T60" fmla="*/ 19 w 106"/>
                  <a:gd name="T61" fmla="*/ 30 h 57"/>
                  <a:gd name="T62" fmla="*/ 16 w 106"/>
                  <a:gd name="T63" fmla="*/ 21 h 57"/>
                  <a:gd name="T64" fmla="*/ 10 w 106"/>
                  <a:gd name="T65" fmla="*/ 2 h 57"/>
                  <a:gd name="T66" fmla="*/ 10 w 106"/>
                  <a:gd name="T67" fmla="*/ 0 h 57"/>
                  <a:gd name="T68" fmla="*/ 0 w 106"/>
                  <a:gd name="T69" fmla="*/ 38 h 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6"/>
                  <a:gd name="T106" fmla="*/ 0 h 57"/>
                  <a:gd name="T107" fmla="*/ 106 w 106"/>
                  <a:gd name="T108" fmla="*/ 57 h 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6" h="57">
                    <a:moveTo>
                      <a:pt x="0" y="10"/>
                    </a:moveTo>
                    <a:lnTo>
                      <a:pt x="6" y="13"/>
                    </a:lnTo>
                    <a:lnTo>
                      <a:pt x="12" y="16"/>
                    </a:lnTo>
                    <a:lnTo>
                      <a:pt x="17" y="19"/>
                    </a:lnTo>
                    <a:lnTo>
                      <a:pt x="22" y="22"/>
                    </a:lnTo>
                    <a:lnTo>
                      <a:pt x="28" y="25"/>
                    </a:lnTo>
                    <a:lnTo>
                      <a:pt x="34" y="28"/>
                    </a:lnTo>
                    <a:lnTo>
                      <a:pt x="39" y="31"/>
                    </a:lnTo>
                    <a:lnTo>
                      <a:pt x="45" y="35"/>
                    </a:lnTo>
                    <a:lnTo>
                      <a:pt x="50" y="38"/>
                    </a:lnTo>
                    <a:lnTo>
                      <a:pt x="56" y="41"/>
                    </a:lnTo>
                    <a:lnTo>
                      <a:pt x="61" y="44"/>
                    </a:lnTo>
                    <a:lnTo>
                      <a:pt x="68" y="46"/>
                    </a:lnTo>
                    <a:lnTo>
                      <a:pt x="74" y="49"/>
                    </a:lnTo>
                    <a:lnTo>
                      <a:pt x="80" y="52"/>
                    </a:lnTo>
                    <a:lnTo>
                      <a:pt x="87" y="54"/>
                    </a:lnTo>
                    <a:lnTo>
                      <a:pt x="94" y="56"/>
                    </a:lnTo>
                    <a:lnTo>
                      <a:pt x="105" y="44"/>
                    </a:lnTo>
                    <a:lnTo>
                      <a:pt x="98" y="42"/>
                    </a:lnTo>
                    <a:lnTo>
                      <a:pt x="92" y="39"/>
                    </a:lnTo>
                    <a:lnTo>
                      <a:pt x="86" y="37"/>
                    </a:lnTo>
                    <a:lnTo>
                      <a:pt x="80" y="35"/>
                    </a:lnTo>
                    <a:lnTo>
                      <a:pt x="75" y="32"/>
                    </a:lnTo>
                    <a:lnTo>
                      <a:pt x="69" y="29"/>
                    </a:lnTo>
                    <a:lnTo>
                      <a:pt x="64" y="26"/>
                    </a:lnTo>
                    <a:lnTo>
                      <a:pt x="59" y="23"/>
                    </a:lnTo>
                    <a:lnTo>
                      <a:pt x="54" y="20"/>
                    </a:lnTo>
                    <a:lnTo>
                      <a:pt x="48" y="17"/>
                    </a:lnTo>
                    <a:lnTo>
                      <a:pt x="44" y="14"/>
                    </a:lnTo>
                    <a:lnTo>
                      <a:pt x="38" y="11"/>
                    </a:lnTo>
                    <a:lnTo>
                      <a:pt x="32" y="8"/>
                    </a:lnTo>
                    <a:lnTo>
                      <a:pt x="28" y="5"/>
                    </a:lnTo>
                    <a:lnTo>
                      <a:pt x="21" y="2"/>
                    </a:lnTo>
                    <a:lnTo>
                      <a:pt x="16" y="0"/>
                    </a:lnTo>
                    <a:lnTo>
                      <a:pt x="0" y="10"/>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51" name="Freeform 111">
                <a:extLst>
                  <a:ext uri="{FF2B5EF4-FFF2-40B4-BE49-F238E27FC236}">
                    <a16:creationId xmlns:a16="http://schemas.microsoft.com/office/drawing/2014/main" id="{A60335A9-FA66-32FD-7E34-2391660AA232}"/>
                  </a:ext>
                </a:extLst>
              </p:cNvPr>
              <p:cNvSpPr>
                <a:spLocks/>
              </p:cNvSpPr>
              <p:nvPr/>
            </p:nvSpPr>
            <p:spPr bwMode="auto">
              <a:xfrm>
                <a:off x="2289" y="2138"/>
                <a:ext cx="101" cy="64"/>
              </a:xfrm>
              <a:custGeom>
                <a:avLst/>
                <a:gdLst>
                  <a:gd name="T0" fmla="*/ 0 w 106"/>
                  <a:gd name="T1" fmla="*/ 38 h 57"/>
                  <a:gd name="T2" fmla="*/ 6 w 106"/>
                  <a:gd name="T3" fmla="*/ 54 h 57"/>
                  <a:gd name="T4" fmla="*/ 10 w 106"/>
                  <a:gd name="T5" fmla="*/ 62 h 57"/>
                  <a:gd name="T6" fmla="*/ 10 w 106"/>
                  <a:gd name="T7" fmla="*/ 76 h 57"/>
                  <a:gd name="T8" fmla="*/ 10 w 106"/>
                  <a:gd name="T9" fmla="*/ 89 h 57"/>
                  <a:gd name="T10" fmla="*/ 16 w 106"/>
                  <a:gd name="T11" fmla="*/ 100 h 57"/>
                  <a:gd name="T12" fmla="*/ 20 w 106"/>
                  <a:gd name="T13" fmla="*/ 112 h 57"/>
                  <a:gd name="T14" fmla="*/ 23 w 106"/>
                  <a:gd name="T15" fmla="*/ 126 h 57"/>
                  <a:gd name="T16" fmla="*/ 26 w 106"/>
                  <a:gd name="T17" fmla="*/ 141 h 57"/>
                  <a:gd name="T18" fmla="*/ 28 w 106"/>
                  <a:gd name="T19" fmla="*/ 152 h 57"/>
                  <a:gd name="T20" fmla="*/ 31 w 106"/>
                  <a:gd name="T21" fmla="*/ 164 h 57"/>
                  <a:gd name="T22" fmla="*/ 34 w 106"/>
                  <a:gd name="T23" fmla="*/ 177 h 57"/>
                  <a:gd name="T24" fmla="*/ 39 w 106"/>
                  <a:gd name="T25" fmla="*/ 184 h 57"/>
                  <a:gd name="T26" fmla="*/ 43 w 106"/>
                  <a:gd name="T27" fmla="*/ 199 h 57"/>
                  <a:gd name="T28" fmla="*/ 45 w 106"/>
                  <a:gd name="T29" fmla="*/ 207 h 57"/>
                  <a:gd name="T30" fmla="*/ 49 w 106"/>
                  <a:gd name="T31" fmla="*/ 216 h 57"/>
                  <a:gd name="T32" fmla="*/ 53 w 106"/>
                  <a:gd name="T33" fmla="*/ 228 h 57"/>
                  <a:gd name="T34" fmla="*/ 59 w 106"/>
                  <a:gd name="T35" fmla="*/ 177 h 57"/>
                  <a:gd name="T36" fmla="*/ 55 w 106"/>
                  <a:gd name="T37" fmla="*/ 168 h 57"/>
                  <a:gd name="T38" fmla="*/ 51 w 106"/>
                  <a:gd name="T39" fmla="*/ 158 h 57"/>
                  <a:gd name="T40" fmla="*/ 49 w 106"/>
                  <a:gd name="T41" fmla="*/ 150 h 57"/>
                  <a:gd name="T42" fmla="*/ 45 w 106"/>
                  <a:gd name="T43" fmla="*/ 141 h 57"/>
                  <a:gd name="T44" fmla="*/ 43 w 106"/>
                  <a:gd name="T45" fmla="*/ 129 h 57"/>
                  <a:gd name="T46" fmla="*/ 39 w 106"/>
                  <a:gd name="T47" fmla="*/ 119 h 57"/>
                  <a:gd name="T48" fmla="*/ 36 w 106"/>
                  <a:gd name="T49" fmla="*/ 106 h 57"/>
                  <a:gd name="T50" fmla="*/ 33 w 106"/>
                  <a:gd name="T51" fmla="*/ 94 h 57"/>
                  <a:gd name="T52" fmla="*/ 30 w 106"/>
                  <a:gd name="T53" fmla="*/ 79 h 57"/>
                  <a:gd name="T54" fmla="*/ 27 w 106"/>
                  <a:gd name="T55" fmla="*/ 68 h 57"/>
                  <a:gd name="T56" fmla="*/ 25 w 106"/>
                  <a:gd name="T57" fmla="*/ 55 h 57"/>
                  <a:gd name="T58" fmla="*/ 22 w 106"/>
                  <a:gd name="T59" fmla="*/ 43 h 57"/>
                  <a:gd name="T60" fmla="*/ 19 w 106"/>
                  <a:gd name="T61" fmla="*/ 30 h 57"/>
                  <a:gd name="T62" fmla="*/ 16 w 106"/>
                  <a:gd name="T63" fmla="*/ 21 h 57"/>
                  <a:gd name="T64" fmla="*/ 10 w 106"/>
                  <a:gd name="T65" fmla="*/ 2 h 57"/>
                  <a:gd name="T66" fmla="*/ 10 w 106"/>
                  <a:gd name="T67" fmla="*/ 0 h 57"/>
                  <a:gd name="T68" fmla="*/ 0 w 106"/>
                  <a:gd name="T69" fmla="*/ 38 h 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6"/>
                  <a:gd name="T106" fmla="*/ 0 h 57"/>
                  <a:gd name="T107" fmla="*/ 106 w 106"/>
                  <a:gd name="T108" fmla="*/ 57 h 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6" h="57">
                    <a:moveTo>
                      <a:pt x="0" y="10"/>
                    </a:moveTo>
                    <a:lnTo>
                      <a:pt x="6" y="13"/>
                    </a:lnTo>
                    <a:lnTo>
                      <a:pt x="12" y="16"/>
                    </a:lnTo>
                    <a:lnTo>
                      <a:pt x="17" y="19"/>
                    </a:lnTo>
                    <a:lnTo>
                      <a:pt x="22" y="22"/>
                    </a:lnTo>
                    <a:lnTo>
                      <a:pt x="28" y="25"/>
                    </a:lnTo>
                    <a:lnTo>
                      <a:pt x="34" y="28"/>
                    </a:lnTo>
                    <a:lnTo>
                      <a:pt x="39" y="31"/>
                    </a:lnTo>
                    <a:lnTo>
                      <a:pt x="45" y="35"/>
                    </a:lnTo>
                    <a:lnTo>
                      <a:pt x="50" y="38"/>
                    </a:lnTo>
                    <a:lnTo>
                      <a:pt x="56" y="41"/>
                    </a:lnTo>
                    <a:lnTo>
                      <a:pt x="61" y="44"/>
                    </a:lnTo>
                    <a:lnTo>
                      <a:pt x="68" y="46"/>
                    </a:lnTo>
                    <a:lnTo>
                      <a:pt x="74" y="49"/>
                    </a:lnTo>
                    <a:lnTo>
                      <a:pt x="80" y="52"/>
                    </a:lnTo>
                    <a:lnTo>
                      <a:pt x="87" y="54"/>
                    </a:lnTo>
                    <a:lnTo>
                      <a:pt x="94" y="56"/>
                    </a:lnTo>
                    <a:lnTo>
                      <a:pt x="105" y="44"/>
                    </a:lnTo>
                    <a:lnTo>
                      <a:pt x="98" y="42"/>
                    </a:lnTo>
                    <a:lnTo>
                      <a:pt x="92" y="39"/>
                    </a:lnTo>
                    <a:lnTo>
                      <a:pt x="86" y="37"/>
                    </a:lnTo>
                    <a:lnTo>
                      <a:pt x="80" y="35"/>
                    </a:lnTo>
                    <a:lnTo>
                      <a:pt x="75" y="32"/>
                    </a:lnTo>
                    <a:lnTo>
                      <a:pt x="69" y="29"/>
                    </a:lnTo>
                    <a:lnTo>
                      <a:pt x="64" y="26"/>
                    </a:lnTo>
                    <a:lnTo>
                      <a:pt x="59" y="23"/>
                    </a:lnTo>
                    <a:lnTo>
                      <a:pt x="54" y="20"/>
                    </a:lnTo>
                    <a:lnTo>
                      <a:pt x="48" y="17"/>
                    </a:lnTo>
                    <a:lnTo>
                      <a:pt x="44" y="14"/>
                    </a:lnTo>
                    <a:lnTo>
                      <a:pt x="38" y="11"/>
                    </a:lnTo>
                    <a:lnTo>
                      <a:pt x="32" y="8"/>
                    </a:lnTo>
                    <a:lnTo>
                      <a:pt x="28" y="5"/>
                    </a:lnTo>
                    <a:lnTo>
                      <a:pt x="21" y="2"/>
                    </a:lnTo>
                    <a:lnTo>
                      <a:pt x="16" y="0"/>
                    </a:lnTo>
                    <a:lnTo>
                      <a:pt x="0" y="10"/>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52" name="Freeform 112">
                <a:extLst>
                  <a:ext uri="{FF2B5EF4-FFF2-40B4-BE49-F238E27FC236}">
                    <a16:creationId xmlns:a16="http://schemas.microsoft.com/office/drawing/2014/main" id="{290D9165-AF9A-0330-80CD-F7F31386A255}"/>
                  </a:ext>
                </a:extLst>
              </p:cNvPr>
              <p:cNvSpPr>
                <a:spLocks/>
              </p:cNvSpPr>
              <p:nvPr/>
            </p:nvSpPr>
            <p:spPr bwMode="auto">
              <a:xfrm>
                <a:off x="3771" y="2245"/>
                <a:ext cx="101" cy="64"/>
              </a:xfrm>
              <a:custGeom>
                <a:avLst/>
                <a:gdLst>
                  <a:gd name="T0" fmla="*/ 0 w 106"/>
                  <a:gd name="T1" fmla="*/ 38 h 57"/>
                  <a:gd name="T2" fmla="*/ 6 w 106"/>
                  <a:gd name="T3" fmla="*/ 54 h 57"/>
                  <a:gd name="T4" fmla="*/ 10 w 106"/>
                  <a:gd name="T5" fmla="*/ 62 h 57"/>
                  <a:gd name="T6" fmla="*/ 10 w 106"/>
                  <a:gd name="T7" fmla="*/ 76 h 57"/>
                  <a:gd name="T8" fmla="*/ 10 w 106"/>
                  <a:gd name="T9" fmla="*/ 89 h 57"/>
                  <a:gd name="T10" fmla="*/ 16 w 106"/>
                  <a:gd name="T11" fmla="*/ 100 h 57"/>
                  <a:gd name="T12" fmla="*/ 20 w 106"/>
                  <a:gd name="T13" fmla="*/ 112 h 57"/>
                  <a:gd name="T14" fmla="*/ 23 w 106"/>
                  <a:gd name="T15" fmla="*/ 126 h 57"/>
                  <a:gd name="T16" fmla="*/ 26 w 106"/>
                  <a:gd name="T17" fmla="*/ 141 h 57"/>
                  <a:gd name="T18" fmla="*/ 28 w 106"/>
                  <a:gd name="T19" fmla="*/ 152 h 57"/>
                  <a:gd name="T20" fmla="*/ 31 w 106"/>
                  <a:gd name="T21" fmla="*/ 164 h 57"/>
                  <a:gd name="T22" fmla="*/ 34 w 106"/>
                  <a:gd name="T23" fmla="*/ 177 h 57"/>
                  <a:gd name="T24" fmla="*/ 39 w 106"/>
                  <a:gd name="T25" fmla="*/ 184 h 57"/>
                  <a:gd name="T26" fmla="*/ 43 w 106"/>
                  <a:gd name="T27" fmla="*/ 199 h 57"/>
                  <a:gd name="T28" fmla="*/ 45 w 106"/>
                  <a:gd name="T29" fmla="*/ 207 h 57"/>
                  <a:gd name="T30" fmla="*/ 49 w 106"/>
                  <a:gd name="T31" fmla="*/ 216 h 57"/>
                  <a:gd name="T32" fmla="*/ 53 w 106"/>
                  <a:gd name="T33" fmla="*/ 228 h 57"/>
                  <a:gd name="T34" fmla="*/ 59 w 106"/>
                  <a:gd name="T35" fmla="*/ 177 h 57"/>
                  <a:gd name="T36" fmla="*/ 55 w 106"/>
                  <a:gd name="T37" fmla="*/ 168 h 57"/>
                  <a:gd name="T38" fmla="*/ 51 w 106"/>
                  <a:gd name="T39" fmla="*/ 158 h 57"/>
                  <a:gd name="T40" fmla="*/ 49 w 106"/>
                  <a:gd name="T41" fmla="*/ 150 h 57"/>
                  <a:gd name="T42" fmla="*/ 45 w 106"/>
                  <a:gd name="T43" fmla="*/ 141 h 57"/>
                  <a:gd name="T44" fmla="*/ 43 w 106"/>
                  <a:gd name="T45" fmla="*/ 129 h 57"/>
                  <a:gd name="T46" fmla="*/ 39 w 106"/>
                  <a:gd name="T47" fmla="*/ 119 h 57"/>
                  <a:gd name="T48" fmla="*/ 36 w 106"/>
                  <a:gd name="T49" fmla="*/ 106 h 57"/>
                  <a:gd name="T50" fmla="*/ 33 w 106"/>
                  <a:gd name="T51" fmla="*/ 94 h 57"/>
                  <a:gd name="T52" fmla="*/ 30 w 106"/>
                  <a:gd name="T53" fmla="*/ 79 h 57"/>
                  <a:gd name="T54" fmla="*/ 27 w 106"/>
                  <a:gd name="T55" fmla="*/ 68 h 57"/>
                  <a:gd name="T56" fmla="*/ 25 w 106"/>
                  <a:gd name="T57" fmla="*/ 55 h 57"/>
                  <a:gd name="T58" fmla="*/ 22 w 106"/>
                  <a:gd name="T59" fmla="*/ 43 h 57"/>
                  <a:gd name="T60" fmla="*/ 19 w 106"/>
                  <a:gd name="T61" fmla="*/ 30 h 57"/>
                  <a:gd name="T62" fmla="*/ 16 w 106"/>
                  <a:gd name="T63" fmla="*/ 21 h 57"/>
                  <a:gd name="T64" fmla="*/ 10 w 106"/>
                  <a:gd name="T65" fmla="*/ 2 h 57"/>
                  <a:gd name="T66" fmla="*/ 10 w 106"/>
                  <a:gd name="T67" fmla="*/ 0 h 57"/>
                  <a:gd name="T68" fmla="*/ 0 w 106"/>
                  <a:gd name="T69" fmla="*/ 38 h 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6"/>
                  <a:gd name="T106" fmla="*/ 0 h 57"/>
                  <a:gd name="T107" fmla="*/ 106 w 106"/>
                  <a:gd name="T108" fmla="*/ 57 h 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6" h="57">
                    <a:moveTo>
                      <a:pt x="0" y="10"/>
                    </a:moveTo>
                    <a:lnTo>
                      <a:pt x="6" y="13"/>
                    </a:lnTo>
                    <a:lnTo>
                      <a:pt x="12" y="16"/>
                    </a:lnTo>
                    <a:lnTo>
                      <a:pt x="17" y="19"/>
                    </a:lnTo>
                    <a:lnTo>
                      <a:pt x="22" y="22"/>
                    </a:lnTo>
                    <a:lnTo>
                      <a:pt x="28" y="25"/>
                    </a:lnTo>
                    <a:lnTo>
                      <a:pt x="34" y="28"/>
                    </a:lnTo>
                    <a:lnTo>
                      <a:pt x="39" y="31"/>
                    </a:lnTo>
                    <a:lnTo>
                      <a:pt x="45" y="35"/>
                    </a:lnTo>
                    <a:lnTo>
                      <a:pt x="50" y="38"/>
                    </a:lnTo>
                    <a:lnTo>
                      <a:pt x="56" y="41"/>
                    </a:lnTo>
                    <a:lnTo>
                      <a:pt x="61" y="44"/>
                    </a:lnTo>
                    <a:lnTo>
                      <a:pt x="68" y="46"/>
                    </a:lnTo>
                    <a:lnTo>
                      <a:pt x="74" y="49"/>
                    </a:lnTo>
                    <a:lnTo>
                      <a:pt x="80" y="52"/>
                    </a:lnTo>
                    <a:lnTo>
                      <a:pt x="87" y="54"/>
                    </a:lnTo>
                    <a:lnTo>
                      <a:pt x="94" y="56"/>
                    </a:lnTo>
                    <a:lnTo>
                      <a:pt x="105" y="44"/>
                    </a:lnTo>
                    <a:lnTo>
                      <a:pt x="98" y="42"/>
                    </a:lnTo>
                    <a:lnTo>
                      <a:pt x="92" y="39"/>
                    </a:lnTo>
                    <a:lnTo>
                      <a:pt x="86" y="37"/>
                    </a:lnTo>
                    <a:lnTo>
                      <a:pt x="80" y="35"/>
                    </a:lnTo>
                    <a:lnTo>
                      <a:pt x="75" y="32"/>
                    </a:lnTo>
                    <a:lnTo>
                      <a:pt x="69" y="29"/>
                    </a:lnTo>
                    <a:lnTo>
                      <a:pt x="64" y="26"/>
                    </a:lnTo>
                    <a:lnTo>
                      <a:pt x="59" y="23"/>
                    </a:lnTo>
                    <a:lnTo>
                      <a:pt x="54" y="20"/>
                    </a:lnTo>
                    <a:lnTo>
                      <a:pt x="48" y="17"/>
                    </a:lnTo>
                    <a:lnTo>
                      <a:pt x="44" y="14"/>
                    </a:lnTo>
                    <a:lnTo>
                      <a:pt x="38" y="11"/>
                    </a:lnTo>
                    <a:lnTo>
                      <a:pt x="32" y="8"/>
                    </a:lnTo>
                    <a:lnTo>
                      <a:pt x="28" y="5"/>
                    </a:lnTo>
                    <a:lnTo>
                      <a:pt x="21" y="2"/>
                    </a:lnTo>
                    <a:lnTo>
                      <a:pt x="16" y="0"/>
                    </a:lnTo>
                    <a:lnTo>
                      <a:pt x="0" y="10"/>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sp>
        <p:nvSpPr>
          <p:cNvPr id="11267" name="Rectangle 113">
            <a:extLst>
              <a:ext uri="{FF2B5EF4-FFF2-40B4-BE49-F238E27FC236}">
                <a16:creationId xmlns:a16="http://schemas.microsoft.com/office/drawing/2014/main" id="{C8A857F5-517C-B60F-D7AD-9F2FE04B7D1E}"/>
              </a:ext>
            </a:extLst>
          </p:cNvPr>
          <p:cNvSpPr>
            <a:spLocks noGrp="1" noChangeArrowheads="1"/>
          </p:cNvSpPr>
          <p:nvPr>
            <p:ph type="ctrTitle"/>
          </p:nvPr>
        </p:nvSpPr>
        <p:spPr>
          <a:xfrm>
            <a:off x="381000" y="304800"/>
            <a:ext cx="8610600" cy="685800"/>
          </a:xfrm>
        </p:spPr>
        <p:txBody>
          <a:bodyPr lIns="90488" tIns="44450" rIns="90488" bIns="44450"/>
          <a:lstStyle/>
          <a:p>
            <a:pPr eaLnBrk="1" hangingPunct="1"/>
            <a:r>
              <a:rPr lang="en-US" altLang="en-US" sz="3600" dirty="0">
                <a:solidFill>
                  <a:srgbClr val="FF0000"/>
                </a:solidFill>
                <a:effectLst>
                  <a:outerShdw blurRad="38100" dist="38100" dir="2700000" algn="tl">
                    <a:srgbClr val="000000">
                      <a:alpha val="43137"/>
                    </a:srgbClr>
                  </a:outerShdw>
                </a:effectLst>
              </a:rPr>
              <a:t>A Lot Going On Beneath The Surface</a:t>
            </a:r>
          </a:p>
        </p:txBody>
      </p:sp>
      <p:grpSp>
        <p:nvGrpSpPr>
          <p:cNvPr id="4" name="Group 114">
            <a:extLst>
              <a:ext uri="{FF2B5EF4-FFF2-40B4-BE49-F238E27FC236}">
                <a16:creationId xmlns:a16="http://schemas.microsoft.com/office/drawing/2014/main" id="{F5EC6C7F-A6BE-C860-380C-3767BC96EA54}"/>
              </a:ext>
            </a:extLst>
          </p:cNvPr>
          <p:cNvGrpSpPr>
            <a:grpSpLocks/>
          </p:cNvGrpSpPr>
          <p:nvPr/>
        </p:nvGrpSpPr>
        <p:grpSpPr bwMode="auto">
          <a:xfrm>
            <a:off x="2971800" y="4927624"/>
            <a:ext cx="3886200" cy="912813"/>
            <a:chOff x="1872" y="3104"/>
            <a:chExt cx="2448" cy="575"/>
          </a:xfrm>
        </p:grpSpPr>
        <p:sp>
          <p:nvSpPr>
            <p:cNvPr id="11340" name="Rectangle 115">
              <a:extLst>
                <a:ext uri="{FF2B5EF4-FFF2-40B4-BE49-F238E27FC236}">
                  <a16:creationId xmlns:a16="http://schemas.microsoft.com/office/drawing/2014/main" id="{98C29ED1-AFA1-2842-DA4B-B3675A4CDC7C}"/>
                </a:ext>
              </a:extLst>
            </p:cNvPr>
            <p:cNvSpPr>
              <a:spLocks noChangeArrowheads="1"/>
            </p:cNvSpPr>
            <p:nvPr/>
          </p:nvSpPr>
          <p:spPr bwMode="auto">
            <a:xfrm>
              <a:off x="2675" y="3121"/>
              <a:ext cx="772"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2600" b="1" i="0" u="none" strike="noStrike" kern="1200" cap="none" spc="0" normalizeH="0" baseline="0" noProof="0" dirty="0">
                  <a:ln>
                    <a:noFill/>
                  </a:ln>
                  <a:solidFill>
                    <a:srgbClr val="FFFF00"/>
                  </a:solidFill>
                  <a:effectLst/>
                  <a:uLnTx/>
                  <a:uFillTx/>
                  <a:latin typeface="Calibri" panose="020F0502020204030204" pitchFamily="34" charset="0"/>
                  <a:ea typeface="+mn-ea"/>
                  <a:cs typeface="Arial" panose="020B0604020202020204" pitchFamily="34" charset="0"/>
                </a:rPr>
                <a:t>Airway </a:t>
              </a:r>
            </a:p>
          </p:txBody>
        </p:sp>
        <p:sp>
          <p:nvSpPr>
            <p:cNvPr id="11341" name="Rectangle 116">
              <a:extLst>
                <a:ext uri="{FF2B5EF4-FFF2-40B4-BE49-F238E27FC236}">
                  <a16:creationId xmlns:a16="http://schemas.microsoft.com/office/drawing/2014/main" id="{6C01EF24-ABA4-FA77-C7EA-FC31F8E53DCB}"/>
                </a:ext>
              </a:extLst>
            </p:cNvPr>
            <p:cNvSpPr>
              <a:spLocks noChangeArrowheads="1"/>
            </p:cNvSpPr>
            <p:nvPr/>
          </p:nvSpPr>
          <p:spPr bwMode="auto">
            <a:xfrm>
              <a:off x="2385" y="3370"/>
              <a:ext cx="1294"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2600" b="1" i="0" u="none" strike="noStrike" kern="1200" cap="none" spc="0" normalizeH="0" baseline="0" noProof="0" dirty="0">
                  <a:ln>
                    <a:noFill/>
                  </a:ln>
                  <a:solidFill>
                    <a:srgbClr val="FFFF00"/>
                  </a:solidFill>
                  <a:effectLst/>
                  <a:uLnTx/>
                  <a:uFillTx/>
                  <a:latin typeface="Calibri" panose="020F0502020204030204" pitchFamily="34" charset="0"/>
                  <a:ea typeface="+mn-ea"/>
                  <a:cs typeface="Arial" panose="020B0604020202020204" pitchFamily="34" charset="0"/>
                </a:rPr>
                <a:t>inflammation</a:t>
              </a:r>
            </a:p>
          </p:txBody>
        </p:sp>
        <p:sp>
          <p:nvSpPr>
            <p:cNvPr id="11342" name="Line 117">
              <a:extLst>
                <a:ext uri="{FF2B5EF4-FFF2-40B4-BE49-F238E27FC236}">
                  <a16:creationId xmlns:a16="http://schemas.microsoft.com/office/drawing/2014/main" id="{3EE67437-8575-AA5D-FDC2-B99C15765C02}"/>
                </a:ext>
              </a:extLst>
            </p:cNvPr>
            <p:cNvSpPr>
              <a:spLocks noChangeShapeType="1"/>
            </p:cNvSpPr>
            <p:nvPr/>
          </p:nvSpPr>
          <p:spPr bwMode="auto">
            <a:xfrm>
              <a:off x="1872" y="3104"/>
              <a:ext cx="2448" cy="29"/>
            </a:xfrm>
            <a:prstGeom prst="line">
              <a:avLst/>
            </a:prstGeom>
            <a:noFill/>
            <a:ln w="25400">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grpSp>
      <p:grpSp>
        <p:nvGrpSpPr>
          <p:cNvPr id="5" name="Group 118">
            <a:extLst>
              <a:ext uri="{FF2B5EF4-FFF2-40B4-BE49-F238E27FC236}">
                <a16:creationId xmlns:a16="http://schemas.microsoft.com/office/drawing/2014/main" id="{17212C53-B649-6300-3D26-2A34A9D0F26D}"/>
              </a:ext>
            </a:extLst>
          </p:cNvPr>
          <p:cNvGrpSpPr>
            <a:grpSpLocks/>
          </p:cNvGrpSpPr>
          <p:nvPr/>
        </p:nvGrpSpPr>
        <p:grpSpPr bwMode="auto">
          <a:xfrm>
            <a:off x="3581405" y="3132136"/>
            <a:ext cx="2354263" cy="841374"/>
            <a:chOff x="2256" y="1973"/>
            <a:chExt cx="1483" cy="530"/>
          </a:xfrm>
        </p:grpSpPr>
        <p:sp>
          <p:nvSpPr>
            <p:cNvPr id="11337" name="Line 119">
              <a:extLst>
                <a:ext uri="{FF2B5EF4-FFF2-40B4-BE49-F238E27FC236}">
                  <a16:creationId xmlns:a16="http://schemas.microsoft.com/office/drawing/2014/main" id="{7C1DF8B0-6317-F703-9135-4FE269FEA1C0}"/>
                </a:ext>
              </a:extLst>
            </p:cNvPr>
            <p:cNvSpPr>
              <a:spLocks noChangeShapeType="1"/>
            </p:cNvSpPr>
            <p:nvPr/>
          </p:nvSpPr>
          <p:spPr bwMode="auto">
            <a:xfrm>
              <a:off x="2256" y="1973"/>
              <a:ext cx="1483" cy="0"/>
            </a:xfrm>
            <a:prstGeom prst="line">
              <a:avLst/>
            </a:prstGeom>
            <a:noFill/>
            <a:ln w="25400">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38" name="Rectangle 120">
              <a:extLst>
                <a:ext uri="{FF2B5EF4-FFF2-40B4-BE49-F238E27FC236}">
                  <a16:creationId xmlns:a16="http://schemas.microsoft.com/office/drawing/2014/main" id="{8F902266-0741-9B43-9B7D-3BAD28F3BC17}"/>
                </a:ext>
              </a:extLst>
            </p:cNvPr>
            <p:cNvSpPr>
              <a:spLocks noChangeArrowheads="1"/>
            </p:cNvSpPr>
            <p:nvPr/>
          </p:nvSpPr>
          <p:spPr bwMode="auto">
            <a:xfrm>
              <a:off x="2604" y="1979"/>
              <a:ext cx="803"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2600" b="1" i="0" u="none" strike="noStrike" kern="1200" cap="none" spc="0" normalizeH="0" baseline="0" noProof="0" dirty="0">
                  <a:ln>
                    <a:noFill/>
                  </a:ln>
                  <a:solidFill>
                    <a:srgbClr val="FFFF00"/>
                  </a:solidFill>
                  <a:effectLst/>
                  <a:uLnTx/>
                  <a:uFillTx/>
                  <a:latin typeface="Calibri" panose="020F0502020204030204" pitchFamily="34" charset="0"/>
                  <a:ea typeface="+mn-ea"/>
                  <a:cs typeface="Arial" panose="020B0604020202020204" pitchFamily="34" charset="0"/>
                </a:rPr>
                <a:t>Airflow </a:t>
              </a:r>
            </a:p>
          </p:txBody>
        </p:sp>
        <p:sp>
          <p:nvSpPr>
            <p:cNvPr id="11339" name="Rectangle 121">
              <a:extLst>
                <a:ext uri="{FF2B5EF4-FFF2-40B4-BE49-F238E27FC236}">
                  <a16:creationId xmlns:a16="http://schemas.microsoft.com/office/drawing/2014/main" id="{6E71C3DE-CF9B-6131-55C8-FB4011A8D779}"/>
                </a:ext>
              </a:extLst>
            </p:cNvPr>
            <p:cNvSpPr>
              <a:spLocks noChangeArrowheads="1"/>
            </p:cNvSpPr>
            <p:nvPr/>
          </p:nvSpPr>
          <p:spPr bwMode="auto">
            <a:xfrm>
              <a:off x="2443" y="2194"/>
              <a:ext cx="1121"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2600" b="1" i="0" u="none" strike="noStrike" kern="1200" cap="none" spc="0" normalizeH="0" baseline="0" noProof="0" dirty="0">
                  <a:ln>
                    <a:noFill/>
                  </a:ln>
                  <a:solidFill>
                    <a:srgbClr val="FFFF00"/>
                  </a:solidFill>
                  <a:effectLst/>
                  <a:uLnTx/>
                  <a:uFillTx/>
                  <a:latin typeface="Calibri" panose="020F0502020204030204" pitchFamily="34" charset="0"/>
                  <a:ea typeface="+mn-ea"/>
                  <a:cs typeface="Arial" panose="020B0604020202020204" pitchFamily="34" charset="0"/>
                </a:rPr>
                <a:t>obstruction</a:t>
              </a:r>
            </a:p>
          </p:txBody>
        </p:sp>
      </p:grpSp>
      <p:grpSp>
        <p:nvGrpSpPr>
          <p:cNvPr id="6" name="Group 122">
            <a:extLst>
              <a:ext uri="{FF2B5EF4-FFF2-40B4-BE49-F238E27FC236}">
                <a16:creationId xmlns:a16="http://schemas.microsoft.com/office/drawing/2014/main" id="{7A6933F9-45CF-8159-3D62-1E154543A9A5}"/>
              </a:ext>
            </a:extLst>
          </p:cNvPr>
          <p:cNvGrpSpPr>
            <a:grpSpLocks/>
          </p:cNvGrpSpPr>
          <p:nvPr/>
        </p:nvGrpSpPr>
        <p:grpSpPr bwMode="auto">
          <a:xfrm>
            <a:off x="3257555" y="4005261"/>
            <a:ext cx="3302123" cy="873124"/>
            <a:chOff x="1964" y="2523"/>
            <a:chExt cx="2081" cy="550"/>
          </a:xfrm>
        </p:grpSpPr>
        <p:sp>
          <p:nvSpPr>
            <p:cNvPr id="11334" name="Rectangle 123">
              <a:extLst>
                <a:ext uri="{FF2B5EF4-FFF2-40B4-BE49-F238E27FC236}">
                  <a16:creationId xmlns:a16="http://schemas.microsoft.com/office/drawing/2014/main" id="{55DE23D1-989D-55A5-B9FF-B38BBFF86884}"/>
                </a:ext>
              </a:extLst>
            </p:cNvPr>
            <p:cNvSpPr>
              <a:spLocks noChangeArrowheads="1"/>
            </p:cNvSpPr>
            <p:nvPr/>
          </p:nvSpPr>
          <p:spPr bwMode="auto">
            <a:xfrm>
              <a:off x="2476" y="2523"/>
              <a:ext cx="1054" cy="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2800" b="1" i="0" u="none" strike="noStrike" kern="1200" cap="none" spc="0" normalizeH="0" baseline="0" noProof="0" dirty="0">
                  <a:ln>
                    <a:noFill/>
                  </a:ln>
                  <a:solidFill>
                    <a:srgbClr val="FFFF00"/>
                  </a:solidFill>
                  <a:effectLst/>
                  <a:uLnTx/>
                  <a:uFillTx/>
                  <a:latin typeface="Calibri" panose="020F0502020204030204" pitchFamily="34" charset="0"/>
                  <a:ea typeface="+mn-ea"/>
                  <a:cs typeface="Arial" panose="020B0604020202020204" pitchFamily="34" charset="0"/>
                </a:rPr>
                <a:t>Bronchial </a:t>
              </a:r>
            </a:p>
          </p:txBody>
        </p:sp>
        <p:sp>
          <p:nvSpPr>
            <p:cNvPr id="11335" name="Rectangle 124">
              <a:extLst>
                <a:ext uri="{FF2B5EF4-FFF2-40B4-BE49-F238E27FC236}">
                  <a16:creationId xmlns:a16="http://schemas.microsoft.com/office/drawing/2014/main" id="{0FFB780B-7E54-950D-D316-E9B85482168E}"/>
                </a:ext>
              </a:extLst>
            </p:cNvPr>
            <p:cNvSpPr>
              <a:spLocks noChangeArrowheads="1"/>
            </p:cNvSpPr>
            <p:nvPr/>
          </p:nvSpPr>
          <p:spPr bwMode="auto">
            <a:xfrm>
              <a:off x="1964" y="2764"/>
              <a:ext cx="1946"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2600" b="1" i="0" u="none" strike="noStrike" kern="1200" cap="none" spc="0" normalizeH="0" baseline="0" noProof="0" dirty="0">
                  <a:ln>
                    <a:noFill/>
                  </a:ln>
                  <a:solidFill>
                    <a:srgbClr val="FFFF00"/>
                  </a:solidFill>
                  <a:effectLst/>
                  <a:uLnTx/>
                  <a:uFillTx/>
                  <a:latin typeface="Calibri" panose="020F0502020204030204" pitchFamily="34" charset="0"/>
                  <a:ea typeface="+mn-ea"/>
                  <a:cs typeface="Arial" panose="020B0604020202020204" pitchFamily="34" charset="0"/>
                </a:rPr>
                <a:t>hyperresponsiveness</a:t>
              </a:r>
            </a:p>
          </p:txBody>
        </p:sp>
        <p:sp>
          <p:nvSpPr>
            <p:cNvPr id="11336" name="Line 125">
              <a:extLst>
                <a:ext uri="{FF2B5EF4-FFF2-40B4-BE49-F238E27FC236}">
                  <a16:creationId xmlns:a16="http://schemas.microsoft.com/office/drawing/2014/main" id="{98BFD3A4-AE1C-FCB2-9222-1FC8A16FA9DE}"/>
                </a:ext>
              </a:extLst>
            </p:cNvPr>
            <p:cNvSpPr>
              <a:spLocks noChangeShapeType="1"/>
            </p:cNvSpPr>
            <p:nvPr/>
          </p:nvSpPr>
          <p:spPr bwMode="auto">
            <a:xfrm flipV="1">
              <a:off x="1976" y="2539"/>
              <a:ext cx="2069" cy="29"/>
            </a:xfrm>
            <a:prstGeom prst="line">
              <a:avLst/>
            </a:prstGeom>
            <a:noFill/>
            <a:ln w="25400">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orbel"/>
                <a:ea typeface="+mn-ea"/>
                <a:cs typeface="+mn-cs"/>
              </a:endParaRPr>
            </a:p>
          </p:txBody>
        </p:sp>
      </p:grpSp>
      <p:grpSp>
        <p:nvGrpSpPr>
          <p:cNvPr id="7" name="Group 126">
            <a:extLst>
              <a:ext uri="{FF2B5EF4-FFF2-40B4-BE49-F238E27FC236}">
                <a16:creationId xmlns:a16="http://schemas.microsoft.com/office/drawing/2014/main" id="{770A5284-AB46-4DF4-17A6-F6B17484BD88}"/>
              </a:ext>
            </a:extLst>
          </p:cNvPr>
          <p:cNvGrpSpPr>
            <a:grpSpLocks/>
          </p:cNvGrpSpPr>
          <p:nvPr/>
        </p:nvGrpSpPr>
        <p:grpSpPr bwMode="auto">
          <a:xfrm>
            <a:off x="838200" y="1676400"/>
            <a:ext cx="7054850" cy="1430338"/>
            <a:chOff x="505" y="1016"/>
            <a:chExt cx="4444" cy="901"/>
          </a:xfrm>
        </p:grpSpPr>
        <p:sp>
          <p:nvSpPr>
            <p:cNvPr id="11274" name="Freeform 127">
              <a:extLst>
                <a:ext uri="{FF2B5EF4-FFF2-40B4-BE49-F238E27FC236}">
                  <a16:creationId xmlns:a16="http://schemas.microsoft.com/office/drawing/2014/main" id="{6E22665D-76EE-68F3-1E3F-AE2CEB3A37FD}"/>
                </a:ext>
              </a:extLst>
            </p:cNvPr>
            <p:cNvSpPr>
              <a:spLocks/>
            </p:cNvSpPr>
            <p:nvPr/>
          </p:nvSpPr>
          <p:spPr bwMode="auto">
            <a:xfrm>
              <a:off x="564" y="1187"/>
              <a:ext cx="231" cy="260"/>
            </a:xfrm>
            <a:custGeom>
              <a:avLst/>
              <a:gdLst>
                <a:gd name="T0" fmla="*/ 109 w 244"/>
                <a:gd name="T1" fmla="*/ 133 h 233"/>
                <a:gd name="T2" fmla="*/ 109 w 244"/>
                <a:gd name="T3" fmla="*/ 119 h 233"/>
                <a:gd name="T4" fmla="*/ 109 w 244"/>
                <a:gd name="T5" fmla="*/ 107 h 233"/>
                <a:gd name="T6" fmla="*/ 107 w 244"/>
                <a:gd name="T7" fmla="*/ 95 h 233"/>
                <a:gd name="T8" fmla="*/ 104 w 244"/>
                <a:gd name="T9" fmla="*/ 85 h 233"/>
                <a:gd name="T10" fmla="*/ 103 w 244"/>
                <a:gd name="T11" fmla="*/ 69 h 233"/>
                <a:gd name="T12" fmla="*/ 99 w 244"/>
                <a:gd name="T13" fmla="*/ 61 h 233"/>
                <a:gd name="T14" fmla="*/ 97 w 244"/>
                <a:gd name="T15" fmla="*/ 50 h 233"/>
                <a:gd name="T16" fmla="*/ 93 w 244"/>
                <a:gd name="T17" fmla="*/ 36 h 233"/>
                <a:gd name="T18" fmla="*/ 88 w 244"/>
                <a:gd name="T19" fmla="*/ 29 h 233"/>
                <a:gd name="T20" fmla="*/ 84 w 244"/>
                <a:gd name="T21" fmla="*/ 23 h 233"/>
                <a:gd name="T22" fmla="*/ 80 w 244"/>
                <a:gd name="T23" fmla="*/ 4 h 233"/>
                <a:gd name="T24" fmla="*/ 75 w 244"/>
                <a:gd name="T25" fmla="*/ 2 h 233"/>
                <a:gd name="T26" fmla="*/ 71 w 244"/>
                <a:gd name="T27" fmla="*/ 1 h 233"/>
                <a:gd name="T28" fmla="*/ 65 w 244"/>
                <a:gd name="T29" fmla="*/ 0 h 233"/>
                <a:gd name="T30" fmla="*/ 60 w 244"/>
                <a:gd name="T31" fmla="*/ 0 h 233"/>
                <a:gd name="T32" fmla="*/ 55 w 244"/>
                <a:gd name="T33" fmla="*/ 0 h 233"/>
                <a:gd name="T34" fmla="*/ 49 w 244"/>
                <a:gd name="T35" fmla="*/ 0 h 233"/>
                <a:gd name="T36" fmla="*/ 43 w 244"/>
                <a:gd name="T37" fmla="*/ 0 h 233"/>
                <a:gd name="T38" fmla="*/ 38 w 244"/>
                <a:gd name="T39" fmla="*/ 1 h 233"/>
                <a:gd name="T40" fmla="*/ 34 w 244"/>
                <a:gd name="T41" fmla="*/ 2 h 233"/>
                <a:gd name="T42" fmla="*/ 28 w 244"/>
                <a:gd name="T43" fmla="*/ 4 h 233"/>
                <a:gd name="T44" fmla="*/ 25 w 244"/>
                <a:gd name="T45" fmla="*/ 23 h 233"/>
                <a:gd name="T46" fmla="*/ 21 w 244"/>
                <a:gd name="T47" fmla="*/ 29 h 233"/>
                <a:gd name="T48" fmla="*/ 17 w 244"/>
                <a:gd name="T49" fmla="*/ 36 h 233"/>
                <a:gd name="T50" fmla="*/ 12 w 244"/>
                <a:gd name="T51" fmla="*/ 50 h 233"/>
                <a:gd name="T52" fmla="*/ 9 w 244"/>
                <a:gd name="T53" fmla="*/ 61 h 233"/>
                <a:gd name="T54" fmla="*/ 9 w 244"/>
                <a:gd name="T55" fmla="*/ 69 h 233"/>
                <a:gd name="T56" fmla="*/ 8 w 244"/>
                <a:gd name="T57" fmla="*/ 85 h 233"/>
                <a:gd name="T58" fmla="*/ 5 w 244"/>
                <a:gd name="T59" fmla="*/ 95 h 233"/>
                <a:gd name="T60" fmla="*/ 2 w 244"/>
                <a:gd name="T61" fmla="*/ 107 h 233"/>
                <a:gd name="T62" fmla="*/ 0 w 244"/>
                <a:gd name="T63" fmla="*/ 119 h 233"/>
                <a:gd name="T64" fmla="*/ 0 w 244"/>
                <a:gd name="T65" fmla="*/ 133 h 233"/>
                <a:gd name="T66" fmla="*/ 26 w 244"/>
                <a:gd name="T67" fmla="*/ 864 h 233"/>
                <a:gd name="T68" fmla="*/ 126 w 244"/>
                <a:gd name="T69" fmla="*/ 864 h 233"/>
                <a:gd name="T70" fmla="*/ 109 w 244"/>
                <a:gd name="T71" fmla="*/ 133 h 2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4"/>
                <a:gd name="T109" fmla="*/ 0 h 233"/>
                <a:gd name="T110" fmla="*/ 244 w 244"/>
                <a:gd name="T111" fmla="*/ 233 h 2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4" h="233">
                  <a:moveTo>
                    <a:pt x="210" y="36"/>
                  </a:moveTo>
                  <a:lnTo>
                    <a:pt x="209" y="32"/>
                  </a:lnTo>
                  <a:lnTo>
                    <a:pt x="208" y="29"/>
                  </a:lnTo>
                  <a:lnTo>
                    <a:pt x="205" y="25"/>
                  </a:lnTo>
                  <a:lnTo>
                    <a:pt x="201" y="22"/>
                  </a:lnTo>
                  <a:lnTo>
                    <a:pt x="197" y="19"/>
                  </a:lnTo>
                  <a:lnTo>
                    <a:pt x="192" y="16"/>
                  </a:lnTo>
                  <a:lnTo>
                    <a:pt x="186" y="13"/>
                  </a:lnTo>
                  <a:lnTo>
                    <a:pt x="179" y="10"/>
                  </a:lnTo>
                  <a:lnTo>
                    <a:pt x="171" y="8"/>
                  </a:lnTo>
                  <a:lnTo>
                    <a:pt x="163" y="6"/>
                  </a:lnTo>
                  <a:lnTo>
                    <a:pt x="155" y="4"/>
                  </a:lnTo>
                  <a:lnTo>
                    <a:pt x="145" y="2"/>
                  </a:lnTo>
                  <a:lnTo>
                    <a:pt x="136" y="1"/>
                  </a:lnTo>
                  <a:lnTo>
                    <a:pt x="126" y="0"/>
                  </a:lnTo>
                  <a:lnTo>
                    <a:pt x="116" y="0"/>
                  </a:lnTo>
                  <a:lnTo>
                    <a:pt x="105" y="0"/>
                  </a:lnTo>
                  <a:lnTo>
                    <a:pt x="95" y="0"/>
                  </a:lnTo>
                  <a:lnTo>
                    <a:pt x="83" y="0"/>
                  </a:lnTo>
                  <a:lnTo>
                    <a:pt x="74" y="1"/>
                  </a:lnTo>
                  <a:lnTo>
                    <a:pt x="64" y="2"/>
                  </a:lnTo>
                  <a:lnTo>
                    <a:pt x="55" y="4"/>
                  </a:lnTo>
                  <a:lnTo>
                    <a:pt x="46" y="6"/>
                  </a:lnTo>
                  <a:lnTo>
                    <a:pt x="38" y="8"/>
                  </a:lnTo>
                  <a:lnTo>
                    <a:pt x="30" y="10"/>
                  </a:lnTo>
                  <a:lnTo>
                    <a:pt x="24" y="13"/>
                  </a:lnTo>
                  <a:lnTo>
                    <a:pt x="18" y="16"/>
                  </a:lnTo>
                  <a:lnTo>
                    <a:pt x="12" y="19"/>
                  </a:lnTo>
                  <a:lnTo>
                    <a:pt x="8" y="22"/>
                  </a:lnTo>
                  <a:lnTo>
                    <a:pt x="5" y="25"/>
                  </a:lnTo>
                  <a:lnTo>
                    <a:pt x="2" y="29"/>
                  </a:lnTo>
                  <a:lnTo>
                    <a:pt x="0" y="32"/>
                  </a:lnTo>
                  <a:lnTo>
                    <a:pt x="0" y="36"/>
                  </a:lnTo>
                  <a:lnTo>
                    <a:pt x="50" y="232"/>
                  </a:lnTo>
                  <a:lnTo>
                    <a:pt x="243" y="232"/>
                  </a:lnTo>
                  <a:lnTo>
                    <a:pt x="210" y="36"/>
                  </a:lnTo>
                </a:path>
              </a:pathLst>
            </a:custGeom>
            <a:solidFill>
              <a:srgbClr val="FFFFFF"/>
            </a:solidFill>
            <a:ln w="12700" cap="rnd">
              <a:solidFill>
                <a:srgbClr val="000000"/>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275" name="Freeform 128">
              <a:extLst>
                <a:ext uri="{FF2B5EF4-FFF2-40B4-BE49-F238E27FC236}">
                  <a16:creationId xmlns:a16="http://schemas.microsoft.com/office/drawing/2014/main" id="{AAC8D363-3EEC-03CB-ADC0-4C0E6F045692}"/>
                </a:ext>
              </a:extLst>
            </p:cNvPr>
            <p:cNvSpPr>
              <a:spLocks/>
            </p:cNvSpPr>
            <p:nvPr/>
          </p:nvSpPr>
          <p:spPr bwMode="auto">
            <a:xfrm>
              <a:off x="848" y="1187"/>
              <a:ext cx="231" cy="260"/>
            </a:xfrm>
            <a:custGeom>
              <a:avLst/>
              <a:gdLst>
                <a:gd name="T0" fmla="*/ 109 w 244"/>
                <a:gd name="T1" fmla="*/ 133 h 233"/>
                <a:gd name="T2" fmla="*/ 109 w 244"/>
                <a:gd name="T3" fmla="*/ 119 h 233"/>
                <a:gd name="T4" fmla="*/ 109 w 244"/>
                <a:gd name="T5" fmla="*/ 107 h 233"/>
                <a:gd name="T6" fmla="*/ 107 w 244"/>
                <a:gd name="T7" fmla="*/ 95 h 233"/>
                <a:gd name="T8" fmla="*/ 104 w 244"/>
                <a:gd name="T9" fmla="*/ 85 h 233"/>
                <a:gd name="T10" fmla="*/ 103 w 244"/>
                <a:gd name="T11" fmla="*/ 69 h 233"/>
                <a:gd name="T12" fmla="*/ 98 w 244"/>
                <a:gd name="T13" fmla="*/ 61 h 233"/>
                <a:gd name="T14" fmla="*/ 97 w 244"/>
                <a:gd name="T15" fmla="*/ 50 h 233"/>
                <a:gd name="T16" fmla="*/ 93 w 244"/>
                <a:gd name="T17" fmla="*/ 36 h 233"/>
                <a:gd name="T18" fmla="*/ 89 w 244"/>
                <a:gd name="T19" fmla="*/ 29 h 233"/>
                <a:gd name="T20" fmla="*/ 84 w 244"/>
                <a:gd name="T21" fmla="*/ 23 h 233"/>
                <a:gd name="T22" fmla="*/ 80 w 244"/>
                <a:gd name="T23" fmla="*/ 4 h 233"/>
                <a:gd name="T24" fmla="*/ 76 w 244"/>
                <a:gd name="T25" fmla="*/ 2 h 233"/>
                <a:gd name="T26" fmla="*/ 71 w 244"/>
                <a:gd name="T27" fmla="*/ 1 h 233"/>
                <a:gd name="T28" fmla="*/ 65 w 244"/>
                <a:gd name="T29" fmla="*/ 0 h 233"/>
                <a:gd name="T30" fmla="*/ 60 w 244"/>
                <a:gd name="T31" fmla="*/ 0 h 233"/>
                <a:gd name="T32" fmla="*/ 55 w 244"/>
                <a:gd name="T33" fmla="*/ 0 h 233"/>
                <a:gd name="T34" fmla="*/ 49 w 244"/>
                <a:gd name="T35" fmla="*/ 0 h 233"/>
                <a:gd name="T36" fmla="*/ 44 w 244"/>
                <a:gd name="T37" fmla="*/ 0 h 233"/>
                <a:gd name="T38" fmla="*/ 38 w 244"/>
                <a:gd name="T39" fmla="*/ 1 h 233"/>
                <a:gd name="T40" fmla="*/ 34 w 244"/>
                <a:gd name="T41" fmla="*/ 2 h 233"/>
                <a:gd name="T42" fmla="*/ 28 w 244"/>
                <a:gd name="T43" fmla="*/ 4 h 233"/>
                <a:gd name="T44" fmla="*/ 25 w 244"/>
                <a:gd name="T45" fmla="*/ 23 h 233"/>
                <a:gd name="T46" fmla="*/ 21 w 244"/>
                <a:gd name="T47" fmla="*/ 29 h 233"/>
                <a:gd name="T48" fmla="*/ 18 w 244"/>
                <a:gd name="T49" fmla="*/ 36 h 233"/>
                <a:gd name="T50" fmla="*/ 12 w 244"/>
                <a:gd name="T51" fmla="*/ 50 h 233"/>
                <a:gd name="T52" fmla="*/ 9 w 244"/>
                <a:gd name="T53" fmla="*/ 61 h 233"/>
                <a:gd name="T54" fmla="*/ 9 w 244"/>
                <a:gd name="T55" fmla="*/ 69 h 233"/>
                <a:gd name="T56" fmla="*/ 9 w 244"/>
                <a:gd name="T57" fmla="*/ 85 h 233"/>
                <a:gd name="T58" fmla="*/ 5 w 244"/>
                <a:gd name="T59" fmla="*/ 95 h 233"/>
                <a:gd name="T60" fmla="*/ 2 w 244"/>
                <a:gd name="T61" fmla="*/ 107 h 233"/>
                <a:gd name="T62" fmla="*/ 1 w 244"/>
                <a:gd name="T63" fmla="*/ 119 h 233"/>
                <a:gd name="T64" fmla="*/ 0 w 244"/>
                <a:gd name="T65" fmla="*/ 133 h 233"/>
                <a:gd name="T66" fmla="*/ 26 w 244"/>
                <a:gd name="T67" fmla="*/ 864 h 233"/>
                <a:gd name="T68" fmla="*/ 126 w 244"/>
                <a:gd name="T69" fmla="*/ 864 h 233"/>
                <a:gd name="T70" fmla="*/ 109 w 244"/>
                <a:gd name="T71" fmla="*/ 133 h 2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4"/>
                <a:gd name="T109" fmla="*/ 0 h 233"/>
                <a:gd name="T110" fmla="*/ 244 w 244"/>
                <a:gd name="T111" fmla="*/ 233 h 2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4" h="233">
                  <a:moveTo>
                    <a:pt x="209" y="36"/>
                  </a:moveTo>
                  <a:lnTo>
                    <a:pt x="209" y="32"/>
                  </a:lnTo>
                  <a:lnTo>
                    <a:pt x="208" y="29"/>
                  </a:lnTo>
                  <a:lnTo>
                    <a:pt x="205" y="25"/>
                  </a:lnTo>
                  <a:lnTo>
                    <a:pt x="201" y="22"/>
                  </a:lnTo>
                  <a:lnTo>
                    <a:pt x="197" y="19"/>
                  </a:lnTo>
                  <a:lnTo>
                    <a:pt x="191" y="16"/>
                  </a:lnTo>
                  <a:lnTo>
                    <a:pt x="186" y="13"/>
                  </a:lnTo>
                  <a:lnTo>
                    <a:pt x="179" y="10"/>
                  </a:lnTo>
                  <a:lnTo>
                    <a:pt x="172" y="8"/>
                  </a:lnTo>
                  <a:lnTo>
                    <a:pt x="163" y="6"/>
                  </a:lnTo>
                  <a:lnTo>
                    <a:pt x="155" y="4"/>
                  </a:lnTo>
                  <a:lnTo>
                    <a:pt x="146" y="2"/>
                  </a:lnTo>
                  <a:lnTo>
                    <a:pt x="136" y="1"/>
                  </a:lnTo>
                  <a:lnTo>
                    <a:pt x="126" y="0"/>
                  </a:lnTo>
                  <a:lnTo>
                    <a:pt x="116" y="0"/>
                  </a:lnTo>
                  <a:lnTo>
                    <a:pt x="106" y="0"/>
                  </a:lnTo>
                  <a:lnTo>
                    <a:pt x="95" y="0"/>
                  </a:lnTo>
                  <a:lnTo>
                    <a:pt x="84" y="0"/>
                  </a:lnTo>
                  <a:lnTo>
                    <a:pt x="74" y="1"/>
                  </a:lnTo>
                  <a:lnTo>
                    <a:pt x="64" y="2"/>
                  </a:lnTo>
                  <a:lnTo>
                    <a:pt x="55" y="4"/>
                  </a:lnTo>
                  <a:lnTo>
                    <a:pt x="46" y="6"/>
                  </a:lnTo>
                  <a:lnTo>
                    <a:pt x="38" y="8"/>
                  </a:lnTo>
                  <a:lnTo>
                    <a:pt x="32" y="10"/>
                  </a:lnTo>
                  <a:lnTo>
                    <a:pt x="24" y="13"/>
                  </a:lnTo>
                  <a:lnTo>
                    <a:pt x="18" y="16"/>
                  </a:lnTo>
                  <a:lnTo>
                    <a:pt x="12" y="19"/>
                  </a:lnTo>
                  <a:lnTo>
                    <a:pt x="9" y="22"/>
                  </a:lnTo>
                  <a:lnTo>
                    <a:pt x="5" y="25"/>
                  </a:lnTo>
                  <a:lnTo>
                    <a:pt x="2" y="29"/>
                  </a:lnTo>
                  <a:lnTo>
                    <a:pt x="1" y="32"/>
                  </a:lnTo>
                  <a:lnTo>
                    <a:pt x="0" y="36"/>
                  </a:lnTo>
                  <a:lnTo>
                    <a:pt x="50" y="232"/>
                  </a:lnTo>
                  <a:lnTo>
                    <a:pt x="243" y="232"/>
                  </a:lnTo>
                  <a:lnTo>
                    <a:pt x="209" y="36"/>
                  </a:lnTo>
                </a:path>
              </a:pathLst>
            </a:custGeom>
            <a:solidFill>
              <a:srgbClr val="FFFFFF"/>
            </a:solidFill>
            <a:ln w="12700" cap="rnd">
              <a:solidFill>
                <a:srgbClr val="000000"/>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276" name="Freeform 129">
              <a:extLst>
                <a:ext uri="{FF2B5EF4-FFF2-40B4-BE49-F238E27FC236}">
                  <a16:creationId xmlns:a16="http://schemas.microsoft.com/office/drawing/2014/main" id="{65EBEDEF-B8ED-4E37-4948-08042BAC284F}"/>
                </a:ext>
              </a:extLst>
            </p:cNvPr>
            <p:cNvSpPr>
              <a:spLocks/>
            </p:cNvSpPr>
            <p:nvPr/>
          </p:nvSpPr>
          <p:spPr bwMode="auto">
            <a:xfrm>
              <a:off x="535" y="1369"/>
              <a:ext cx="711" cy="278"/>
            </a:xfrm>
            <a:custGeom>
              <a:avLst/>
              <a:gdLst>
                <a:gd name="T0" fmla="*/ 0 w 751"/>
                <a:gd name="T1" fmla="*/ 135 h 249"/>
                <a:gd name="T2" fmla="*/ 356 w 751"/>
                <a:gd name="T3" fmla="*/ 0 h 249"/>
                <a:gd name="T4" fmla="*/ 357 w 751"/>
                <a:gd name="T5" fmla="*/ 0 h 249"/>
                <a:gd name="T6" fmla="*/ 358 w 751"/>
                <a:gd name="T7" fmla="*/ 0 h 249"/>
                <a:gd name="T8" fmla="*/ 359 w 751"/>
                <a:gd name="T9" fmla="*/ 0 h 249"/>
                <a:gd name="T10" fmla="*/ 361 w 751"/>
                <a:gd name="T11" fmla="*/ 1 h 249"/>
                <a:gd name="T12" fmla="*/ 363 w 751"/>
                <a:gd name="T13" fmla="*/ 1 h 249"/>
                <a:gd name="T14" fmla="*/ 364 w 751"/>
                <a:gd name="T15" fmla="*/ 2 h 249"/>
                <a:gd name="T16" fmla="*/ 365 w 751"/>
                <a:gd name="T17" fmla="*/ 4 h 249"/>
                <a:gd name="T18" fmla="*/ 369 w 751"/>
                <a:gd name="T19" fmla="*/ 26 h 249"/>
                <a:gd name="T20" fmla="*/ 372 w 751"/>
                <a:gd name="T21" fmla="*/ 36 h 249"/>
                <a:gd name="T22" fmla="*/ 375 w 751"/>
                <a:gd name="T23" fmla="*/ 50 h 249"/>
                <a:gd name="T24" fmla="*/ 376 w 751"/>
                <a:gd name="T25" fmla="*/ 68 h 249"/>
                <a:gd name="T26" fmla="*/ 379 w 751"/>
                <a:gd name="T27" fmla="*/ 87 h 249"/>
                <a:gd name="T28" fmla="*/ 381 w 751"/>
                <a:gd name="T29" fmla="*/ 109 h 249"/>
                <a:gd name="T30" fmla="*/ 383 w 751"/>
                <a:gd name="T31" fmla="*/ 136 h 249"/>
                <a:gd name="T32" fmla="*/ 384 w 751"/>
                <a:gd name="T33" fmla="*/ 170 h 249"/>
                <a:gd name="T34" fmla="*/ 384 w 751"/>
                <a:gd name="T35" fmla="*/ 211 h 249"/>
                <a:gd name="T36" fmla="*/ 384 w 751"/>
                <a:gd name="T37" fmla="*/ 253 h 249"/>
                <a:gd name="T38" fmla="*/ 385 w 751"/>
                <a:gd name="T39" fmla="*/ 298 h 249"/>
                <a:gd name="T40" fmla="*/ 385 w 751"/>
                <a:gd name="T41" fmla="*/ 352 h 249"/>
                <a:gd name="T42" fmla="*/ 385 w 751"/>
                <a:gd name="T43" fmla="*/ 411 h 249"/>
                <a:gd name="T44" fmla="*/ 385 w 751"/>
                <a:gd name="T45" fmla="*/ 468 h 249"/>
                <a:gd name="T46" fmla="*/ 386 w 751"/>
                <a:gd name="T47" fmla="*/ 525 h 249"/>
                <a:gd name="T48" fmla="*/ 386 w 751"/>
                <a:gd name="T49" fmla="*/ 586 h 249"/>
                <a:gd name="T50" fmla="*/ 387 w 751"/>
                <a:gd name="T51" fmla="*/ 645 h 249"/>
                <a:gd name="T52" fmla="*/ 387 w 751"/>
                <a:gd name="T53" fmla="*/ 703 h 249"/>
                <a:gd name="T54" fmla="*/ 388 w 751"/>
                <a:gd name="T55" fmla="*/ 760 h 249"/>
                <a:gd name="T56" fmla="*/ 388 w 751"/>
                <a:gd name="T57" fmla="*/ 803 h 249"/>
                <a:gd name="T58" fmla="*/ 388 w 751"/>
                <a:gd name="T59" fmla="*/ 849 h 249"/>
                <a:gd name="T60" fmla="*/ 389 w 751"/>
                <a:gd name="T61" fmla="*/ 882 h 249"/>
                <a:gd name="T62" fmla="*/ 389 w 751"/>
                <a:gd name="T63" fmla="*/ 908 h 249"/>
                <a:gd name="T64" fmla="*/ 389 w 751"/>
                <a:gd name="T65" fmla="*/ 924 h 249"/>
                <a:gd name="T66" fmla="*/ 389 w 751"/>
                <a:gd name="T67" fmla="*/ 930 h 249"/>
                <a:gd name="T68" fmla="*/ 17 w 751"/>
                <a:gd name="T69" fmla="*/ 870 h 249"/>
                <a:gd name="T70" fmla="*/ 0 w 751"/>
                <a:gd name="T71" fmla="*/ 135 h 24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1"/>
                <a:gd name="T109" fmla="*/ 0 h 249"/>
                <a:gd name="T110" fmla="*/ 751 w 751"/>
                <a:gd name="T111" fmla="*/ 249 h 24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1" h="249">
                  <a:moveTo>
                    <a:pt x="0" y="36"/>
                  </a:moveTo>
                  <a:lnTo>
                    <a:pt x="687" y="0"/>
                  </a:lnTo>
                  <a:lnTo>
                    <a:pt x="688" y="0"/>
                  </a:lnTo>
                  <a:lnTo>
                    <a:pt x="689" y="0"/>
                  </a:lnTo>
                  <a:lnTo>
                    <a:pt x="692" y="0"/>
                  </a:lnTo>
                  <a:lnTo>
                    <a:pt x="695" y="1"/>
                  </a:lnTo>
                  <a:lnTo>
                    <a:pt x="699" y="1"/>
                  </a:lnTo>
                  <a:lnTo>
                    <a:pt x="704" y="2"/>
                  </a:lnTo>
                  <a:lnTo>
                    <a:pt x="707" y="4"/>
                  </a:lnTo>
                  <a:lnTo>
                    <a:pt x="713" y="7"/>
                  </a:lnTo>
                  <a:lnTo>
                    <a:pt x="717" y="10"/>
                  </a:lnTo>
                  <a:lnTo>
                    <a:pt x="723" y="13"/>
                  </a:lnTo>
                  <a:lnTo>
                    <a:pt x="726" y="18"/>
                  </a:lnTo>
                  <a:lnTo>
                    <a:pt x="731" y="23"/>
                  </a:lnTo>
                  <a:lnTo>
                    <a:pt x="734" y="30"/>
                  </a:lnTo>
                  <a:lnTo>
                    <a:pt x="738" y="37"/>
                  </a:lnTo>
                  <a:lnTo>
                    <a:pt x="740" y="46"/>
                  </a:lnTo>
                  <a:lnTo>
                    <a:pt x="741" y="56"/>
                  </a:lnTo>
                  <a:lnTo>
                    <a:pt x="742" y="67"/>
                  </a:lnTo>
                  <a:lnTo>
                    <a:pt x="743" y="80"/>
                  </a:lnTo>
                  <a:lnTo>
                    <a:pt x="743" y="94"/>
                  </a:lnTo>
                  <a:lnTo>
                    <a:pt x="744" y="109"/>
                  </a:lnTo>
                  <a:lnTo>
                    <a:pt x="746" y="125"/>
                  </a:lnTo>
                  <a:lnTo>
                    <a:pt x="747" y="141"/>
                  </a:lnTo>
                  <a:lnTo>
                    <a:pt x="747" y="157"/>
                  </a:lnTo>
                  <a:lnTo>
                    <a:pt x="748" y="173"/>
                  </a:lnTo>
                  <a:lnTo>
                    <a:pt x="748" y="188"/>
                  </a:lnTo>
                  <a:lnTo>
                    <a:pt x="749" y="202"/>
                  </a:lnTo>
                  <a:lnTo>
                    <a:pt x="749" y="214"/>
                  </a:lnTo>
                  <a:lnTo>
                    <a:pt x="749" y="226"/>
                  </a:lnTo>
                  <a:lnTo>
                    <a:pt x="750" y="235"/>
                  </a:lnTo>
                  <a:lnTo>
                    <a:pt x="750" y="242"/>
                  </a:lnTo>
                  <a:lnTo>
                    <a:pt x="750" y="246"/>
                  </a:lnTo>
                  <a:lnTo>
                    <a:pt x="750" y="248"/>
                  </a:lnTo>
                  <a:lnTo>
                    <a:pt x="31" y="232"/>
                  </a:lnTo>
                  <a:lnTo>
                    <a:pt x="0" y="36"/>
                  </a:lnTo>
                </a:path>
              </a:pathLst>
            </a:custGeom>
            <a:solidFill>
              <a:srgbClr val="FFFFFF"/>
            </a:solidFill>
            <a:ln w="12700" cap="rnd">
              <a:solidFill>
                <a:srgbClr val="000000"/>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277" name="Freeform 130">
              <a:extLst>
                <a:ext uri="{FF2B5EF4-FFF2-40B4-BE49-F238E27FC236}">
                  <a16:creationId xmlns:a16="http://schemas.microsoft.com/office/drawing/2014/main" id="{21B41A72-AE50-8773-BA3A-061F39018BF9}"/>
                </a:ext>
              </a:extLst>
            </p:cNvPr>
            <p:cNvSpPr>
              <a:spLocks/>
            </p:cNvSpPr>
            <p:nvPr/>
          </p:nvSpPr>
          <p:spPr bwMode="auto">
            <a:xfrm>
              <a:off x="553" y="1457"/>
              <a:ext cx="1183" cy="359"/>
            </a:xfrm>
            <a:custGeom>
              <a:avLst/>
              <a:gdLst>
                <a:gd name="T0" fmla="*/ 3 w 1250"/>
                <a:gd name="T1" fmla="*/ 1225 h 321"/>
                <a:gd name="T2" fmla="*/ 468 w 1250"/>
                <a:gd name="T3" fmla="*/ 1163 h 321"/>
                <a:gd name="T4" fmla="*/ 468 w 1250"/>
                <a:gd name="T5" fmla="*/ 1162 h 321"/>
                <a:gd name="T6" fmla="*/ 468 w 1250"/>
                <a:gd name="T7" fmla="*/ 1160 h 321"/>
                <a:gd name="T8" fmla="*/ 468 w 1250"/>
                <a:gd name="T9" fmla="*/ 1155 h 321"/>
                <a:gd name="T10" fmla="*/ 469 w 1250"/>
                <a:gd name="T11" fmla="*/ 1135 h 321"/>
                <a:gd name="T12" fmla="*/ 471 w 1250"/>
                <a:gd name="T13" fmla="*/ 1123 h 321"/>
                <a:gd name="T14" fmla="*/ 473 w 1250"/>
                <a:gd name="T15" fmla="*/ 1106 h 321"/>
                <a:gd name="T16" fmla="*/ 475 w 1250"/>
                <a:gd name="T17" fmla="*/ 1078 h 321"/>
                <a:gd name="T18" fmla="*/ 476 w 1250"/>
                <a:gd name="T19" fmla="*/ 1055 h 321"/>
                <a:gd name="T20" fmla="*/ 479 w 1250"/>
                <a:gd name="T21" fmla="*/ 1031 h 321"/>
                <a:gd name="T22" fmla="*/ 484 w 1250"/>
                <a:gd name="T23" fmla="*/ 992 h 321"/>
                <a:gd name="T24" fmla="*/ 487 w 1250"/>
                <a:gd name="T25" fmla="*/ 957 h 321"/>
                <a:gd name="T26" fmla="*/ 491 w 1250"/>
                <a:gd name="T27" fmla="*/ 922 h 321"/>
                <a:gd name="T28" fmla="*/ 497 w 1250"/>
                <a:gd name="T29" fmla="*/ 875 h 321"/>
                <a:gd name="T30" fmla="*/ 503 w 1250"/>
                <a:gd name="T31" fmla="*/ 832 h 321"/>
                <a:gd name="T32" fmla="*/ 510 w 1250"/>
                <a:gd name="T33" fmla="*/ 783 h 321"/>
                <a:gd name="T34" fmla="*/ 516 w 1250"/>
                <a:gd name="T35" fmla="*/ 741 h 321"/>
                <a:gd name="T36" fmla="*/ 525 w 1250"/>
                <a:gd name="T37" fmla="*/ 680 h 321"/>
                <a:gd name="T38" fmla="*/ 534 w 1250"/>
                <a:gd name="T39" fmla="*/ 634 h 321"/>
                <a:gd name="T40" fmla="*/ 543 w 1250"/>
                <a:gd name="T41" fmla="*/ 579 h 321"/>
                <a:gd name="T42" fmla="*/ 553 w 1250"/>
                <a:gd name="T43" fmla="*/ 541 h 321"/>
                <a:gd name="T44" fmla="*/ 561 w 1250"/>
                <a:gd name="T45" fmla="*/ 497 h 321"/>
                <a:gd name="T46" fmla="*/ 572 w 1250"/>
                <a:gd name="T47" fmla="*/ 461 h 321"/>
                <a:gd name="T48" fmla="*/ 580 w 1250"/>
                <a:gd name="T49" fmla="*/ 414 h 321"/>
                <a:gd name="T50" fmla="*/ 591 w 1250"/>
                <a:gd name="T51" fmla="*/ 379 h 321"/>
                <a:gd name="T52" fmla="*/ 597 w 1250"/>
                <a:gd name="T53" fmla="*/ 344 h 321"/>
                <a:gd name="T54" fmla="*/ 607 w 1250"/>
                <a:gd name="T55" fmla="*/ 300 h 321"/>
                <a:gd name="T56" fmla="*/ 615 w 1250"/>
                <a:gd name="T57" fmla="*/ 262 h 321"/>
                <a:gd name="T58" fmla="*/ 622 w 1250"/>
                <a:gd name="T59" fmla="*/ 211 h 321"/>
                <a:gd name="T60" fmla="*/ 628 w 1250"/>
                <a:gd name="T61" fmla="*/ 168 h 321"/>
                <a:gd name="T62" fmla="*/ 636 w 1250"/>
                <a:gd name="T63" fmla="*/ 120 h 321"/>
                <a:gd name="T64" fmla="*/ 641 w 1250"/>
                <a:gd name="T65" fmla="*/ 62 h 321"/>
                <a:gd name="T66" fmla="*/ 644 w 1250"/>
                <a:gd name="T67" fmla="*/ 0 h 321"/>
                <a:gd name="T68" fmla="*/ 0 w 1250"/>
                <a:gd name="T69" fmla="*/ 308 h 321"/>
                <a:gd name="T70" fmla="*/ 3 w 1250"/>
                <a:gd name="T71" fmla="*/ 1225 h 3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50"/>
                <a:gd name="T109" fmla="*/ 0 h 321"/>
                <a:gd name="T110" fmla="*/ 1250 w 1250"/>
                <a:gd name="T111" fmla="*/ 321 h 3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50" h="321">
                  <a:moveTo>
                    <a:pt x="3" y="320"/>
                  </a:moveTo>
                  <a:lnTo>
                    <a:pt x="906" y="305"/>
                  </a:lnTo>
                  <a:lnTo>
                    <a:pt x="906" y="304"/>
                  </a:lnTo>
                  <a:lnTo>
                    <a:pt x="907" y="303"/>
                  </a:lnTo>
                  <a:lnTo>
                    <a:pt x="908" y="301"/>
                  </a:lnTo>
                  <a:lnTo>
                    <a:pt x="909" y="297"/>
                  </a:lnTo>
                  <a:lnTo>
                    <a:pt x="911" y="293"/>
                  </a:lnTo>
                  <a:lnTo>
                    <a:pt x="915" y="288"/>
                  </a:lnTo>
                  <a:lnTo>
                    <a:pt x="919" y="282"/>
                  </a:lnTo>
                  <a:lnTo>
                    <a:pt x="924" y="275"/>
                  </a:lnTo>
                  <a:lnTo>
                    <a:pt x="929" y="268"/>
                  </a:lnTo>
                  <a:lnTo>
                    <a:pt x="936" y="259"/>
                  </a:lnTo>
                  <a:lnTo>
                    <a:pt x="944" y="250"/>
                  </a:lnTo>
                  <a:lnTo>
                    <a:pt x="952" y="240"/>
                  </a:lnTo>
                  <a:lnTo>
                    <a:pt x="962" y="229"/>
                  </a:lnTo>
                  <a:lnTo>
                    <a:pt x="973" y="218"/>
                  </a:lnTo>
                  <a:lnTo>
                    <a:pt x="986" y="206"/>
                  </a:lnTo>
                  <a:lnTo>
                    <a:pt x="1000" y="193"/>
                  </a:lnTo>
                  <a:lnTo>
                    <a:pt x="1017" y="178"/>
                  </a:lnTo>
                  <a:lnTo>
                    <a:pt x="1034" y="165"/>
                  </a:lnTo>
                  <a:lnTo>
                    <a:pt x="1052" y="152"/>
                  </a:lnTo>
                  <a:lnTo>
                    <a:pt x="1070" y="141"/>
                  </a:lnTo>
                  <a:lnTo>
                    <a:pt x="1088" y="130"/>
                  </a:lnTo>
                  <a:lnTo>
                    <a:pt x="1106" y="120"/>
                  </a:lnTo>
                  <a:lnTo>
                    <a:pt x="1124" y="109"/>
                  </a:lnTo>
                  <a:lnTo>
                    <a:pt x="1142" y="99"/>
                  </a:lnTo>
                  <a:lnTo>
                    <a:pt x="1159" y="89"/>
                  </a:lnTo>
                  <a:lnTo>
                    <a:pt x="1175" y="79"/>
                  </a:lnTo>
                  <a:lnTo>
                    <a:pt x="1190" y="68"/>
                  </a:lnTo>
                  <a:lnTo>
                    <a:pt x="1205" y="56"/>
                  </a:lnTo>
                  <a:lnTo>
                    <a:pt x="1217" y="44"/>
                  </a:lnTo>
                  <a:lnTo>
                    <a:pt x="1230" y="31"/>
                  </a:lnTo>
                  <a:lnTo>
                    <a:pt x="1240" y="16"/>
                  </a:lnTo>
                  <a:lnTo>
                    <a:pt x="1249" y="0"/>
                  </a:lnTo>
                  <a:lnTo>
                    <a:pt x="0" y="80"/>
                  </a:lnTo>
                  <a:lnTo>
                    <a:pt x="3" y="320"/>
                  </a:lnTo>
                </a:path>
              </a:pathLst>
            </a:custGeom>
            <a:solidFill>
              <a:srgbClr val="FFFFFF"/>
            </a:solidFill>
            <a:ln w="12700" cap="rnd">
              <a:solidFill>
                <a:srgbClr val="000000"/>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278" name="Freeform 131">
              <a:extLst>
                <a:ext uri="{FF2B5EF4-FFF2-40B4-BE49-F238E27FC236}">
                  <a16:creationId xmlns:a16="http://schemas.microsoft.com/office/drawing/2014/main" id="{FF024FE0-7FFD-D075-24AC-AA3E7627B40A}"/>
                </a:ext>
              </a:extLst>
            </p:cNvPr>
            <p:cNvSpPr>
              <a:spLocks/>
            </p:cNvSpPr>
            <p:nvPr/>
          </p:nvSpPr>
          <p:spPr bwMode="auto">
            <a:xfrm>
              <a:off x="3471" y="1678"/>
              <a:ext cx="365" cy="125"/>
            </a:xfrm>
            <a:custGeom>
              <a:avLst/>
              <a:gdLst>
                <a:gd name="T0" fmla="*/ 9 w 386"/>
                <a:gd name="T1" fmla="*/ 397 h 112"/>
                <a:gd name="T2" fmla="*/ 29 w 386"/>
                <a:gd name="T3" fmla="*/ 376 h 112"/>
                <a:gd name="T4" fmla="*/ 44 w 386"/>
                <a:gd name="T5" fmla="*/ 330 h 112"/>
                <a:gd name="T6" fmla="*/ 58 w 386"/>
                <a:gd name="T7" fmla="*/ 270 h 112"/>
                <a:gd name="T8" fmla="*/ 69 w 386"/>
                <a:gd name="T9" fmla="*/ 211 h 112"/>
                <a:gd name="T10" fmla="*/ 78 w 386"/>
                <a:gd name="T11" fmla="*/ 140 h 112"/>
                <a:gd name="T12" fmla="*/ 89 w 386"/>
                <a:gd name="T13" fmla="*/ 87 h 112"/>
                <a:gd name="T14" fmla="*/ 100 w 386"/>
                <a:gd name="T15" fmla="*/ 32 h 112"/>
                <a:gd name="T16" fmla="*/ 110 w 386"/>
                <a:gd name="T17" fmla="*/ 3 h 112"/>
                <a:gd name="T18" fmla="*/ 117 w 386"/>
                <a:gd name="T19" fmla="*/ 0 h 112"/>
                <a:gd name="T20" fmla="*/ 125 w 386"/>
                <a:gd name="T21" fmla="*/ 0 h 112"/>
                <a:gd name="T22" fmla="*/ 132 w 386"/>
                <a:gd name="T23" fmla="*/ 3 h 112"/>
                <a:gd name="T24" fmla="*/ 139 w 386"/>
                <a:gd name="T25" fmla="*/ 29 h 112"/>
                <a:gd name="T26" fmla="*/ 144 w 386"/>
                <a:gd name="T27" fmla="*/ 56 h 112"/>
                <a:gd name="T28" fmla="*/ 148 w 386"/>
                <a:gd name="T29" fmla="*/ 95 h 112"/>
                <a:gd name="T30" fmla="*/ 149 w 386"/>
                <a:gd name="T31" fmla="*/ 135 h 112"/>
                <a:gd name="T32" fmla="*/ 148 w 386"/>
                <a:gd name="T33" fmla="*/ 147 h 112"/>
                <a:gd name="T34" fmla="*/ 142 w 386"/>
                <a:gd name="T35" fmla="*/ 132 h 112"/>
                <a:gd name="T36" fmla="*/ 137 w 386"/>
                <a:gd name="T37" fmla="*/ 122 h 112"/>
                <a:gd name="T38" fmla="*/ 132 w 386"/>
                <a:gd name="T39" fmla="*/ 125 h 112"/>
                <a:gd name="T40" fmla="*/ 127 w 386"/>
                <a:gd name="T41" fmla="*/ 136 h 112"/>
                <a:gd name="T42" fmla="*/ 124 w 386"/>
                <a:gd name="T43" fmla="*/ 156 h 112"/>
                <a:gd name="T44" fmla="*/ 121 w 386"/>
                <a:gd name="T45" fmla="*/ 182 h 112"/>
                <a:gd name="T46" fmla="*/ 118 w 386"/>
                <a:gd name="T47" fmla="*/ 212 h 112"/>
                <a:gd name="T48" fmla="*/ 118 w 386"/>
                <a:gd name="T49" fmla="*/ 237 h 112"/>
                <a:gd name="T50" fmla="*/ 118 w 386"/>
                <a:gd name="T51" fmla="*/ 265 h 112"/>
                <a:gd name="T52" fmla="*/ 120 w 386"/>
                <a:gd name="T53" fmla="*/ 292 h 112"/>
                <a:gd name="T54" fmla="*/ 122 w 386"/>
                <a:gd name="T55" fmla="*/ 316 h 112"/>
                <a:gd name="T56" fmla="*/ 125 w 386"/>
                <a:gd name="T57" fmla="*/ 346 h 112"/>
                <a:gd name="T58" fmla="*/ 130 w 386"/>
                <a:gd name="T59" fmla="*/ 368 h 112"/>
                <a:gd name="T60" fmla="*/ 135 w 386"/>
                <a:gd name="T61" fmla="*/ 386 h 112"/>
                <a:gd name="T62" fmla="*/ 143 w 386"/>
                <a:gd name="T63" fmla="*/ 406 h 112"/>
                <a:gd name="T64" fmla="*/ 148 w 386"/>
                <a:gd name="T65" fmla="*/ 412 h 112"/>
                <a:gd name="T66" fmla="*/ 153 w 386"/>
                <a:gd name="T67" fmla="*/ 415 h 112"/>
                <a:gd name="T68" fmla="*/ 157 w 386"/>
                <a:gd name="T69" fmla="*/ 415 h 112"/>
                <a:gd name="T70" fmla="*/ 163 w 386"/>
                <a:gd name="T71" fmla="*/ 415 h 112"/>
                <a:gd name="T72" fmla="*/ 168 w 386"/>
                <a:gd name="T73" fmla="*/ 415 h 112"/>
                <a:gd name="T74" fmla="*/ 173 w 386"/>
                <a:gd name="T75" fmla="*/ 412 h 112"/>
                <a:gd name="T76" fmla="*/ 183 w 386"/>
                <a:gd name="T77" fmla="*/ 412 h 112"/>
                <a:gd name="T78" fmla="*/ 192 w 386"/>
                <a:gd name="T79" fmla="*/ 412 h 112"/>
                <a:gd name="T80" fmla="*/ 0 w 386"/>
                <a:gd name="T81" fmla="*/ 411 h 11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6"/>
                <a:gd name="T124" fmla="*/ 0 h 112"/>
                <a:gd name="T125" fmla="*/ 386 w 386"/>
                <a:gd name="T126" fmla="*/ 112 h 11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6" h="112">
                  <a:moveTo>
                    <a:pt x="0" y="109"/>
                  </a:moveTo>
                  <a:lnTo>
                    <a:pt x="21" y="107"/>
                  </a:lnTo>
                  <a:lnTo>
                    <a:pt x="40" y="105"/>
                  </a:lnTo>
                  <a:lnTo>
                    <a:pt x="58" y="101"/>
                  </a:lnTo>
                  <a:lnTo>
                    <a:pt x="73" y="95"/>
                  </a:lnTo>
                  <a:lnTo>
                    <a:pt x="87" y="88"/>
                  </a:lnTo>
                  <a:lnTo>
                    <a:pt x="100" y="82"/>
                  </a:lnTo>
                  <a:lnTo>
                    <a:pt x="112" y="73"/>
                  </a:lnTo>
                  <a:lnTo>
                    <a:pt x="123" y="65"/>
                  </a:lnTo>
                  <a:lnTo>
                    <a:pt x="133" y="56"/>
                  </a:lnTo>
                  <a:lnTo>
                    <a:pt x="144" y="46"/>
                  </a:lnTo>
                  <a:lnTo>
                    <a:pt x="153" y="38"/>
                  </a:lnTo>
                  <a:lnTo>
                    <a:pt x="163" y="30"/>
                  </a:lnTo>
                  <a:lnTo>
                    <a:pt x="173" y="23"/>
                  </a:lnTo>
                  <a:lnTo>
                    <a:pt x="184" y="15"/>
                  </a:lnTo>
                  <a:lnTo>
                    <a:pt x="195" y="9"/>
                  </a:lnTo>
                  <a:lnTo>
                    <a:pt x="206" y="5"/>
                  </a:lnTo>
                  <a:lnTo>
                    <a:pt x="215" y="3"/>
                  </a:lnTo>
                  <a:lnTo>
                    <a:pt x="222" y="1"/>
                  </a:lnTo>
                  <a:lnTo>
                    <a:pt x="230" y="0"/>
                  </a:lnTo>
                  <a:lnTo>
                    <a:pt x="238" y="0"/>
                  </a:lnTo>
                  <a:lnTo>
                    <a:pt x="246" y="0"/>
                  </a:lnTo>
                  <a:lnTo>
                    <a:pt x="252" y="1"/>
                  </a:lnTo>
                  <a:lnTo>
                    <a:pt x="259" y="3"/>
                  </a:lnTo>
                  <a:lnTo>
                    <a:pt x="266" y="5"/>
                  </a:lnTo>
                  <a:lnTo>
                    <a:pt x="271" y="8"/>
                  </a:lnTo>
                  <a:lnTo>
                    <a:pt x="277" y="11"/>
                  </a:lnTo>
                  <a:lnTo>
                    <a:pt x="281" y="15"/>
                  </a:lnTo>
                  <a:lnTo>
                    <a:pt x="284" y="20"/>
                  </a:lnTo>
                  <a:lnTo>
                    <a:pt x="289" y="25"/>
                  </a:lnTo>
                  <a:lnTo>
                    <a:pt x="291" y="30"/>
                  </a:lnTo>
                  <a:lnTo>
                    <a:pt x="292" y="36"/>
                  </a:lnTo>
                  <a:lnTo>
                    <a:pt x="294" y="43"/>
                  </a:lnTo>
                  <a:lnTo>
                    <a:pt x="289" y="39"/>
                  </a:lnTo>
                  <a:lnTo>
                    <a:pt x="283" y="37"/>
                  </a:lnTo>
                  <a:lnTo>
                    <a:pt x="278" y="35"/>
                  </a:lnTo>
                  <a:lnTo>
                    <a:pt x="272" y="34"/>
                  </a:lnTo>
                  <a:lnTo>
                    <a:pt x="268" y="33"/>
                  </a:lnTo>
                  <a:lnTo>
                    <a:pt x="263" y="33"/>
                  </a:lnTo>
                  <a:lnTo>
                    <a:pt x="258" y="34"/>
                  </a:lnTo>
                  <a:lnTo>
                    <a:pt x="253" y="35"/>
                  </a:lnTo>
                  <a:lnTo>
                    <a:pt x="249" y="37"/>
                  </a:lnTo>
                  <a:lnTo>
                    <a:pt x="246" y="40"/>
                  </a:lnTo>
                  <a:lnTo>
                    <a:pt x="242" y="42"/>
                  </a:lnTo>
                  <a:lnTo>
                    <a:pt x="239" y="46"/>
                  </a:lnTo>
                  <a:lnTo>
                    <a:pt x="237" y="48"/>
                  </a:lnTo>
                  <a:lnTo>
                    <a:pt x="235" y="52"/>
                  </a:lnTo>
                  <a:lnTo>
                    <a:pt x="232" y="57"/>
                  </a:lnTo>
                  <a:lnTo>
                    <a:pt x="232" y="61"/>
                  </a:lnTo>
                  <a:lnTo>
                    <a:pt x="231" y="64"/>
                  </a:lnTo>
                  <a:lnTo>
                    <a:pt x="231" y="67"/>
                  </a:lnTo>
                  <a:lnTo>
                    <a:pt x="232" y="71"/>
                  </a:lnTo>
                  <a:lnTo>
                    <a:pt x="233" y="74"/>
                  </a:lnTo>
                  <a:lnTo>
                    <a:pt x="235" y="78"/>
                  </a:lnTo>
                  <a:lnTo>
                    <a:pt x="236" y="82"/>
                  </a:lnTo>
                  <a:lnTo>
                    <a:pt x="238" y="85"/>
                  </a:lnTo>
                  <a:lnTo>
                    <a:pt x="241" y="88"/>
                  </a:lnTo>
                  <a:lnTo>
                    <a:pt x="244" y="92"/>
                  </a:lnTo>
                  <a:lnTo>
                    <a:pt x="248" y="95"/>
                  </a:lnTo>
                  <a:lnTo>
                    <a:pt x="253" y="98"/>
                  </a:lnTo>
                  <a:lnTo>
                    <a:pt x="259" y="101"/>
                  </a:lnTo>
                  <a:lnTo>
                    <a:pt x="264" y="103"/>
                  </a:lnTo>
                  <a:lnTo>
                    <a:pt x="271" y="105"/>
                  </a:lnTo>
                  <a:lnTo>
                    <a:pt x="279" y="108"/>
                  </a:lnTo>
                  <a:lnTo>
                    <a:pt x="288" y="110"/>
                  </a:lnTo>
                  <a:lnTo>
                    <a:pt x="291" y="110"/>
                  </a:lnTo>
                  <a:lnTo>
                    <a:pt x="295" y="111"/>
                  </a:lnTo>
                  <a:lnTo>
                    <a:pt x="299" y="111"/>
                  </a:lnTo>
                  <a:lnTo>
                    <a:pt x="303" y="111"/>
                  </a:lnTo>
                  <a:lnTo>
                    <a:pt x="308" y="111"/>
                  </a:lnTo>
                  <a:lnTo>
                    <a:pt x="312" y="111"/>
                  </a:lnTo>
                  <a:lnTo>
                    <a:pt x="318" y="111"/>
                  </a:lnTo>
                  <a:lnTo>
                    <a:pt x="323" y="111"/>
                  </a:lnTo>
                  <a:lnTo>
                    <a:pt x="329" y="111"/>
                  </a:lnTo>
                  <a:lnTo>
                    <a:pt x="335" y="111"/>
                  </a:lnTo>
                  <a:lnTo>
                    <a:pt x="342" y="110"/>
                  </a:lnTo>
                  <a:lnTo>
                    <a:pt x="348" y="110"/>
                  </a:lnTo>
                  <a:lnTo>
                    <a:pt x="357" y="110"/>
                  </a:lnTo>
                  <a:lnTo>
                    <a:pt x="365" y="110"/>
                  </a:lnTo>
                  <a:lnTo>
                    <a:pt x="375" y="110"/>
                  </a:lnTo>
                  <a:lnTo>
                    <a:pt x="385" y="110"/>
                  </a:lnTo>
                  <a:lnTo>
                    <a:pt x="0" y="109"/>
                  </a:lnTo>
                </a:path>
              </a:pathLst>
            </a:custGeom>
            <a:solidFill>
              <a:srgbClr val="C0E7F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279" name="Freeform 132">
              <a:extLst>
                <a:ext uri="{FF2B5EF4-FFF2-40B4-BE49-F238E27FC236}">
                  <a16:creationId xmlns:a16="http://schemas.microsoft.com/office/drawing/2014/main" id="{EFB7089E-BE63-B0D2-BC58-6BA1A437334E}"/>
                </a:ext>
              </a:extLst>
            </p:cNvPr>
            <p:cNvSpPr>
              <a:spLocks/>
            </p:cNvSpPr>
            <p:nvPr/>
          </p:nvSpPr>
          <p:spPr bwMode="auto">
            <a:xfrm>
              <a:off x="3841" y="1679"/>
              <a:ext cx="365" cy="126"/>
            </a:xfrm>
            <a:custGeom>
              <a:avLst/>
              <a:gdLst>
                <a:gd name="T0" fmla="*/ 9 w 386"/>
                <a:gd name="T1" fmla="*/ 396 h 113"/>
                <a:gd name="T2" fmla="*/ 29 w 386"/>
                <a:gd name="T3" fmla="*/ 377 h 113"/>
                <a:gd name="T4" fmla="*/ 43 w 386"/>
                <a:gd name="T5" fmla="*/ 329 h 113"/>
                <a:gd name="T6" fmla="*/ 58 w 386"/>
                <a:gd name="T7" fmla="*/ 268 h 113"/>
                <a:gd name="T8" fmla="*/ 69 w 386"/>
                <a:gd name="T9" fmla="*/ 205 h 113"/>
                <a:gd name="T10" fmla="*/ 78 w 386"/>
                <a:gd name="T11" fmla="*/ 145 h 113"/>
                <a:gd name="T12" fmla="*/ 90 w 386"/>
                <a:gd name="T13" fmla="*/ 86 h 113"/>
                <a:gd name="T14" fmla="*/ 100 w 386"/>
                <a:gd name="T15" fmla="*/ 31 h 113"/>
                <a:gd name="T16" fmla="*/ 110 w 386"/>
                <a:gd name="T17" fmla="*/ 3 h 113"/>
                <a:gd name="T18" fmla="*/ 117 w 386"/>
                <a:gd name="T19" fmla="*/ 0 h 113"/>
                <a:gd name="T20" fmla="*/ 125 w 386"/>
                <a:gd name="T21" fmla="*/ 0 h 113"/>
                <a:gd name="T22" fmla="*/ 132 w 386"/>
                <a:gd name="T23" fmla="*/ 3 h 113"/>
                <a:gd name="T24" fmla="*/ 139 w 386"/>
                <a:gd name="T25" fmla="*/ 31 h 113"/>
                <a:gd name="T26" fmla="*/ 144 w 386"/>
                <a:gd name="T27" fmla="*/ 60 h 113"/>
                <a:gd name="T28" fmla="*/ 148 w 386"/>
                <a:gd name="T29" fmla="*/ 96 h 113"/>
                <a:gd name="T30" fmla="*/ 150 w 386"/>
                <a:gd name="T31" fmla="*/ 136 h 113"/>
                <a:gd name="T32" fmla="*/ 148 w 386"/>
                <a:gd name="T33" fmla="*/ 148 h 113"/>
                <a:gd name="T34" fmla="*/ 142 w 386"/>
                <a:gd name="T35" fmla="*/ 130 h 113"/>
                <a:gd name="T36" fmla="*/ 137 w 386"/>
                <a:gd name="T37" fmla="*/ 122 h 113"/>
                <a:gd name="T38" fmla="*/ 132 w 386"/>
                <a:gd name="T39" fmla="*/ 123 h 113"/>
                <a:gd name="T40" fmla="*/ 127 w 386"/>
                <a:gd name="T41" fmla="*/ 137 h 113"/>
                <a:gd name="T42" fmla="*/ 124 w 386"/>
                <a:gd name="T43" fmla="*/ 162 h 113"/>
                <a:gd name="T44" fmla="*/ 121 w 386"/>
                <a:gd name="T45" fmla="*/ 183 h 113"/>
                <a:gd name="T46" fmla="*/ 118 w 386"/>
                <a:gd name="T47" fmla="*/ 210 h 113"/>
                <a:gd name="T48" fmla="*/ 118 w 386"/>
                <a:gd name="T49" fmla="*/ 238 h 113"/>
                <a:gd name="T50" fmla="*/ 118 w 386"/>
                <a:gd name="T51" fmla="*/ 261 h 113"/>
                <a:gd name="T52" fmla="*/ 120 w 386"/>
                <a:gd name="T53" fmla="*/ 285 h 113"/>
                <a:gd name="T54" fmla="*/ 123 w 386"/>
                <a:gd name="T55" fmla="*/ 314 h 113"/>
                <a:gd name="T56" fmla="*/ 125 w 386"/>
                <a:gd name="T57" fmla="*/ 339 h 113"/>
                <a:gd name="T58" fmla="*/ 130 w 386"/>
                <a:gd name="T59" fmla="*/ 367 h 113"/>
                <a:gd name="T60" fmla="*/ 135 w 386"/>
                <a:gd name="T61" fmla="*/ 378 h 113"/>
                <a:gd name="T62" fmla="*/ 143 w 386"/>
                <a:gd name="T63" fmla="*/ 396 h 113"/>
                <a:gd name="T64" fmla="*/ 149 w 386"/>
                <a:gd name="T65" fmla="*/ 411 h 113"/>
                <a:gd name="T66" fmla="*/ 153 w 386"/>
                <a:gd name="T67" fmla="*/ 411 h 113"/>
                <a:gd name="T68" fmla="*/ 157 w 386"/>
                <a:gd name="T69" fmla="*/ 414 h 113"/>
                <a:gd name="T70" fmla="*/ 163 w 386"/>
                <a:gd name="T71" fmla="*/ 414 h 113"/>
                <a:gd name="T72" fmla="*/ 168 w 386"/>
                <a:gd name="T73" fmla="*/ 411 h 113"/>
                <a:gd name="T74" fmla="*/ 173 w 386"/>
                <a:gd name="T75" fmla="*/ 411 h 113"/>
                <a:gd name="T76" fmla="*/ 183 w 386"/>
                <a:gd name="T77" fmla="*/ 411 h 113"/>
                <a:gd name="T78" fmla="*/ 192 w 386"/>
                <a:gd name="T79" fmla="*/ 409 h 113"/>
                <a:gd name="T80" fmla="*/ 0 w 386"/>
                <a:gd name="T81" fmla="*/ 403 h 1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6"/>
                <a:gd name="T124" fmla="*/ 0 h 113"/>
                <a:gd name="T125" fmla="*/ 386 w 386"/>
                <a:gd name="T126" fmla="*/ 113 h 11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6" h="113">
                  <a:moveTo>
                    <a:pt x="0" y="109"/>
                  </a:moveTo>
                  <a:lnTo>
                    <a:pt x="21" y="108"/>
                  </a:lnTo>
                  <a:lnTo>
                    <a:pt x="40" y="105"/>
                  </a:lnTo>
                  <a:lnTo>
                    <a:pt x="58" y="102"/>
                  </a:lnTo>
                  <a:lnTo>
                    <a:pt x="73" y="96"/>
                  </a:lnTo>
                  <a:lnTo>
                    <a:pt x="86" y="89"/>
                  </a:lnTo>
                  <a:lnTo>
                    <a:pt x="100" y="82"/>
                  </a:lnTo>
                  <a:lnTo>
                    <a:pt x="112" y="73"/>
                  </a:lnTo>
                  <a:lnTo>
                    <a:pt x="123" y="65"/>
                  </a:lnTo>
                  <a:lnTo>
                    <a:pt x="134" y="56"/>
                  </a:lnTo>
                  <a:lnTo>
                    <a:pt x="144" y="47"/>
                  </a:lnTo>
                  <a:lnTo>
                    <a:pt x="154" y="39"/>
                  </a:lnTo>
                  <a:lnTo>
                    <a:pt x="164" y="30"/>
                  </a:lnTo>
                  <a:lnTo>
                    <a:pt x="174" y="23"/>
                  </a:lnTo>
                  <a:lnTo>
                    <a:pt x="184" y="16"/>
                  </a:lnTo>
                  <a:lnTo>
                    <a:pt x="195" y="9"/>
                  </a:lnTo>
                  <a:lnTo>
                    <a:pt x="206" y="6"/>
                  </a:lnTo>
                  <a:lnTo>
                    <a:pt x="215" y="3"/>
                  </a:lnTo>
                  <a:lnTo>
                    <a:pt x="222" y="1"/>
                  </a:lnTo>
                  <a:lnTo>
                    <a:pt x="230" y="0"/>
                  </a:lnTo>
                  <a:lnTo>
                    <a:pt x="238" y="0"/>
                  </a:lnTo>
                  <a:lnTo>
                    <a:pt x="246" y="0"/>
                  </a:lnTo>
                  <a:lnTo>
                    <a:pt x="253" y="2"/>
                  </a:lnTo>
                  <a:lnTo>
                    <a:pt x="260" y="3"/>
                  </a:lnTo>
                  <a:lnTo>
                    <a:pt x="266" y="6"/>
                  </a:lnTo>
                  <a:lnTo>
                    <a:pt x="271" y="9"/>
                  </a:lnTo>
                  <a:lnTo>
                    <a:pt x="277" y="11"/>
                  </a:lnTo>
                  <a:lnTo>
                    <a:pt x="281" y="16"/>
                  </a:lnTo>
                  <a:lnTo>
                    <a:pt x="285" y="20"/>
                  </a:lnTo>
                  <a:lnTo>
                    <a:pt x="289" y="26"/>
                  </a:lnTo>
                  <a:lnTo>
                    <a:pt x="291" y="31"/>
                  </a:lnTo>
                  <a:lnTo>
                    <a:pt x="293" y="37"/>
                  </a:lnTo>
                  <a:lnTo>
                    <a:pt x="294" y="44"/>
                  </a:lnTo>
                  <a:lnTo>
                    <a:pt x="289" y="40"/>
                  </a:lnTo>
                  <a:lnTo>
                    <a:pt x="283" y="37"/>
                  </a:lnTo>
                  <a:lnTo>
                    <a:pt x="278" y="35"/>
                  </a:lnTo>
                  <a:lnTo>
                    <a:pt x="273" y="34"/>
                  </a:lnTo>
                  <a:lnTo>
                    <a:pt x="268" y="33"/>
                  </a:lnTo>
                  <a:lnTo>
                    <a:pt x="263" y="34"/>
                  </a:lnTo>
                  <a:lnTo>
                    <a:pt x="258" y="34"/>
                  </a:lnTo>
                  <a:lnTo>
                    <a:pt x="253" y="36"/>
                  </a:lnTo>
                  <a:lnTo>
                    <a:pt x="249" y="38"/>
                  </a:lnTo>
                  <a:lnTo>
                    <a:pt x="246" y="40"/>
                  </a:lnTo>
                  <a:lnTo>
                    <a:pt x="242" y="43"/>
                  </a:lnTo>
                  <a:lnTo>
                    <a:pt x="239" y="46"/>
                  </a:lnTo>
                  <a:lnTo>
                    <a:pt x="237" y="49"/>
                  </a:lnTo>
                  <a:lnTo>
                    <a:pt x="235" y="53"/>
                  </a:lnTo>
                  <a:lnTo>
                    <a:pt x="233" y="57"/>
                  </a:lnTo>
                  <a:lnTo>
                    <a:pt x="232" y="61"/>
                  </a:lnTo>
                  <a:lnTo>
                    <a:pt x="232" y="65"/>
                  </a:lnTo>
                  <a:lnTo>
                    <a:pt x="232" y="67"/>
                  </a:lnTo>
                  <a:lnTo>
                    <a:pt x="232" y="71"/>
                  </a:lnTo>
                  <a:lnTo>
                    <a:pt x="233" y="75"/>
                  </a:lnTo>
                  <a:lnTo>
                    <a:pt x="235" y="78"/>
                  </a:lnTo>
                  <a:lnTo>
                    <a:pt x="237" y="82"/>
                  </a:lnTo>
                  <a:lnTo>
                    <a:pt x="239" y="85"/>
                  </a:lnTo>
                  <a:lnTo>
                    <a:pt x="241" y="89"/>
                  </a:lnTo>
                  <a:lnTo>
                    <a:pt x="244" y="92"/>
                  </a:lnTo>
                  <a:lnTo>
                    <a:pt x="249" y="95"/>
                  </a:lnTo>
                  <a:lnTo>
                    <a:pt x="253" y="99"/>
                  </a:lnTo>
                  <a:lnTo>
                    <a:pt x="259" y="102"/>
                  </a:lnTo>
                  <a:lnTo>
                    <a:pt x="264" y="103"/>
                  </a:lnTo>
                  <a:lnTo>
                    <a:pt x="271" y="106"/>
                  </a:lnTo>
                  <a:lnTo>
                    <a:pt x="279" y="108"/>
                  </a:lnTo>
                  <a:lnTo>
                    <a:pt x="288" y="110"/>
                  </a:lnTo>
                  <a:lnTo>
                    <a:pt x="292" y="111"/>
                  </a:lnTo>
                  <a:lnTo>
                    <a:pt x="295" y="111"/>
                  </a:lnTo>
                  <a:lnTo>
                    <a:pt x="299" y="111"/>
                  </a:lnTo>
                  <a:lnTo>
                    <a:pt x="303" y="112"/>
                  </a:lnTo>
                  <a:lnTo>
                    <a:pt x="308" y="112"/>
                  </a:lnTo>
                  <a:lnTo>
                    <a:pt x="313" y="112"/>
                  </a:lnTo>
                  <a:lnTo>
                    <a:pt x="318" y="112"/>
                  </a:lnTo>
                  <a:lnTo>
                    <a:pt x="323" y="111"/>
                  </a:lnTo>
                  <a:lnTo>
                    <a:pt x="329" y="111"/>
                  </a:lnTo>
                  <a:lnTo>
                    <a:pt x="335" y="111"/>
                  </a:lnTo>
                  <a:lnTo>
                    <a:pt x="342" y="111"/>
                  </a:lnTo>
                  <a:lnTo>
                    <a:pt x="350" y="111"/>
                  </a:lnTo>
                  <a:lnTo>
                    <a:pt x="357" y="111"/>
                  </a:lnTo>
                  <a:lnTo>
                    <a:pt x="366" y="110"/>
                  </a:lnTo>
                  <a:lnTo>
                    <a:pt x="375" y="110"/>
                  </a:lnTo>
                  <a:lnTo>
                    <a:pt x="385" y="110"/>
                  </a:lnTo>
                  <a:lnTo>
                    <a:pt x="0" y="109"/>
                  </a:lnTo>
                </a:path>
              </a:pathLst>
            </a:custGeom>
            <a:solidFill>
              <a:srgbClr val="C0E7F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280" name="Freeform 133">
              <a:extLst>
                <a:ext uri="{FF2B5EF4-FFF2-40B4-BE49-F238E27FC236}">
                  <a16:creationId xmlns:a16="http://schemas.microsoft.com/office/drawing/2014/main" id="{6D30231C-5753-8E56-14B3-0F925B8C7BDA}"/>
                </a:ext>
              </a:extLst>
            </p:cNvPr>
            <p:cNvSpPr>
              <a:spLocks/>
            </p:cNvSpPr>
            <p:nvPr/>
          </p:nvSpPr>
          <p:spPr bwMode="auto">
            <a:xfrm>
              <a:off x="4212" y="1680"/>
              <a:ext cx="365" cy="127"/>
            </a:xfrm>
            <a:custGeom>
              <a:avLst/>
              <a:gdLst>
                <a:gd name="T0" fmla="*/ 9 w 386"/>
                <a:gd name="T1" fmla="*/ 437 h 113"/>
                <a:gd name="T2" fmla="*/ 29 w 386"/>
                <a:gd name="T3" fmla="*/ 416 h 113"/>
                <a:gd name="T4" fmla="*/ 44 w 386"/>
                <a:gd name="T5" fmla="*/ 363 h 113"/>
                <a:gd name="T6" fmla="*/ 58 w 386"/>
                <a:gd name="T7" fmla="*/ 299 h 113"/>
                <a:gd name="T8" fmla="*/ 69 w 386"/>
                <a:gd name="T9" fmla="*/ 232 h 113"/>
                <a:gd name="T10" fmla="*/ 78 w 386"/>
                <a:gd name="T11" fmla="*/ 160 h 113"/>
                <a:gd name="T12" fmla="*/ 90 w 386"/>
                <a:gd name="T13" fmla="*/ 94 h 113"/>
                <a:gd name="T14" fmla="*/ 100 w 386"/>
                <a:gd name="T15" fmla="*/ 38 h 113"/>
                <a:gd name="T16" fmla="*/ 110 w 386"/>
                <a:gd name="T17" fmla="*/ 3 h 113"/>
                <a:gd name="T18" fmla="*/ 118 w 386"/>
                <a:gd name="T19" fmla="*/ 1 h 113"/>
                <a:gd name="T20" fmla="*/ 125 w 386"/>
                <a:gd name="T21" fmla="*/ 1 h 113"/>
                <a:gd name="T22" fmla="*/ 132 w 386"/>
                <a:gd name="T23" fmla="*/ 4 h 113"/>
                <a:gd name="T24" fmla="*/ 139 w 386"/>
                <a:gd name="T25" fmla="*/ 34 h 113"/>
                <a:gd name="T26" fmla="*/ 144 w 386"/>
                <a:gd name="T27" fmla="*/ 62 h 113"/>
                <a:gd name="T28" fmla="*/ 148 w 386"/>
                <a:gd name="T29" fmla="*/ 106 h 113"/>
                <a:gd name="T30" fmla="*/ 150 w 386"/>
                <a:gd name="T31" fmla="*/ 151 h 113"/>
                <a:gd name="T32" fmla="*/ 148 w 386"/>
                <a:gd name="T33" fmla="*/ 163 h 113"/>
                <a:gd name="T34" fmla="*/ 143 w 386"/>
                <a:gd name="T35" fmla="*/ 142 h 113"/>
                <a:gd name="T36" fmla="*/ 137 w 386"/>
                <a:gd name="T37" fmla="*/ 140 h 113"/>
                <a:gd name="T38" fmla="*/ 132 w 386"/>
                <a:gd name="T39" fmla="*/ 142 h 113"/>
                <a:gd name="T40" fmla="*/ 127 w 386"/>
                <a:gd name="T41" fmla="*/ 157 h 113"/>
                <a:gd name="T42" fmla="*/ 124 w 386"/>
                <a:gd name="T43" fmla="*/ 176 h 113"/>
                <a:gd name="T44" fmla="*/ 121 w 386"/>
                <a:gd name="T45" fmla="*/ 202 h 113"/>
                <a:gd name="T46" fmla="*/ 118 w 386"/>
                <a:gd name="T47" fmla="*/ 232 h 113"/>
                <a:gd name="T48" fmla="*/ 118 w 386"/>
                <a:gd name="T49" fmla="*/ 262 h 113"/>
                <a:gd name="T50" fmla="*/ 118 w 386"/>
                <a:gd name="T51" fmla="*/ 290 h 113"/>
                <a:gd name="T52" fmla="*/ 120 w 386"/>
                <a:gd name="T53" fmla="*/ 323 h 113"/>
                <a:gd name="T54" fmla="*/ 122 w 386"/>
                <a:gd name="T55" fmla="*/ 346 h 113"/>
                <a:gd name="T56" fmla="*/ 125 w 386"/>
                <a:gd name="T57" fmla="*/ 378 h 113"/>
                <a:gd name="T58" fmla="*/ 130 w 386"/>
                <a:gd name="T59" fmla="*/ 400 h 113"/>
                <a:gd name="T60" fmla="*/ 135 w 386"/>
                <a:gd name="T61" fmla="*/ 420 h 113"/>
                <a:gd name="T62" fmla="*/ 143 w 386"/>
                <a:gd name="T63" fmla="*/ 443 h 113"/>
                <a:gd name="T64" fmla="*/ 149 w 386"/>
                <a:gd name="T65" fmla="*/ 450 h 113"/>
                <a:gd name="T66" fmla="*/ 154 w 386"/>
                <a:gd name="T67" fmla="*/ 459 h 113"/>
                <a:gd name="T68" fmla="*/ 157 w 386"/>
                <a:gd name="T69" fmla="*/ 459 h 113"/>
                <a:gd name="T70" fmla="*/ 163 w 386"/>
                <a:gd name="T71" fmla="*/ 459 h 113"/>
                <a:gd name="T72" fmla="*/ 168 w 386"/>
                <a:gd name="T73" fmla="*/ 459 h 113"/>
                <a:gd name="T74" fmla="*/ 173 w 386"/>
                <a:gd name="T75" fmla="*/ 450 h 113"/>
                <a:gd name="T76" fmla="*/ 183 w 386"/>
                <a:gd name="T77" fmla="*/ 450 h 113"/>
                <a:gd name="T78" fmla="*/ 192 w 386"/>
                <a:gd name="T79" fmla="*/ 450 h 113"/>
                <a:gd name="T80" fmla="*/ 0 w 386"/>
                <a:gd name="T81" fmla="*/ 443 h 1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6"/>
                <a:gd name="T124" fmla="*/ 0 h 113"/>
                <a:gd name="T125" fmla="*/ 386 w 386"/>
                <a:gd name="T126" fmla="*/ 113 h 11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6" h="113">
                  <a:moveTo>
                    <a:pt x="0" y="109"/>
                  </a:moveTo>
                  <a:lnTo>
                    <a:pt x="21" y="108"/>
                  </a:lnTo>
                  <a:lnTo>
                    <a:pt x="40" y="105"/>
                  </a:lnTo>
                  <a:lnTo>
                    <a:pt x="58" y="102"/>
                  </a:lnTo>
                  <a:lnTo>
                    <a:pt x="73" y="96"/>
                  </a:lnTo>
                  <a:lnTo>
                    <a:pt x="87" y="89"/>
                  </a:lnTo>
                  <a:lnTo>
                    <a:pt x="101" y="82"/>
                  </a:lnTo>
                  <a:lnTo>
                    <a:pt x="112" y="74"/>
                  </a:lnTo>
                  <a:lnTo>
                    <a:pt x="123" y="65"/>
                  </a:lnTo>
                  <a:lnTo>
                    <a:pt x="134" y="57"/>
                  </a:lnTo>
                  <a:lnTo>
                    <a:pt x="144" y="47"/>
                  </a:lnTo>
                  <a:lnTo>
                    <a:pt x="154" y="39"/>
                  </a:lnTo>
                  <a:lnTo>
                    <a:pt x="164" y="30"/>
                  </a:lnTo>
                  <a:lnTo>
                    <a:pt x="174" y="23"/>
                  </a:lnTo>
                  <a:lnTo>
                    <a:pt x="184" y="16"/>
                  </a:lnTo>
                  <a:lnTo>
                    <a:pt x="195" y="10"/>
                  </a:lnTo>
                  <a:lnTo>
                    <a:pt x="206" y="6"/>
                  </a:lnTo>
                  <a:lnTo>
                    <a:pt x="215" y="3"/>
                  </a:lnTo>
                  <a:lnTo>
                    <a:pt x="222" y="2"/>
                  </a:lnTo>
                  <a:lnTo>
                    <a:pt x="231" y="1"/>
                  </a:lnTo>
                  <a:lnTo>
                    <a:pt x="238" y="0"/>
                  </a:lnTo>
                  <a:lnTo>
                    <a:pt x="246" y="1"/>
                  </a:lnTo>
                  <a:lnTo>
                    <a:pt x="253" y="2"/>
                  </a:lnTo>
                  <a:lnTo>
                    <a:pt x="260" y="4"/>
                  </a:lnTo>
                  <a:lnTo>
                    <a:pt x="266" y="6"/>
                  </a:lnTo>
                  <a:lnTo>
                    <a:pt x="271" y="9"/>
                  </a:lnTo>
                  <a:lnTo>
                    <a:pt x="277" y="12"/>
                  </a:lnTo>
                  <a:lnTo>
                    <a:pt x="281" y="16"/>
                  </a:lnTo>
                  <a:lnTo>
                    <a:pt x="285" y="21"/>
                  </a:lnTo>
                  <a:lnTo>
                    <a:pt x="289" y="26"/>
                  </a:lnTo>
                  <a:lnTo>
                    <a:pt x="291" y="31"/>
                  </a:lnTo>
                  <a:lnTo>
                    <a:pt x="293" y="37"/>
                  </a:lnTo>
                  <a:lnTo>
                    <a:pt x="294" y="44"/>
                  </a:lnTo>
                  <a:lnTo>
                    <a:pt x="289" y="40"/>
                  </a:lnTo>
                  <a:lnTo>
                    <a:pt x="283" y="37"/>
                  </a:lnTo>
                  <a:lnTo>
                    <a:pt x="279" y="35"/>
                  </a:lnTo>
                  <a:lnTo>
                    <a:pt x="273" y="34"/>
                  </a:lnTo>
                  <a:lnTo>
                    <a:pt x="268" y="34"/>
                  </a:lnTo>
                  <a:lnTo>
                    <a:pt x="263" y="34"/>
                  </a:lnTo>
                  <a:lnTo>
                    <a:pt x="258" y="35"/>
                  </a:lnTo>
                  <a:lnTo>
                    <a:pt x="253" y="36"/>
                  </a:lnTo>
                  <a:lnTo>
                    <a:pt x="249" y="38"/>
                  </a:lnTo>
                  <a:lnTo>
                    <a:pt x="246" y="40"/>
                  </a:lnTo>
                  <a:lnTo>
                    <a:pt x="242" y="43"/>
                  </a:lnTo>
                  <a:lnTo>
                    <a:pt x="239" y="47"/>
                  </a:lnTo>
                  <a:lnTo>
                    <a:pt x="237" y="49"/>
                  </a:lnTo>
                  <a:lnTo>
                    <a:pt x="235" y="53"/>
                  </a:lnTo>
                  <a:lnTo>
                    <a:pt x="232" y="57"/>
                  </a:lnTo>
                  <a:lnTo>
                    <a:pt x="232" y="62"/>
                  </a:lnTo>
                  <a:lnTo>
                    <a:pt x="232" y="65"/>
                  </a:lnTo>
                  <a:lnTo>
                    <a:pt x="232" y="68"/>
                  </a:lnTo>
                  <a:lnTo>
                    <a:pt x="232" y="71"/>
                  </a:lnTo>
                  <a:lnTo>
                    <a:pt x="233" y="75"/>
                  </a:lnTo>
                  <a:lnTo>
                    <a:pt x="235" y="79"/>
                  </a:lnTo>
                  <a:lnTo>
                    <a:pt x="236" y="83"/>
                  </a:lnTo>
                  <a:lnTo>
                    <a:pt x="238" y="85"/>
                  </a:lnTo>
                  <a:lnTo>
                    <a:pt x="241" y="89"/>
                  </a:lnTo>
                  <a:lnTo>
                    <a:pt x="244" y="93"/>
                  </a:lnTo>
                  <a:lnTo>
                    <a:pt x="249" y="96"/>
                  </a:lnTo>
                  <a:lnTo>
                    <a:pt x="253" y="99"/>
                  </a:lnTo>
                  <a:lnTo>
                    <a:pt x="259" y="102"/>
                  </a:lnTo>
                  <a:lnTo>
                    <a:pt x="264" y="104"/>
                  </a:lnTo>
                  <a:lnTo>
                    <a:pt x="271" y="106"/>
                  </a:lnTo>
                  <a:lnTo>
                    <a:pt x="280" y="109"/>
                  </a:lnTo>
                  <a:lnTo>
                    <a:pt x="288" y="111"/>
                  </a:lnTo>
                  <a:lnTo>
                    <a:pt x="292" y="111"/>
                  </a:lnTo>
                  <a:lnTo>
                    <a:pt x="295" y="112"/>
                  </a:lnTo>
                  <a:lnTo>
                    <a:pt x="300" y="112"/>
                  </a:lnTo>
                  <a:lnTo>
                    <a:pt x="304" y="112"/>
                  </a:lnTo>
                  <a:lnTo>
                    <a:pt x="308" y="112"/>
                  </a:lnTo>
                  <a:lnTo>
                    <a:pt x="313" y="112"/>
                  </a:lnTo>
                  <a:lnTo>
                    <a:pt x="318" y="112"/>
                  </a:lnTo>
                  <a:lnTo>
                    <a:pt x="323" y="112"/>
                  </a:lnTo>
                  <a:lnTo>
                    <a:pt x="329" y="112"/>
                  </a:lnTo>
                  <a:lnTo>
                    <a:pt x="335" y="112"/>
                  </a:lnTo>
                  <a:lnTo>
                    <a:pt x="342" y="111"/>
                  </a:lnTo>
                  <a:lnTo>
                    <a:pt x="350" y="111"/>
                  </a:lnTo>
                  <a:lnTo>
                    <a:pt x="357" y="111"/>
                  </a:lnTo>
                  <a:lnTo>
                    <a:pt x="366" y="111"/>
                  </a:lnTo>
                  <a:lnTo>
                    <a:pt x="375" y="111"/>
                  </a:lnTo>
                  <a:lnTo>
                    <a:pt x="385" y="111"/>
                  </a:lnTo>
                  <a:lnTo>
                    <a:pt x="0" y="109"/>
                  </a:lnTo>
                </a:path>
              </a:pathLst>
            </a:custGeom>
            <a:solidFill>
              <a:srgbClr val="C0E7F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281" name="Freeform 134">
              <a:extLst>
                <a:ext uri="{FF2B5EF4-FFF2-40B4-BE49-F238E27FC236}">
                  <a16:creationId xmlns:a16="http://schemas.microsoft.com/office/drawing/2014/main" id="{7495DC00-0DB3-E09C-93EB-853ACD27BEBE}"/>
                </a:ext>
              </a:extLst>
            </p:cNvPr>
            <p:cNvSpPr>
              <a:spLocks/>
            </p:cNvSpPr>
            <p:nvPr/>
          </p:nvSpPr>
          <p:spPr bwMode="auto">
            <a:xfrm>
              <a:off x="4582" y="1683"/>
              <a:ext cx="367" cy="126"/>
            </a:xfrm>
            <a:custGeom>
              <a:avLst/>
              <a:gdLst>
                <a:gd name="T0" fmla="*/ 9 w 387"/>
                <a:gd name="T1" fmla="*/ 396 h 113"/>
                <a:gd name="T2" fmla="*/ 30 w 387"/>
                <a:gd name="T3" fmla="*/ 374 h 113"/>
                <a:gd name="T4" fmla="*/ 46 w 387"/>
                <a:gd name="T5" fmla="*/ 329 h 113"/>
                <a:gd name="T6" fmla="*/ 60 w 387"/>
                <a:gd name="T7" fmla="*/ 268 h 113"/>
                <a:gd name="T8" fmla="*/ 71 w 387"/>
                <a:gd name="T9" fmla="*/ 205 h 113"/>
                <a:gd name="T10" fmla="*/ 82 w 387"/>
                <a:gd name="T11" fmla="*/ 137 h 113"/>
                <a:gd name="T12" fmla="*/ 91 w 387"/>
                <a:gd name="T13" fmla="*/ 86 h 113"/>
                <a:gd name="T14" fmla="*/ 102 w 387"/>
                <a:gd name="T15" fmla="*/ 31 h 113"/>
                <a:gd name="T16" fmla="*/ 113 w 387"/>
                <a:gd name="T17" fmla="*/ 3 h 113"/>
                <a:gd name="T18" fmla="*/ 122 w 387"/>
                <a:gd name="T19" fmla="*/ 0 h 113"/>
                <a:gd name="T20" fmla="*/ 131 w 387"/>
                <a:gd name="T21" fmla="*/ 0 h 113"/>
                <a:gd name="T22" fmla="*/ 138 w 387"/>
                <a:gd name="T23" fmla="*/ 3 h 113"/>
                <a:gd name="T24" fmla="*/ 144 w 387"/>
                <a:gd name="T25" fmla="*/ 31 h 113"/>
                <a:gd name="T26" fmla="*/ 148 w 387"/>
                <a:gd name="T27" fmla="*/ 56 h 113"/>
                <a:gd name="T28" fmla="*/ 154 w 387"/>
                <a:gd name="T29" fmla="*/ 96 h 113"/>
                <a:gd name="T30" fmla="*/ 156 w 387"/>
                <a:gd name="T31" fmla="*/ 133 h 113"/>
                <a:gd name="T32" fmla="*/ 154 w 387"/>
                <a:gd name="T33" fmla="*/ 148 h 113"/>
                <a:gd name="T34" fmla="*/ 148 w 387"/>
                <a:gd name="T35" fmla="*/ 130 h 113"/>
                <a:gd name="T36" fmla="*/ 141 w 387"/>
                <a:gd name="T37" fmla="*/ 122 h 113"/>
                <a:gd name="T38" fmla="*/ 138 w 387"/>
                <a:gd name="T39" fmla="*/ 123 h 113"/>
                <a:gd name="T40" fmla="*/ 133 w 387"/>
                <a:gd name="T41" fmla="*/ 137 h 113"/>
                <a:gd name="T42" fmla="*/ 127 w 387"/>
                <a:gd name="T43" fmla="*/ 162 h 113"/>
                <a:gd name="T44" fmla="*/ 126 w 387"/>
                <a:gd name="T45" fmla="*/ 183 h 113"/>
                <a:gd name="T46" fmla="*/ 124 w 387"/>
                <a:gd name="T47" fmla="*/ 210 h 113"/>
                <a:gd name="T48" fmla="*/ 123 w 387"/>
                <a:gd name="T49" fmla="*/ 238 h 113"/>
                <a:gd name="T50" fmla="*/ 123 w 387"/>
                <a:gd name="T51" fmla="*/ 261 h 113"/>
                <a:gd name="T52" fmla="*/ 124 w 387"/>
                <a:gd name="T53" fmla="*/ 291 h 113"/>
                <a:gd name="T54" fmla="*/ 126 w 387"/>
                <a:gd name="T55" fmla="*/ 314 h 113"/>
                <a:gd name="T56" fmla="*/ 129 w 387"/>
                <a:gd name="T57" fmla="*/ 339 h 113"/>
                <a:gd name="T58" fmla="*/ 133 w 387"/>
                <a:gd name="T59" fmla="*/ 361 h 113"/>
                <a:gd name="T60" fmla="*/ 140 w 387"/>
                <a:gd name="T61" fmla="*/ 378 h 113"/>
                <a:gd name="T62" fmla="*/ 148 w 387"/>
                <a:gd name="T63" fmla="*/ 396 h 113"/>
                <a:gd name="T64" fmla="*/ 155 w 387"/>
                <a:gd name="T65" fmla="*/ 411 h 113"/>
                <a:gd name="T66" fmla="*/ 157 w 387"/>
                <a:gd name="T67" fmla="*/ 411 h 113"/>
                <a:gd name="T68" fmla="*/ 164 w 387"/>
                <a:gd name="T69" fmla="*/ 414 h 113"/>
                <a:gd name="T70" fmla="*/ 167 w 387"/>
                <a:gd name="T71" fmla="*/ 411 h 113"/>
                <a:gd name="T72" fmla="*/ 174 w 387"/>
                <a:gd name="T73" fmla="*/ 411 h 113"/>
                <a:gd name="T74" fmla="*/ 180 w 387"/>
                <a:gd name="T75" fmla="*/ 411 h 113"/>
                <a:gd name="T76" fmla="*/ 189 w 387"/>
                <a:gd name="T77" fmla="*/ 409 h 113"/>
                <a:gd name="T78" fmla="*/ 199 w 387"/>
                <a:gd name="T79" fmla="*/ 409 h 113"/>
                <a:gd name="T80" fmla="*/ 0 w 387"/>
                <a:gd name="T81" fmla="*/ 403 h 1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7"/>
                <a:gd name="T124" fmla="*/ 0 h 113"/>
                <a:gd name="T125" fmla="*/ 387 w 387"/>
                <a:gd name="T126" fmla="*/ 113 h 11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7" h="113">
                  <a:moveTo>
                    <a:pt x="0" y="109"/>
                  </a:moveTo>
                  <a:lnTo>
                    <a:pt x="21" y="108"/>
                  </a:lnTo>
                  <a:lnTo>
                    <a:pt x="40" y="105"/>
                  </a:lnTo>
                  <a:lnTo>
                    <a:pt x="58" y="101"/>
                  </a:lnTo>
                  <a:lnTo>
                    <a:pt x="73" y="96"/>
                  </a:lnTo>
                  <a:lnTo>
                    <a:pt x="87" y="89"/>
                  </a:lnTo>
                  <a:lnTo>
                    <a:pt x="101" y="82"/>
                  </a:lnTo>
                  <a:lnTo>
                    <a:pt x="112" y="73"/>
                  </a:lnTo>
                  <a:lnTo>
                    <a:pt x="124" y="65"/>
                  </a:lnTo>
                  <a:lnTo>
                    <a:pt x="134" y="56"/>
                  </a:lnTo>
                  <a:lnTo>
                    <a:pt x="144" y="47"/>
                  </a:lnTo>
                  <a:lnTo>
                    <a:pt x="154" y="38"/>
                  </a:lnTo>
                  <a:lnTo>
                    <a:pt x="164" y="30"/>
                  </a:lnTo>
                  <a:lnTo>
                    <a:pt x="174" y="23"/>
                  </a:lnTo>
                  <a:lnTo>
                    <a:pt x="184" y="15"/>
                  </a:lnTo>
                  <a:lnTo>
                    <a:pt x="195" y="9"/>
                  </a:lnTo>
                  <a:lnTo>
                    <a:pt x="207" y="5"/>
                  </a:lnTo>
                  <a:lnTo>
                    <a:pt x="215" y="3"/>
                  </a:lnTo>
                  <a:lnTo>
                    <a:pt x="222" y="1"/>
                  </a:lnTo>
                  <a:lnTo>
                    <a:pt x="231" y="0"/>
                  </a:lnTo>
                  <a:lnTo>
                    <a:pt x="239" y="0"/>
                  </a:lnTo>
                  <a:lnTo>
                    <a:pt x="247" y="0"/>
                  </a:lnTo>
                  <a:lnTo>
                    <a:pt x="253" y="1"/>
                  </a:lnTo>
                  <a:lnTo>
                    <a:pt x="260" y="3"/>
                  </a:lnTo>
                  <a:lnTo>
                    <a:pt x="267" y="5"/>
                  </a:lnTo>
                  <a:lnTo>
                    <a:pt x="272" y="9"/>
                  </a:lnTo>
                  <a:lnTo>
                    <a:pt x="277" y="11"/>
                  </a:lnTo>
                  <a:lnTo>
                    <a:pt x="281" y="15"/>
                  </a:lnTo>
                  <a:lnTo>
                    <a:pt x="285" y="20"/>
                  </a:lnTo>
                  <a:lnTo>
                    <a:pt x="289" y="26"/>
                  </a:lnTo>
                  <a:lnTo>
                    <a:pt x="291" y="30"/>
                  </a:lnTo>
                  <a:lnTo>
                    <a:pt x="293" y="36"/>
                  </a:lnTo>
                  <a:lnTo>
                    <a:pt x="294" y="43"/>
                  </a:lnTo>
                  <a:lnTo>
                    <a:pt x="289" y="40"/>
                  </a:lnTo>
                  <a:lnTo>
                    <a:pt x="283" y="37"/>
                  </a:lnTo>
                  <a:lnTo>
                    <a:pt x="279" y="35"/>
                  </a:lnTo>
                  <a:lnTo>
                    <a:pt x="273" y="34"/>
                  </a:lnTo>
                  <a:lnTo>
                    <a:pt x="268" y="33"/>
                  </a:lnTo>
                  <a:lnTo>
                    <a:pt x="263" y="33"/>
                  </a:lnTo>
                  <a:lnTo>
                    <a:pt x="259" y="34"/>
                  </a:lnTo>
                  <a:lnTo>
                    <a:pt x="254" y="36"/>
                  </a:lnTo>
                  <a:lnTo>
                    <a:pt x="250" y="38"/>
                  </a:lnTo>
                  <a:lnTo>
                    <a:pt x="246" y="40"/>
                  </a:lnTo>
                  <a:lnTo>
                    <a:pt x="242" y="43"/>
                  </a:lnTo>
                  <a:lnTo>
                    <a:pt x="239" y="46"/>
                  </a:lnTo>
                  <a:lnTo>
                    <a:pt x="237" y="49"/>
                  </a:lnTo>
                  <a:lnTo>
                    <a:pt x="234" y="53"/>
                  </a:lnTo>
                  <a:lnTo>
                    <a:pt x="233" y="57"/>
                  </a:lnTo>
                  <a:lnTo>
                    <a:pt x="232" y="62"/>
                  </a:lnTo>
                  <a:lnTo>
                    <a:pt x="232" y="65"/>
                  </a:lnTo>
                  <a:lnTo>
                    <a:pt x="232" y="67"/>
                  </a:lnTo>
                  <a:lnTo>
                    <a:pt x="232" y="71"/>
                  </a:lnTo>
                  <a:lnTo>
                    <a:pt x="233" y="75"/>
                  </a:lnTo>
                  <a:lnTo>
                    <a:pt x="234" y="79"/>
                  </a:lnTo>
                  <a:lnTo>
                    <a:pt x="237" y="82"/>
                  </a:lnTo>
                  <a:lnTo>
                    <a:pt x="239" y="85"/>
                  </a:lnTo>
                  <a:lnTo>
                    <a:pt x="241" y="88"/>
                  </a:lnTo>
                  <a:lnTo>
                    <a:pt x="244" y="92"/>
                  </a:lnTo>
                  <a:lnTo>
                    <a:pt x="249" y="95"/>
                  </a:lnTo>
                  <a:lnTo>
                    <a:pt x="253" y="98"/>
                  </a:lnTo>
                  <a:lnTo>
                    <a:pt x="259" y="101"/>
                  </a:lnTo>
                  <a:lnTo>
                    <a:pt x="265" y="103"/>
                  </a:lnTo>
                  <a:lnTo>
                    <a:pt x="272" y="106"/>
                  </a:lnTo>
                  <a:lnTo>
                    <a:pt x="280" y="108"/>
                  </a:lnTo>
                  <a:lnTo>
                    <a:pt x="289" y="110"/>
                  </a:lnTo>
                  <a:lnTo>
                    <a:pt x="292" y="111"/>
                  </a:lnTo>
                  <a:lnTo>
                    <a:pt x="295" y="111"/>
                  </a:lnTo>
                  <a:lnTo>
                    <a:pt x="300" y="111"/>
                  </a:lnTo>
                  <a:lnTo>
                    <a:pt x="303" y="111"/>
                  </a:lnTo>
                  <a:lnTo>
                    <a:pt x="309" y="112"/>
                  </a:lnTo>
                  <a:lnTo>
                    <a:pt x="313" y="112"/>
                  </a:lnTo>
                  <a:lnTo>
                    <a:pt x="317" y="111"/>
                  </a:lnTo>
                  <a:lnTo>
                    <a:pt x="323" y="111"/>
                  </a:lnTo>
                  <a:lnTo>
                    <a:pt x="328" y="111"/>
                  </a:lnTo>
                  <a:lnTo>
                    <a:pt x="335" y="111"/>
                  </a:lnTo>
                  <a:lnTo>
                    <a:pt x="342" y="111"/>
                  </a:lnTo>
                  <a:lnTo>
                    <a:pt x="350" y="110"/>
                  </a:lnTo>
                  <a:lnTo>
                    <a:pt x="357" y="110"/>
                  </a:lnTo>
                  <a:lnTo>
                    <a:pt x="366" y="110"/>
                  </a:lnTo>
                  <a:lnTo>
                    <a:pt x="375" y="110"/>
                  </a:lnTo>
                  <a:lnTo>
                    <a:pt x="386" y="110"/>
                  </a:lnTo>
                  <a:lnTo>
                    <a:pt x="0" y="109"/>
                  </a:lnTo>
                </a:path>
              </a:pathLst>
            </a:custGeom>
            <a:solidFill>
              <a:srgbClr val="C0E7F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282" name="Freeform 135">
              <a:extLst>
                <a:ext uri="{FF2B5EF4-FFF2-40B4-BE49-F238E27FC236}">
                  <a16:creationId xmlns:a16="http://schemas.microsoft.com/office/drawing/2014/main" id="{D6543C9E-2609-F098-0196-E33AB6598D5D}"/>
                </a:ext>
              </a:extLst>
            </p:cNvPr>
            <p:cNvSpPr>
              <a:spLocks/>
            </p:cNvSpPr>
            <p:nvPr/>
          </p:nvSpPr>
          <p:spPr bwMode="auto">
            <a:xfrm>
              <a:off x="505" y="1665"/>
              <a:ext cx="1849" cy="133"/>
            </a:xfrm>
            <a:custGeom>
              <a:avLst/>
              <a:gdLst>
                <a:gd name="T0" fmla="*/ 985 w 1953"/>
                <a:gd name="T1" fmla="*/ 443 h 119"/>
                <a:gd name="T2" fmla="*/ 967 w 1953"/>
                <a:gd name="T3" fmla="*/ 443 h 119"/>
                <a:gd name="T4" fmla="*/ 946 w 1953"/>
                <a:gd name="T5" fmla="*/ 412 h 119"/>
                <a:gd name="T6" fmla="*/ 933 w 1953"/>
                <a:gd name="T7" fmla="*/ 321 h 119"/>
                <a:gd name="T8" fmla="*/ 933 w 1953"/>
                <a:gd name="T9" fmla="*/ 226 h 119"/>
                <a:gd name="T10" fmla="*/ 946 w 1953"/>
                <a:gd name="T11" fmla="*/ 151 h 119"/>
                <a:gd name="T12" fmla="*/ 965 w 1953"/>
                <a:gd name="T13" fmla="*/ 184 h 119"/>
                <a:gd name="T14" fmla="*/ 951 w 1953"/>
                <a:gd name="T15" fmla="*/ 55 h 119"/>
                <a:gd name="T16" fmla="*/ 928 w 1953"/>
                <a:gd name="T17" fmla="*/ 26 h 119"/>
                <a:gd name="T18" fmla="*/ 890 w 1953"/>
                <a:gd name="T19" fmla="*/ 169 h 119"/>
                <a:gd name="T20" fmla="*/ 849 w 1953"/>
                <a:gd name="T21" fmla="*/ 387 h 119"/>
                <a:gd name="T22" fmla="*/ 794 w 1953"/>
                <a:gd name="T23" fmla="*/ 438 h 119"/>
                <a:gd name="T24" fmla="*/ 773 w 1953"/>
                <a:gd name="T25" fmla="*/ 441 h 119"/>
                <a:gd name="T26" fmla="*/ 755 w 1953"/>
                <a:gd name="T27" fmla="*/ 429 h 119"/>
                <a:gd name="T28" fmla="*/ 734 w 1953"/>
                <a:gd name="T29" fmla="*/ 353 h 119"/>
                <a:gd name="T30" fmla="*/ 729 w 1953"/>
                <a:gd name="T31" fmla="*/ 263 h 119"/>
                <a:gd name="T32" fmla="*/ 736 w 1953"/>
                <a:gd name="T33" fmla="*/ 165 h 119"/>
                <a:gd name="T34" fmla="*/ 754 w 1953"/>
                <a:gd name="T35" fmla="*/ 148 h 119"/>
                <a:gd name="T36" fmla="*/ 756 w 1953"/>
                <a:gd name="T37" fmla="*/ 95 h 119"/>
                <a:gd name="T38" fmla="*/ 736 w 1953"/>
                <a:gd name="T39" fmla="*/ 21 h 119"/>
                <a:gd name="T40" fmla="*/ 704 w 1953"/>
                <a:gd name="T41" fmla="*/ 76 h 119"/>
                <a:gd name="T42" fmla="*/ 667 w 1953"/>
                <a:gd name="T43" fmla="*/ 295 h 119"/>
                <a:gd name="T44" fmla="*/ 608 w 1953"/>
                <a:gd name="T45" fmla="*/ 429 h 119"/>
                <a:gd name="T46" fmla="*/ 578 w 1953"/>
                <a:gd name="T47" fmla="*/ 433 h 119"/>
                <a:gd name="T48" fmla="*/ 560 w 1953"/>
                <a:gd name="T49" fmla="*/ 433 h 119"/>
                <a:gd name="T50" fmla="*/ 537 w 1953"/>
                <a:gd name="T51" fmla="*/ 387 h 119"/>
                <a:gd name="T52" fmla="*/ 527 w 1953"/>
                <a:gd name="T53" fmla="*/ 295 h 119"/>
                <a:gd name="T54" fmla="*/ 530 w 1953"/>
                <a:gd name="T55" fmla="*/ 201 h 119"/>
                <a:gd name="T56" fmla="*/ 543 w 1953"/>
                <a:gd name="T57" fmla="*/ 139 h 119"/>
                <a:gd name="T58" fmla="*/ 560 w 1953"/>
                <a:gd name="T59" fmla="*/ 151 h 119"/>
                <a:gd name="T60" fmla="*/ 545 w 1953"/>
                <a:gd name="T61" fmla="*/ 32 h 119"/>
                <a:gd name="T62" fmla="*/ 518 w 1953"/>
                <a:gd name="T63" fmla="*/ 23 h 119"/>
                <a:gd name="T64" fmla="*/ 480 w 1953"/>
                <a:gd name="T65" fmla="*/ 189 h 119"/>
                <a:gd name="T66" fmla="*/ 436 w 1953"/>
                <a:gd name="T67" fmla="*/ 396 h 119"/>
                <a:gd name="T68" fmla="*/ 385 w 1953"/>
                <a:gd name="T69" fmla="*/ 425 h 119"/>
                <a:gd name="T70" fmla="*/ 364 w 1953"/>
                <a:gd name="T71" fmla="*/ 433 h 119"/>
                <a:gd name="T72" fmla="*/ 345 w 1953"/>
                <a:gd name="T73" fmla="*/ 412 h 119"/>
                <a:gd name="T74" fmla="*/ 327 w 1953"/>
                <a:gd name="T75" fmla="*/ 332 h 119"/>
                <a:gd name="T76" fmla="*/ 325 w 1953"/>
                <a:gd name="T77" fmla="*/ 236 h 119"/>
                <a:gd name="T78" fmla="*/ 333 w 1953"/>
                <a:gd name="T79" fmla="*/ 148 h 119"/>
                <a:gd name="T80" fmla="*/ 351 w 1953"/>
                <a:gd name="T81" fmla="*/ 148 h 119"/>
                <a:gd name="T82" fmla="*/ 350 w 1953"/>
                <a:gd name="T83" fmla="*/ 63 h 119"/>
                <a:gd name="T84" fmla="*/ 327 w 1953"/>
                <a:gd name="T85" fmla="*/ 2 h 119"/>
                <a:gd name="T86" fmla="*/ 293 w 1953"/>
                <a:gd name="T87" fmla="*/ 95 h 119"/>
                <a:gd name="T88" fmla="*/ 255 w 1953"/>
                <a:gd name="T89" fmla="*/ 317 h 119"/>
                <a:gd name="T90" fmla="*/ 198 w 1953"/>
                <a:gd name="T91" fmla="*/ 420 h 119"/>
                <a:gd name="T92" fmla="*/ 169 w 1953"/>
                <a:gd name="T93" fmla="*/ 425 h 119"/>
                <a:gd name="T94" fmla="*/ 153 w 1953"/>
                <a:gd name="T95" fmla="*/ 420 h 119"/>
                <a:gd name="T96" fmla="*/ 131 w 1953"/>
                <a:gd name="T97" fmla="*/ 368 h 119"/>
                <a:gd name="T98" fmla="*/ 121 w 1953"/>
                <a:gd name="T99" fmla="*/ 269 h 119"/>
                <a:gd name="T100" fmla="*/ 126 w 1953"/>
                <a:gd name="T101" fmla="*/ 181 h 119"/>
                <a:gd name="T102" fmla="*/ 141 w 1953"/>
                <a:gd name="T103" fmla="*/ 130 h 119"/>
                <a:gd name="T104" fmla="*/ 152 w 1953"/>
                <a:gd name="T105" fmla="*/ 118 h 119"/>
                <a:gd name="T106" fmla="*/ 135 w 1953"/>
                <a:gd name="T107" fmla="*/ 4 h 119"/>
                <a:gd name="T108" fmla="*/ 109 w 1953"/>
                <a:gd name="T109" fmla="*/ 23 h 119"/>
                <a:gd name="T110" fmla="*/ 71 w 1953"/>
                <a:gd name="T111" fmla="*/ 216 h 119"/>
                <a:gd name="T112" fmla="*/ 22 w 1953"/>
                <a:gd name="T113" fmla="*/ 401 h 11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53"/>
                <a:gd name="T172" fmla="*/ 0 h 119"/>
                <a:gd name="T173" fmla="*/ 1953 w 1953"/>
                <a:gd name="T174" fmla="*/ 119 h 11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53" h="119">
                  <a:moveTo>
                    <a:pt x="1952" y="116"/>
                  </a:moveTo>
                  <a:lnTo>
                    <a:pt x="1942" y="116"/>
                  </a:lnTo>
                  <a:lnTo>
                    <a:pt x="1932" y="116"/>
                  </a:lnTo>
                  <a:lnTo>
                    <a:pt x="1923" y="116"/>
                  </a:lnTo>
                  <a:lnTo>
                    <a:pt x="1915" y="116"/>
                  </a:lnTo>
                  <a:lnTo>
                    <a:pt x="1907" y="117"/>
                  </a:lnTo>
                  <a:lnTo>
                    <a:pt x="1900" y="117"/>
                  </a:lnTo>
                  <a:lnTo>
                    <a:pt x="1895" y="117"/>
                  </a:lnTo>
                  <a:lnTo>
                    <a:pt x="1888" y="117"/>
                  </a:lnTo>
                  <a:lnTo>
                    <a:pt x="1882" y="117"/>
                  </a:lnTo>
                  <a:lnTo>
                    <a:pt x="1878" y="118"/>
                  </a:lnTo>
                  <a:lnTo>
                    <a:pt x="1874" y="118"/>
                  </a:lnTo>
                  <a:lnTo>
                    <a:pt x="1869" y="117"/>
                  </a:lnTo>
                  <a:lnTo>
                    <a:pt x="1865" y="117"/>
                  </a:lnTo>
                  <a:lnTo>
                    <a:pt x="1860" y="117"/>
                  </a:lnTo>
                  <a:lnTo>
                    <a:pt x="1857" y="117"/>
                  </a:lnTo>
                  <a:lnTo>
                    <a:pt x="1853" y="116"/>
                  </a:lnTo>
                  <a:lnTo>
                    <a:pt x="1844" y="114"/>
                  </a:lnTo>
                  <a:lnTo>
                    <a:pt x="1837" y="112"/>
                  </a:lnTo>
                  <a:lnTo>
                    <a:pt x="1830" y="109"/>
                  </a:lnTo>
                  <a:lnTo>
                    <a:pt x="1823" y="108"/>
                  </a:lnTo>
                  <a:lnTo>
                    <a:pt x="1817" y="105"/>
                  </a:lnTo>
                  <a:lnTo>
                    <a:pt x="1813" y="102"/>
                  </a:lnTo>
                  <a:lnTo>
                    <a:pt x="1810" y="98"/>
                  </a:lnTo>
                  <a:lnTo>
                    <a:pt x="1806" y="95"/>
                  </a:lnTo>
                  <a:lnTo>
                    <a:pt x="1803" y="91"/>
                  </a:lnTo>
                  <a:lnTo>
                    <a:pt x="1801" y="88"/>
                  </a:lnTo>
                  <a:lnTo>
                    <a:pt x="1798" y="85"/>
                  </a:lnTo>
                  <a:lnTo>
                    <a:pt x="1797" y="81"/>
                  </a:lnTo>
                  <a:lnTo>
                    <a:pt x="1796" y="77"/>
                  </a:lnTo>
                  <a:lnTo>
                    <a:pt x="1796" y="73"/>
                  </a:lnTo>
                  <a:lnTo>
                    <a:pt x="1796" y="70"/>
                  </a:lnTo>
                  <a:lnTo>
                    <a:pt x="1796" y="68"/>
                  </a:lnTo>
                  <a:lnTo>
                    <a:pt x="1797" y="63"/>
                  </a:lnTo>
                  <a:lnTo>
                    <a:pt x="1798" y="59"/>
                  </a:lnTo>
                  <a:lnTo>
                    <a:pt x="1801" y="55"/>
                  </a:lnTo>
                  <a:lnTo>
                    <a:pt x="1803" y="51"/>
                  </a:lnTo>
                  <a:lnTo>
                    <a:pt x="1806" y="49"/>
                  </a:lnTo>
                  <a:lnTo>
                    <a:pt x="1810" y="46"/>
                  </a:lnTo>
                  <a:lnTo>
                    <a:pt x="1814" y="44"/>
                  </a:lnTo>
                  <a:lnTo>
                    <a:pt x="1819" y="42"/>
                  </a:lnTo>
                  <a:lnTo>
                    <a:pt x="1823" y="40"/>
                  </a:lnTo>
                  <a:lnTo>
                    <a:pt x="1828" y="39"/>
                  </a:lnTo>
                  <a:lnTo>
                    <a:pt x="1832" y="39"/>
                  </a:lnTo>
                  <a:lnTo>
                    <a:pt x="1838" y="40"/>
                  </a:lnTo>
                  <a:lnTo>
                    <a:pt x="1843" y="41"/>
                  </a:lnTo>
                  <a:lnTo>
                    <a:pt x="1849" y="43"/>
                  </a:lnTo>
                  <a:lnTo>
                    <a:pt x="1853" y="46"/>
                  </a:lnTo>
                  <a:lnTo>
                    <a:pt x="1859" y="49"/>
                  </a:lnTo>
                  <a:lnTo>
                    <a:pt x="1858" y="43"/>
                  </a:lnTo>
                  <a:lnTo>
                    <a:pt x="1856" y="37"/>
                  </a:lnTo>
                  <a:lnTo>
                    <a:pt x="1853" y="31"/>
                  </a:lnTo>
                  <a:lnTo>
                    <a:pt x="1850" y="26"/>
                  </a:lnTo>
                  <a:lnTo>
                    <a:pt x="1847" y="22"/>
                  </a:lnTo>
                  <a:lnTo>
                    <a:pt x="1841" y="17"/>
                  </a:lnTo>
                  <a:lnTo>
                    <a:pt x="1837" y="14"/>
                  </a:lnTo>
                  <a:lnTo>
                    <a:pt x="1831" y="11"/>
                  </a:lnTo>
                  <a:lnTo>
                    <a:pt x="1824" y="9"/>
                  </a:lnTo>
                  <a:lnTo>
                    <a:pt x="1817" y="8"/>
                  </a:lnTo>
                  <a:lnTo>
                    <a:pt x="1811" y="7"/>
                  </a:lnTo>
                  <a:lnTo>
                    <a:pt x="1803" y="6"/>
                  </a:lnTo>
                  <a:lnTo>
                    <a:pt x="1795" y="6"/>
                  </a:lnTo>
                  <a:lnTo>
                    <a:pt x="1787" y="7"/>
                  </a:lnTo>
                  <a:lnTo>
                    <a:pt x="1778" y="9"/>
                  </a:lnTo>
                  <a:lnTo>
                    <a:pt x="1770" y="11"/>
                  </a:lnTo>
                  <a:lnTo>
                    <a:pt x="1758" y="16"/>
                  </a:lnTo>
                  <a:lnTo>
                    <a:pt x="1747" y="22"/>
                  </a:lnTo>
                  <a:lnTo>
                    <a:pt x="1737" y="29"/>
                  </a:lnTo>
                  <a:lnTo>
                    <a:pt x="1727" y="36"/>
                  </a:lnTo>
                  <a:lnTo>
                    <a:pt x="1717" y="45"/>
                  </a:lnTo>
                  <a:lnTo>
                    <a:pt x="1706" y="53"/>
                  </a:lnTo>
                  <a:lnTo>
                    <a:pt x="1696" y="62"/>
                  </a:lnTo>
                  <a:lnTo>
                    <a:pt x="1686" y="70"/>
                  </a:lnTo>
                  <a:lnTo>
                    <a:pt x="1674" y="79"/>
                  </a:lnTo>
                  <a:lnTo>
                    <a:pt x="1663" y="88"/>
                  </a:lnTo>
                  <a:lnTo>
                    <a:pt x="1649" y="95"/>
                  </a:lnTo>
                  <a:lnTo>
                    <a:pt x="1635" y="102"/>
                  </a:lnTo>
                  <a:lnTo>
                    <a:pt x="1619" y="107"/>
                  </a:lnTo>
                  <a:lnTo>
                    <a:pt x="1602" y="111"/>
                  </a:lnTo>
                  <a:lnTo>
                    <a:pt x="1582" y="114"/>
                  </a:lnTo>
                  <a:lnTo>
                    <a:pt x="1561" y="115"/>
                  </a:lnTo>
                  <a:lnTo>
                    <a:pt x="1551" y="115"/>
                  </a:lnTo>
                  <a:lnTo>
                    <a:pt x="1542" y="115"/>
                  </a:lnTo>
                  <a:lnTo>
                    <a:pt x="1533" y="115"/>
                  </a:lnTo>
                  <a:lnTo>
                    <a:pt x="1525" y="115"/>
                  </a:lnTo>
                  <a:lnTo>
                    <a:pt x="1517" y="115"/>
                  </a:lnTo>
                  <a:lnTo>
                    <a:pt x="1510" y="116"/>
                  </a:lnTo>
                  <a:lnTo>
                    <a:pt x="1504" y="116"/>
                  </a:lnTo>
                  <a:lnTo>
                    <a:pt x="1498" y="116"/>
                  </a:lnTo>
                  <a:lnTo>
                    <a:pt x="1492" y="116"/>
                  </a:lnTo>
                  <a:lnTo>
                    <a:pt x="1488" y="116"/>
                  </a:lnTo>
                  <a:lnTo>
                    <a:pt x="1483" y="116"/>
                  </a:lnTo>
                  <a:lnTo>
                    <a:pt x="1479" y="116"/>
                  </a:lnTo>
                  <a:lnTo>
                    <a:pt x="1474" y="116"/>
                  </a:lnTo>
                  <a:lnTo>
                    <a:pt x="1470" y="116"/>
                  </a:lnTo>
                  <a:lnTo>
                    <a:pt x="1467" y="115"/>
                  </a:lnTo>
                  <a:lnTo>
                    <a:pt x="1463" y="115"/>
                  </a:lnTo>
                  <a:lnTo>
                    <a:pt x="1454" y="113"/>
                  </a:lnTo>
                  <a:lnTo>
                    <a:pt x="1446" y="111"/>
                  </a:lnTo>
                  <a:lnTo>
                    <a:pt x="1438" y="108"/>
                  </a:lnTo>
                  <a:lnTo>
                    <a:pt x="1433" y="106"/>
                  </a:lnTo>
                  <a:lnTo>
                    <a:pt x="1427" y="103"/>
                  </a:lnTo>
                  <a:lnTo>
                    <a:pt x="1423" y="100"/>
                  </a:lnTo>
                  <a:lnTo>
                    <a:pt x="1418" y="97"/>
                  </a:lnTo>
                  <a:lnTo>
                    <a:pt x="1415" y="93"/>
                  </a:lnTo>
                  <a:lnTo>
                    <a:pt x="1413" y="90"/>
                  </a:lnTo>
                  <a:lnTo>
                    <a:pt x="1410" y="87"/>
                  </a:lnTo>
                  <a:lnTo>
                    <a:pt x="1408" y="83"/>
                  </a:lnTo>
                  <a:lnTo>
                    <a:pt x="1407" y="80"/>
                  </a:lnTo>
                  <a:lnTo>
                    <a:pt x="1406" y="76"/>
                  </a:lnTo>
                  <a:lnTo>
                    <a:pt x="1406" y="72"/>
                  </a:lnTo>
                  <a:lnTo>
                    <a:pt x="1406" y="69"/>
                  </a:lnTo>
                  <a:lnTo>
                    <a:pt x="1406" y="66"/>
                  </a:lnTo>
                  <a:lnTo>
                    <a:pt x="1407" y="61"/>
                  </a:lnTo>
                  <a:lnTo>
                    <a:pt x="1408" y="57"/>
                  </a:lnTo>
                  <a:lnTo>
                    <a:pt x="1410" y="53"/>
                  </a:lnTo>
                  <a:lnTo>
                    <a:pt x="1413" y="50"/>
                  </a:lnTo>
                  <a:lnTo>
                    <a:pt x="1416" y="47"/>
                  </a:lnTo>
                  <a:lnTo>
                    <a:pt x="1419" y="44"/>
                  </a:lnTo>
                  <a:lnTo>
                    <a:pt x="1424" y="42"/>
                  </a:lnTo>
                  <a:lnTo>
                    <a:pt x="1427" y="40"/>
                  </a:lnTo>
                  <a:lnTo>
                    <a:pt x="1433" y="39"/>
                  </a:lnTo>
                  <a:lnTo>
                    <a:pt x="1437" y="38"/>
                  </a:lnTo>
                  <a:lnTo>
                    <a:pt x="1442" y="38"/>
                  </a:lnTo>
                  <a:lnTo>
                    <a:pt x="1447" y="38"/>
                  </a:lnTo>
                  <a:lnTo>
                    <a:pt x="1453" y="39"/>
                  </a:lnTo>
                  <a:lnTo>
                    <a:pt x="1458" y="41"/>
                  </a:lnTo>
                  <a:lnTo>
                    <a:pt x="1463" y="44"/>
                  </a:lnTo>
                  <a:lnTo>
                    <a:pt x="1469" y="48"/>
                  </a:lnTo>
                  <a:lnTo>
                    <a:pt x="1468" y="41"/>
                  </a:lnTo>
                  <a:lnTo>
                    <a:pt x="1465" y="35"/>
                  </a:lnTo>
                  <a:lnTo>
                    <a:pt x="1463" y="30"/>
                  </a:lnTo>
                  <a:lnTo>
                    <a:pt x="1460" y="25"/>
                  </a:lnTo>
                  <a:lnTo>
                    <a:pt x="1455" y="20"/>
                  </a:lnTo>
                  <a:lnTo>
                    <a:pt x="1451" y="16"/>
                  </a:lnTo>
                  <a:lnTo>
                    <a:pt x="1446" y="12"/>
                  </a:lnTo>
                  <a:lnTo>
                    <a:pt x="1440" y="10"/>
                  </a:lnTo>
                  <a:lnTo>
                    <a:pt x="1434" y="8"/>
                  </a:lnTo>
                  <a:lnTo>
                    <a:pt x="1427" y="6"/>
                  </a:lnTo>
                  <a:lnTo>
                    <a:pt x="1419" y="5"/>
                  </a:lnTo>
                  <a:lnTo>
                    <a:pt x="1413" y="5"/>
                  </a:lnTo>
                  <a:lnTo>
                    <a:pt x="1405" y="5"/>
                  </a:lnTo>
                  <a:lnTo>
                    <a:pt x="1396" y="6"/>
                  </a:lnTo>
                  <a:lnTo>
                    <a:pt x="1388" y="8"/>
                  </a:lnTo>
                  <a:lnTo>
                    <a:pt x="1379" y="10"/>
                  </a:lnTo>
                  <a:lnTo>
                    <a:pt x="1368" y="14"/>
                  </a:lnTo>
                  <a:lnTo>
                    <a:pt x="1357" y="20"/>
                  </a:lnTo>
                  <a:lnTo>
                    <a:pt x="1347" y="27"/>
                  </a:lnTo>
                  <a:lnTo>
                    <a:pt x="1336" y="35"/>
                  </a:lnTo>
                  <a:lnTo>
                    <a:pt x="1326" y="43"/>
                  </a:lnTo>
                  <a:lnTo>
                    <a:pt x="1316" y="51"/>
                  </a:lnTo>
                  <a:lnTo>
                    <a:pt x="1306" y="61"/>
                  </a:lnTo>
                  <a:lnTo>
                    <a:pt x="1296" y="69"/>
                  </a:lnTo>
                  <a:lnTo>
                    <a:pt x="1285" y="78"/>
                  </a:lnTo>
                  <a:lnTo>
                    <a:pt x="1273" y="86"/>
                  </a:lnTo>
                  <a:lnTo>
                    <a:pt x="1259" y="93"/>
                  </a:lnTo>
                  <a:lnTo>
                    <a:pt x="1245" y="100"/>
                  </a:lnTo>
                  <a:lnTo>
                    <a:pt x="1229" y="106"/>
                  </a:lnTo>
                  <a:lnTo>
                    <a:pt x="1212" y="109"/>
                  </a:lnTo>
                  <a:lnTo>
                    <a:pt x="1192" y="112"/>
                  </a:lnTo>
                  <a:lnTo>
                    <a:pt x="1172" y="113"/>
                  </a:lnTo>
                  <a:lnTo>
                    <a:pt x="1160" y="113"/>
                  </a:lnTo>
                  <a:lnTo>
                    <a:pt x="1151" y="113"/>
                  </a:lnTo>
                  <a:lnTo>
                    <a:pt x="1142" y="114"/>
                  </a:lnTo>
                  <a:lnTo>
                    <a:pt x="1135" y="114"/>
                  </a:lnTo>
                  <a:lnTo>
                    <a:pt x="1127" y="114"/>
                  </a:lnTo>
                  <a:lnTo>
                    <a:pt x="1120" y="114"/>
                  </a:lnTo>
                  <a:lnTo>
                    <a:pt x="1113" y="114"/>
                  </a:lnTo>
                  <a:lnTo>
                    <a:pt x="1108" y="115"/>
                  </a:lnTo>
                  <a:lnTo>
                    <a:pt x="1102" y="115"/>
                  </a:lnTo>
                  <a:lnTo>
                    <a:pt x="1098" y="115"/>
                  </a:lnTo>
                  <a:lnTo>
                    <a:pt x="1093" y="115"/>
                  </a:lnTo>
                  <a:lnTo>
                    <a:pt x="1088" y="115"/>
                  </a:lnTo>
                  <a:lnTo>
                    <a:pt x="1084" y="115"/>
                  </a:lnTo>
                  <a:lnTo>
                    <a:pt x="1080" y="114"/>
                  </a:lnTo>
                  <a:lnTo>
                    <a:pt x="1076" y="114"/>
                  </a:lnTo>
                  <a:lnTo>
                    <a:pt x="1072" y="113"/>
                  </a:lnTo>
                  <a:lnTo>
                    <a:pt x="1064" y="111"/>
                  </a:lnTo>
                  <a:lnTo>
                    <a:pt x="1056" y="109"/>
                  </a:lnTo>
                  <a:lnTo>
                    <a:pt x="1048" y="108"/>
                  </a:lnTo>
                  <a:lnTo>
                    <a:pt x="1043" y="105"/>
                  </a:lnTo>
                  <a:lnTo>
                    <a:pt x="1037" y="102"/>
                  </a:lnTo>
                  <a:lnTo>
                    <a:pt x="1033" y="99"/>
                  </a:lnTo>
                  <a:lnTo>
                    <a:pt x="1028" y="95"/>
                  </a:lnTo>
                  <a:lnTo>
                    <a:pt x="1025" y="92"/>
                  </a:lnTo>
                  <a:lnTo>
                    <a:pt x="1023" y="89"/>
                  </a:lnTo>
                  <a:lnTo>
                    <a:pt x="1020" y="86"/>
                  </a:lnTo>
                  <a:lnTo>
                    <a:pt x="1018" y="82"/>
                  </a:lnTo>
                  <a:lnTo>
                    <a:pt x="1017" y="78"/>
                  </a:lnTo>
                  <a:lnTo>
                    <a:pt x="1016" y="74"/>
                  </a:lnTo>
                  <a:lnTo>
                    <a:pt x="1016" y="71"/>
                  </a:lnTo>
                  <a:lnTo>
                    <a:pt x="1016" y="68"/>
                  </a:lnTo>
                  <a:lnTo>
                    <a:pt x="1016" y="65"/>
                  </a:lnTo>
                  <a:lnTo>
                    <a:pt x="1017" y="60"/>
                  </a:lnTo>
                  <a:lnTo>
                    <a:pt x="1018" y="56"/>
                  </a:lnTo>
                  <a:lnTo>
                    <a:pt x="1020" y="52"/>
                  </a:lnTo>
                  <a:lnTo>
                    <a:pt x="1023" y="49"/>
                  </a:lnTo>
                  <a:lnTo>
                    <a:pt x="1026" y="46"/>
                  </a:lnTo>
                  <a:lnTo>
                    <a:pt x="1029" y="43"/>
                  </a:lnTo>
                  <a:lnTo>
                    <a:pt x="1034" y="41"/>
                  </a:lnTo>
                  <a:lnTo>
                    <a:pt x="1037" y="39"/>
                  </a:lnTo>
                  <a:lnTo>
                    <a:pt x="1042" y="38"/>
                  </a:lnTo>
                  <a:lnTo>
                    <a:pt x="1047" y="37"/>
                  </a:lnTo>
                  <a:lnTo>
                    <a:pt x="1052" y="36"/>
                  </a:lnTo>
                  <a:lnTo>
                    <a:pt x="1057" y="37"/>
                  </a:lnTo>
                  <a:lnTo>
                    <a:pt x="1062" y="38"/>
                  </a:lnTo>
                  <a:lnTo>
                    <a:pt x="1067" y="40"/>
                  </a:lnTo>
                  <a:lnTo>
                    <a:pt x="1073" y="43"/>
                  </a:lnTo>
                  <a:lnTo>
                    <a:pt x="1079" y="47"/>
                  </a:lnTo>
                  <a:lnTo>
                    <a:pt x="1077" y="40"/>
                  </a:lnTo>
                  <a:lnTo>
                    <a:pt x="1075" y="34"/>
                  </a:lnTo>
                  <a:lnTo>
                    <a:pt x="1073" y="29"/>
                  </a:lnTo>
                  <a:lnTo>
                    <a:pt x="1070" y="24"/>
                  </a:lnTo>
                  <a:lnTo>
                    <a:pt x="1065" y="19"/>
                  </a:lnTo>
                  <a:lnTo>
                    <a:pt x="1061" y="15"/>
                  </a:lnTo>
                  <a:lnTo>
                    <a:pt x="1055" y="11"/>
                  </a:lnTo>
                  <a:lnTo>
                    <a:pt x="1049" y="9"/>
                  </a:lnTo>
                  <a:lnTo>
                    <a:pt x="1044" y="7"/>
                  </a:lnTo>
                  <a:lnTo>
                    <a:pt x="1037" y="5"/>
                  </a:lnTo>
                  <a:lnTo>
                    <a:pt x="1029" y="4"/>
                  </a:lnTo>
                  <a:lnTo>
                    <a:pt x="1021" y="3"/>
                  </a:lnTo>
                  <a:lnTo>
                    <a:pt x="1014" y="3"/>
                  </a:lnTo>
                  <a:lnTo>
                    <a:pt x="1006" y="5"/>
                  </a:lnTo>
                  <a:lnTo>
                    <a:pt x="998" y="6"/>
                  </a:lnTo>
                  <a:lnTo>
                    <a:pt x="989" y="9"/>
                  </a:lnTo>
                  <a:lnTo>
                    <a:pt x="978" y="13"/>
                  </a:lnTo>
                  <a:lnTo>
                    <a:pt x="966" y="19"/>
                  </a:lnTo>
                  <a:lnTo>
                    <a:pt x="956" y="26"/>
                  </a:lnTo>
                  <a:lnTo>
                    <a:pt x="946" y="33"/>
                  </a:lnTo>
                  <a:lnTo>
                    <a:pt x="936" y="42"/>
                  </a:lnTo>
                  <a:lnTo>
                    <a:pt x="926" y="50"/>
                  </a:lnTo>
                  <a:lnTo>
                    <a:pt x="916" y="60"/>
                  </a:lnTo>
                  <a:lnTo>
                    <a:pt x="905" y="69"/>
                  </a:lnTo>
                  <a:lnTo>
                    <a:pt x="894" y="77"/>
                  </a:lnTo>
                  <a:lnTo>
                    <a:pt x="882" y="85"/>
                  </a:lnTo>
                  <a:lnTo>
                    <a:pt x="869" y="92"/>
                  </a:lnTo>
                  <a:lnTo>
                    <a:pt x="854" y="99"/>
                  </a:lnTo>
                  <a:lnTo>
                    <a:pt x="839" y="105"/>
                  </a:lnTo>
                  <a:lnTo>
                    <a:pt x="821" y="108"/>
                  </a:lnTo>
                  <a:lnTo>
                    <a:pt x="802" y="111"/>
                  </a:lnTo>
                  <a:lnTo>
                    <a:pt x="780" y="112"/>
                  </a:lnTo>
                  <a:lnTo>
                    <a:pt x="770" y="112"/>
                  </a:lnTo>
                  <a:lnTo>
                    <a:pt x="761" y="112"/>
                  </a:lnTo>
                  <a:lnTo>
                    <a:pt x="752" y="112"/>
                  </a:lnTo>
                  <a:lnTo>
                    <a:pt x="744" y="112"/>
                  </a:lnTo>
                  <a:lnTo>
                    <a:pt x="737" y="112"/>
                  </a:lnTo>
                  <a:lnTo>
                    <a:pt x="730" y="113"/>
                  </a:lnTo>
                  <a:lnTo>
                    <a:pt x="723" y="113"/>
                  </a:lnTo>
                  <a:lnTo>
                    <a:pt x="718" y="113"/>
                  </a:lnTo>
                  <a:lnTo>
                    <a:pt x="712" y="113"/>
                  </a:lnTo>
                  <a:lnTo>
                    <a:pt x="707" y="114"/>
                  </a:lnTo>
                  <a:lnTo>
                    <a:pt x="702" y="114"/>
                  </a:lnTo>
                  <a:lnTo>
                    <a:pt x="697" y="113"/>
                  </a:lnTo>
                  <a:lnTo>
                    <a:pt x="693" y="113"/>
                  </a:lnTo>
                  <a:lnTo>
                    <a:pt x="690" y="113"/>
                  </a:lnTo>
                  <a:lnTo>
                    <a:pt x="685" y="112"/>
                  </a:lnTo>
                  <a:lnTo>
                    <a:pt x="682" y="112"/>
                  </a:lnTo>
                  <a:lnTo>
                    <a:pt x="673" y="110"/>
                  </a:lnTo>
                  <a:lnTo>
                    <a:pt x="665" y="108"/>
                  </a:lnTo>
                  <a:lnTo>
                    <a:pt x="658" y="106"/>
                  </a:lnTo>
                  <a:lnTo>
                    <a:pt x="653" y="104"/>
                  </a:lnTo>
                  <a:lnTo>
                    <a:pt x="647" y="100"/>
                  </a:lnTo>
                  <a:lnTo>
                    <a:pt x="642" y="97"/>
                  </a:lnTo>
                  <a:lnTo>
                    <a:pt x="638" y="94"/>
                  </a:lnTo>
                  <a:lnTo>
                    <a:pt x="635" y="90"/>
                  </a:lnTo>
                  <a:lnTo>
                    <a:pt x="631" y="88"/>
                  </a:lnTo>
                  <a:lnTo>
                    <a:pt x="629" y="84"/>
                  </a:lnTo>
                  <a:lnTo>
                    <a:pt x="628" y="80"/>
                  </a:lnTo>
                  <a:lnTo>
                    <a:pt x="627" y="77"/>
                  </a:lnTo>
                  <a:lnTo>
                    <a:pt x="626" y="73"/>
                  </a:lnTo>
                  <a:lnTo>
                    <a:pt x="626" y="69"/>
                  </a:lnTo>
                  <a:lnTo>
                    <a:pt x="626" y="67"/>
                  </a:lnTo>
                  <a:lnTo>
                    <a:pt x="626" y="63"/>
                  </a:lnTo>
                  <a:lnTo>
                    <a:pt x="626" y="59"/>
                  </a:lnTo>
                  <a:lnTo>
                    <a:pt x="628" y="55"/>
                  </a:lnTo>
                  <a:lnTo>
                    <a:pt x="630" y="51"/>
                  </a:lnTo>
                  <a:lnTo>
                    <a:pt x="632" y="48"/>
                  </a:lnTo>
                  <a:lnTo>
                    <a:pt x="636" y="45"/>
                  </a:lnTo>
                  <a:lnTo>
                    <a:pt x="639" y="42"/>
                  </a:lnTo>
                  <a:lnTo>
                    <a:pt x="642" y="39"/>
                  </a:lnTo>
                  <a:lnTo>
                    <a:pt x="647" y="38"/>
                  </a:lnTo>
                  <a:lnTo>
                    <a:pt x="651" y="36"/>
                  </a:lnTo>
                  <a:lnTo>
                    <a:pt x="657" y="35"/>
                  </a:lnTo>
                  <a:lnTo>
                    <a:pt x="662" y="35"/>
                  </a:lnTo>
                  <a:lnTo>
                    <a:pt x="667" y="36"/>
                  </a:lnTo>
                  <a:lnTo>
                    <a:pt x="672" y="37"/>
                  </a:lnTo>
                  <a:lnTo>
                    <a:pt x="677" y="39"/>
                  </a:lnTo>
                  <a:lnTo>
                    <a:pt x="683" y="41"/>
                  </a:lnTo>
                  <a:lnTo>
                    <a:pt x="688" y="45"/>
                  </a:lnTo>
                  <a:lnTo>
                    <a:pt x="687" y="38"/>
                  </a:lnTo>
                  <a:lnTo>
                    <a:pt x="685" y="32"/>
                  </a:lnTo>
                  <a:lnTo>
                    <a:pt x="683" y="27"/>
                  </a:lnTo>
                  <a:lnTo>
                    <a:pt x="679" y="22"/>
                  </a:lnTo>
                  <a:lnTo>
                    <a:pt x="675" y="17"/>
                  </a:lnTo>
                  <a:lnTo>
                    <a:pt x="670" y="13"/>
                  </a:lnTo>
                  <a:lnTo>
                    <a:pt x="665" y="10"/>
                  </a:lnTo>
                  <a:lnTo>
                    <a:pt x="659" y="8"/>
                  </a:lnTo>
                  <a:lnTo>
                    <a:pt x="654" y="5"/>
                  </a:lnTo>
                  <a:lnTo>
                    <a:pt x="646" y="3"/>
                  </a:lnTo>
                  <a:lnTo>
                    <a:pt x="639" y="2"/>
                  </a:lnTo>
                  <a:lnTo>
                    <a:pt x="631" y="2"/>
                  </a:lnTo>
                  <a:lnTo>
                    <a:pt x="623" y="2"/>
                  </a:lnTo>
                  <a:lnTo>
                    <a:pt x="616" y="3"/>
                  </a:lnTo>
                  <a:lnTo>
                    <a:pt x="608" y="5"/>
                  </a:lnTo>
                  <a:lnTo>
                    <a:pt x="599" y="8"/>
                  </a:lnTo>
                  <a:lnTo>
                    <a:pt x="588" y="11"/>
                  </a:lnTo>
                  <a:lnTo>
                    <a:pt x="576" y="17"/>
                  </a:lnTo>
                  <a:lnTo>
                    <a:pt x="566" y="25"/>
                  </a:lnTo>
                  <a:lnTo>
                    <a:pt x="555" y="32"/>
                  </a:lnTo>
                  <a:lnTo>
                    <a:pt x="546" y="41"/>
                  </a:lnTo>
                  <a:lnTo>
                    <a:pt x="536" y="49"/>
                  </a:lnTo>
                  <a:lnTo>
                    <a:pt x="526" y="58"/>
                  </a:lnTo>
                  <a:lnTo>
                    <a:pt x="515" y="67"/>
                  </a:lnTo>
                  <a:lnTo>
                    <a:pt x="503" y="75"/>
                  </a:lnTo>
                  <a:lnTo>
                    <a:pt x="491" y="84"/>
                  </a:lnTo>
                  <a:lnTo>
                    <a:pt x="479" y="90"/>
                  </a:lnTo>
                  <a:lnTo>
                    <a:pt x="464" y="97"/>
                  </a:lnTo>
                  <a:lnTo>
                    <a:pt x="448" y="103"/>
                  </a:lnTo>
                  <a:lnTo>
                    <a:pt x="431" y="108"/>
                  </a:lnTo>
                  <a:lnTo>
                    <a:pt x="411" y="109"/>
                  </a:lnTo>
                  <a:lnTo>
                    <a:pt x="390" y="111"/>
                  </a:lnTo>
                  <a:lnTo>
                    <a:pt x="380" y="111"/>
                  </a:lnTo>
                  <a:lnTo>
                    <a:pt x="371" y="111"/>
                  </a:lnTo>
                  <a:lnTo>
                    <a:pt x="362" y="111"/>
                  </a:lnTo>
                  <a:lnTo>
                    <a:pt x="354" y="111"/>
                  </a:lnTo>
                  <a:lnTo>
                    <a:pt x="346" y="111"/>
                  </a:lnTo>
                  <a:lnTo>
                    <a:pt x="340" y="111"/>
                  </a:lnTo>
                  <a:lnTo>
                    <a:pt x="333" y="112"/>
                  </a:lnTo>
                  <a:lnTo>
                    <a:pt x="327" y="112"/>
                  </a:lnTo>
                  <a:lnTo>
                    <a:pt x="322" y="112"/>
                  </a:lnTo>
                  <a:lnTo>
                    <a:pt x="317" y="112"/>
                  </a:lnTo>
                  <a:lnTo>
                    <a:pt x="312" y="112"/>
                  </a:lnTo>
                  <a:lnTo>
                    <a:pt x="307" y="112"/>
                  </a:lnTo>
                  <a:lnTo>
                    <a:pt x="303" y="112"/>
                  </a:lnTo>
                  <a:lnTo>
                    <a:pt x="299" y="112"/>
                  </a:lnTo>
                  <a:lnTo>
                    <a:pt x="296" y="111"/>
                  </a:lnTo>
                  <a:lnTo>
                    <a:pt x="292" y="111"/>
                  </a:lnTo>
                  <a:lnTo>
                    <a:pt x="283" y="109"/>
                  </a:lnTo>
                  <a:lnTo>
                    <a:pt x="275" y="107"/>
                  </a:lnTo>
                  <a:lnTo>
                    <a:pt x="268" y="105"/>
                  </a:lnTo>
                  <a:lnTo>
                    <a:pt x="262" y="102"/>
                  </a:lnTo>
                  <a:lnTo>
                    <a:pt x="257" y="99"/>
                  </a:lnTo>
                  <a:lnTo>
                    <a:pt x="252" y="96"/>
                  </a:lnTo>
                  <a:lnTo>
                    <a:pt x="248" y="92"/>
                  </a:lnTo>
                  <a:lnTo>
                    <a:pt x="244" y="89"/>
                  </a:lnTo>
                  <a:lnTo>
                    <a:pt x="241" y="86"/>
                  </a:lnTo>
                  <a:lnTo>
                    <a:pt x="239" y="83"/>
                  </a:lnTo>
                  <a:lnTo>
                    <a:pt x="238" y="79"/>
                  </a:lnTo>
                  <a:lnTo>
                    <a:pt x="237" y="75"/>
                  </a:lnTo>
                  <a:lnTo>
                    <a:pt x="235" y="72"/>
                  </a:lnTo>
                  <a:lnTo>
                    <a:pt x="234" y="69"/>
                  </a:lnTo>
                  <a:lnTo>
                    <a:pt x="234" y="65"/>
                  </a:lnTo>
                  <a:lnTo>
                    <a:pt x="235" y="62"/>
                  </a:lnTo>
                  <a:lnTo>
                    <a:pt x="235" y="57"/>
                  </a:lnTo>
                  <a:lnTo>
                    <a:pt x="238" y="53"/>
                  </a:lnTo>
                  <a:lnTo>
                    <a:pt x="240" y="49"/>
                  </a:lnTo>
                  <a:lnTo>
                    <a:pt x="242" y="47"/>
                  </a:lnTo>
                  <a:lnTo>
                    <a:pt x="246" y="43"/>
                  </a:lnTo>
                  <a:lnTo>
                    <a:pt x="249" y="40"/>
                  </a:lnTo>
                  <a:lnTo>
                    <a:pt x="252" y="38"/>
                  </a:lnTo>
                  <a:lnTo>
                    <a:pt x="257" y="36"/>
                  </a:lnTo>
                  <a:lnTo>
                    <a:pt x="261" y="35"/>
                  </a:lnTo>
                  <a:lnTo>
                    <a:pt x="266" y="34"/>
                  </a:lnTo>
                  <a:lnTo>
                    <a:pt x="271" y="34"/>
                  </a:lnTo>
                  <a:lnTo>
                    <a:pt x="277" y="34"/>
                  </a:lnTo>
                  <a:lnTo>
                    <a:pt x="281" y="35"/>
                  </a:lnTo>
                  <a:lnTo>
                    <a:pt x="287" y="37"/>
                  </a:lnTo>
                  <a:lnTo>
                    <a:pt x="293" y="40"/>
                  </a:lnTo>
                  <a:lnTo>
                    <a:pt x="298" y="44"/>
                  </a:lnTo>
                  <a:lnTo>
                    <a:pt x="297" y="37"/>
                  </a:lnTo>
                  <a:lnTo>
                    <a:pt x="295" y="31"/>
                  </a:lnTo>
                  <a:lnTo>
                    <a:pt x="293" y="26"/>
                  </a:lnTo>
                  <a:lnTo>
                    <a:pt x="289" y="21"/>
                  </a:lnTo>
                  <a:lnTo>
                    <a:pt x="285" y="16"/>
                  </a:lnTo>
                  <a:lnTo>
                    <a:pt x="280" y="12"/>
                  </a:lnTo>
                  <a:lnTo>
                    <a:pt x="275" y="9"/>
                  </a:lnTo>
                  <a:lnTo>
                    <a:pt x="269" y="6"/>
                  </a:lnTo>
                  <a:lnTo>
                    <a:pt x="262" y="4"/>
                  </a:lnTo>
                  <a:lnTo>
                    <a:pt x="256" y="2"/>
                  </a:lnTo>
                  <a:lnTo>
                    <a:pt x="249" y="1"/>
                  </a:lnTo>
                  <a:lnTo>
                    <a:pt x="241" y="0"/>
                  </a:lnTo>
                  <a:lnTo>
                    <a:pt x="233" y="1"/>
                  </a:lnTo>
                  <a:lnTo>
                    <a:pt x="225" y="2"/>
                  </a:lnTo>
                  <a:lnTo>
                    <a:pt x="216" y="3"/>
                  </a:lnTo>
                  <a:lnTo>
                    <a:pt x="209" y="6"/>
                  </a:lnTo>
                  <a:lnTo>
                    <a:pt x="196" y="10"/>
                  </a:lnTo>
                  <a:lnTo>
                    <a:pt x="186" y="16"/>
                  </a:lnTo>
                  <a:lnTo>
                    <a:pt x="175" y="23"/>
                  </a:lnTo>
                  <a:lnTo>
                    <a:pt x="165" y="31"/>
                  </a:lnTo>
                  <a:lnTo>
                    <a:pt x="156" y="39"/>
                  </a:lnTo>
                  <a:lnTo>
                    <a:pt x="146" y="48"/>
                  </a:lnTo>
                  <a:lnTo>
                    <a:pt x="136" y="57"/>
                  </a:lnTo>
                  <a:lnTo>
                    <a:pt x="124" y="66"/>
                  </a:lnTo>
                  <a:lnTo>
                    <a:pt x="113" y="74"/>
                  </a:lnTo>
                  <a:lnTo>
                    <a:pt x="101" y="82"/>
                  </a:lnTo>
                  <a:lnTo>
                    <a:pt x="87" y="89"/>
                  </a:lnTo>
                  <a:lnTo>
                    <a:pt x="74" y="96"/>
                  </a:lnTo>
                  <a:lnTo>
                    <a:pt x="58" y="102"/>
                  </a:lnTo>
                  <a:lnTo>
                    <a:pt x="40" y="106"/>
                  </a:lnTo>
                  <a:lnTo>
                    <a:pt x="21" y="108"/>
                  </a:lnTo>
                  <a:lnTo>
                    <a:pt x="0" y="109"/>
                  </a:lnTo>
                  <a:lnTo>
                    <a:pt x="1952" y="116"/>
                  </a:lnTo>
                </a:path>
              </a:pathLst>
            </a:custGeom>
            <a:solidFill>
              <a:srgbClr val="C0E7F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283" name="Freeform 136">
              <a:extLst>
                <a:ext uri="{FF2B5EF4-FFF2-40B4-BE49-F238E27FC236}">
                  <a16:creationId xmlns:a16="http://schemas.microsoft.com/office/drawing/2014/main" id="{7F0BB4FB-5BE5-D75F-5DFD-B71A65A186FC}"/>
                </a:ext>
              </a:extLst>
            </p:cNvPr>
            <p:cNvSpPr>
              <a:spLocks/>
            </p:cNvSpPr>
            <p:nvPr/>
          </p:nvSpPr>
          <p:spPr bwMode="auto">
            <a:xfrm>
              <a:off x="2359" y="1673"/>
              <a:ext cx="365" cy="126"/>
            </a:xfrm>
            <a:custGeom>
              <a:avLst/>
              <a:gdLst>
                <a:gd name="T0" fmla="*/ 9 w 386"/>
                <a:gd name="T1" fmla="*/ 396 h 113"/>
                <a:gd name="T2" fmla="*/ 28 w 386"/>
                <a:gd name="T3" fmla="*/ 377 h 113"/>
                <a:gd name="T4" fmla="*/ 43 w 386"/>
                <a:gd name="T5" fmla="*/ 329 h 113"/>
                <a:gd name="T6" fmla="*/ 58 w 386"/>
                <a:gd name="T7" fmla="*/ 279 h 113"/>
                <a:gd name="T8" fmla="*/ 69 w 386"/>
                <a:gd name="T9" fmla="*/ 210 h 113"/>
                <a:gd name="T10" fmla="*/ 78 w 386"/>
                <a:gd name="T11" fmla="*/ 145 h 113"/>
                <a:gd name="T12" fmla="*/ 89 w 386"/>
                <a:gd name="T13" fmla="*/ 86 h 113"/>
                <a:gd name="T14" fmla="*/ 99 w 386"/>
                <a:gd name="T15" fmla="*/ 35 h 113"/>
                <a:gd name="T16" fmla="*/ 110 w 386"/>
                <a:gd name="T17" fmla="*/ 3 h 113"/>
                <a:gd name="T18" fmla="*/ 117 w 386"/>
                <a:gd name="T19" fmla="*/ 1 h 113"/>
                <a:gd name="T20" fmla="*/ 125 w 386"/>
                <a:gd name="T21" fmla="*/ 1 h 113"/>
                <a:gd name="T22" fmla="*/ 132 w 386"/>
                <a:gd name="T23" fmla="*/ 4 h 113"/>
                <a:gd name="T24" fmla="*/ 139 w 386"/>
                <a:gd name="T25" fmla="*/ 31 h 113"/>
                <a:gd name="T26" fmla="*/ 144 w 386"/>
                <a:gd name="T27" fmla="*/ 60 h 113"/>
                <a:gd name="T28" fmla="*/ 147 w 386"/>
                <a:gd name="T29" fmla="*/ 96 h 113"/>
                <a:gd name="T30" fmla="*/ 149 w 386"/>
                <a:gd name="T31" fmla="*/ 136 h 113"/>
                <a:gd name="T32" fmla="*/ 147 w 386"/>
                <a:gd name="T33" fmla="*/ 148 h 113"/>
                <a:gd name="T34" fmla="*/ 142 w 386"/>
                <a:gd name="T35" fmla="*/ 130 h 113"/>
                <a:gd name="T36" fmla="*/ 137 w 386"/>
                <a:gd name="T37" fmla="*/ 123 h 113"/>
                <a:gd name="T38" fmla="*/ 132 w 386"/>
                <a:gd name="T39" fmla="*/ 130 h 113"/>
                <a:gd name="T40" fmla="*/ 127 w 386"/>
                <a:gd name="T41" fmla="*/ 137 h 113"/>
                <a:gd name="T42" fmla="*/ 124 w 386"/>
                <a:gd name="T43" fmla="*/ 162 h 113"/>
                <a:gd name="T44" fmla="*/ 121 w 386"/>
                <a:gd name="T45" fmla="*/ 183 h 113"/>
                <a:gd name="T46" fmla="*/ 118 w 386"/>
                <a:gd name="T47" fmla="*/ 210 h 113"/>
                <a:gd name="T48" fmla="*/ 118 w 386"/>
                <a:gd name="T49" fmla="*/ 238 h 113"/>
                <a:gd name="T50" fmla="*/ 118 w 386"/>
                <a:gd name="T51" fmla="*/ 261 h 113"/>
                <a:gd name="T52" fmla="*/ 118 w 386"/>
                <a:gd name="T53" fmla="*/ 291 h 113"/>
                <a:gd name="T54" fmla="*/ 122 w 386"/>
                <a:gd name="T55" fmla="*/ 314 h 113"/>
                <a:gd name="T56" fmla="*/ 125 w 386"/>
                <a:gd name="T57" fmla="*/ 339 h 113"/>
                <a:gd name="T58" fmla="*/ 129 w 386"/>
                <a:gd name="T59" fmla="*/ 367 h 113"/>
                <a:gd name="T60" fmla="*/ 135 w 386"/>
                <a:gd name="T61" fmla="*/ 387 h 113"/>
                <a:gd name="T62" fmla="*/ 143 w 386"/>
                <a:gd name="T63" fmla="*/ 403 h 113"/>
                <a:gd name="T64" fmla="*/ 148 w 386"/>
                <a:gd name="T65" fmla="*/ 411 h 113"/>
                <a:gd name="T66" fmla="*/ 153 w 386"/>
                <a:gd name="T67" fmla="*/ 414 h 113"/>
                <a:gd name="T68" fmla="*/ 157 w 386"/>
                <a:gd name="T69" fmla="*/ 414 h 113"/>
                <a:gd name="T70" fmla="*/ 163 w 386"/>
                <a:gd name="T71" fmla="*/ 414 h 113"/>
                <a:gd name="T72" fmla="*/ 168 w 386"/>
                <a:gd name="T73" fmla="*/ 414 h 113"/>
                <a:gd name="T74" fmla="*/ 173 w 386"/>
                <a:gd name="T75" fmla="*/ 411 h 113"/>
                <a:gd name="T76" fmla="*/ 183 w 386"/>
                <a:gd name="T77" fmla="*/ 411 h 113"/>
                <a:gd name="T78" fmla="*/ 192 w 386"/>
                <a:gd name="T79" fmla="*/ 409 h 113"/>
                <a:gd name="T80" fmla="*/ 0 w 386"/>
                <a:gd name="T81" fmla="*/ 403 h 1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6"/>
                <a:gd name="T124" fmla="*/ 0 h 113"/>
                <a:gd name="T125" fmla="*/ 386 w 386"/>
                <a:gd name="T126" fmla="*/ 113 h 11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6" h="113">
                  <a:moveTo>
                    <a:pt x="0" y="109"/>
                  </a:moveTo>
                  <a:lnTo>
                    <a:pt x="21" y="108"/>
                  </a:lnTo>
                  <a:lnTo>
                    <a:pt x="40" y="105"/>
                  </a:lnTo>
                  <a:lnTo>
                    <a:pt x="56" y="102"/>
                  </a:lnTo>
                  <a:lnTo>
                    <a:pt x="72" y="96"/>
                  </a:lnTo>
                  <a:lnTo>
                    <a:pt x="86" y="89"/>
                  </a:lnTo>
                  <a:lnTo>
                    <a:pt x="100" y="82"/>
                  </a:lnTo>
                  <a:lnTo>
                    <a:pt x="112" y="74"/>
                  </a:lnTo>
                  <a:lnTo>
                    <a:pt x="123" y="65"/>
                  </a:lnTo>
                  <a:lnTo>
                    <a:pt x="133" y="57"/>
                  </a:lnTo>
                  <a:lnTo>
                    <a:pt x="143" y="47"/>
                  </a:lnTo>
                  <a:lnTo>
                    <a:pt x="153" y="39"/>
                  </a:lnTo>
                  <a:lnTo>
                    <a:pt x="163" y="31"/>
                  </a:lnTo>
                  <a:lnTo>
                    <a:pt x="173" y="23"/>
                  </a:lnTo>
                  <a:lnTo>
                    <a:pt x="183" y="16"/>
                  </a:lnTo>
                  <a:lnTo>
                    <a:pt x="194" y="10"/>
                  </a:lnTo>
                  <a:lnTo>
                    <a:pt x="206" y="6"/>
                  </a:lnTo>
                  <a:lnTo>
                    <a:pt x="214" y="3"/>
                  </a:lnTo>
                  <a:lnTo>
                    <a:pt x="222" y="2"/>
                  </a:lnTo>
                  <a:lnTo>
                    <a:pt x="230" y="1"/>
                  </a:lnTo>
                  <a:lnTo>
                    <a:pt x="238" y="0"/>
                  </a:lnTo>
                  <a:lnTo>
                    <a:pt x="246" y="1"/>
                  </a:lnTo>
                  <a:lnTo>
                    <a:pt x="252" y="2"/>
                  </a:lnTo>
                  <a:lnTo>
                    <a:pt x="259" y="4"/>
                  </a:lnTo>
                  <a:lnTo>
                    <a:pt x="266" y="6"/>
                  </a:lnTo>
                  <a:lnTo>
                    <a:pt x="271" y="9"/>
                  </a:lnTo>
                  <a:lnTo>
                    <a:pt x="275" y="12"/>
                  </a:lnTo>
                  <a:lnTo>
                    <a:pt x="281" y="16"/>
                  </a:lnTo>
                  <a:lnTo>
                    <a:pt x="284" y="21"/>
                  </a:lnTo>
                  <a:lnTo>
                    <a:pt x="288" y="26"/>
                  </a:lnTo>
                  <a:lnTo>
                    <a:pt x="290" y="31"/>
                  </a:lnTo>
                  <a:lnTo>
                    <a:pt x="292" y="37"/>
                  </a:lnTo>
                  <a:lnTo>
                    <a:pt x="293" y="44"/>
                  </a:lnTo>
                  <a:lnTo>
                    <a:pt x="288" y="40"/>
                  </a:lnTo>
                  <a:lnTo>
                    <a:pt x="282" y="37"/>
                  </a:lnTo>
                  <a:lnTo>
                    <a:pt x="278" y="35"/>
                  </a:lnTo>
                  <a:lnTo>
                    <a:pt x="272" y="34"/>
                  </a:lnTo>
                  <a:lnTo>
                    <a:pt x="268" y="34"/>
                  </a:lnTo>
                  <a:lnTo>
                    <a:pt x="262" y="34"/>
                  </a:lnTo>
                  <a:lnTo>
                    <a:pt x="258" y="35"/>
                  </a:lnTo>
                  <a:lnTo>
                    <a:pt x="253" y="36"/>
                  </a:lnTo>
                  <a:lnTo>
                    <a:pt x="249" y="38"/>
                  </a:lnTo>
                  <a:lnTo>
                    <a:pt x="244" y="40"/>
                  </a:lnTo>
                  <a:lnTo>
                    <a:pt x="241" y="43"/>
                  </a:lnTo>
                  <a:lnTo>
                    <a:pt x="239" y="47"/>
                  </a:lnTo>
                  <a:lnTo>
                    <a:pt x="236" y="49"/>
                  </a:lnTo>
                  <a:lnTo>
                    <a:pt x="233" y="53"/>
                  </a:lnTo>
                  <a:lnTo>
                    <a:pt x="232" y="57"/>
                  </a:lnTo>
                  <a:lnTo>
                    <a:pt x="231" y="62"/>
                  </a:lnTo>
                  <a:lnTo>
                    <a:pt x="231" y="65"/>
                  </a:lnTo>
                  <a:lnTo>
                    <a:pt x="231" y="68"/>
                  </a:lnTo>
                  <a:lnTo>
                    <a:pt x="231" y="71"/>
                  </a:lnTo>
                  <a:lnTo>
                    <a:pt x="232" y="75"/>
                  </a:lnTo>
                  <a:lnTo>
                    <a:pt x="233" y="79"/>
                  </a:lnTo>
                  <a:lnTo>
                    <a:pt x="236" y="83"/>
                  </a:lnTo>
                  <a:lnTo>
                    <a:pt x="238" y="85"/>
                  </a:lnTo>
                  <a:lnTo>
                    <a:pt x="240" y="89"/>
                  </a:lnTo>
                  <a:lnTo>
                    <a:pt x="244" y="92"/>
                  </a:lnTo>
                  <a:lnTo>
                    <a:pt x="248" y="96"/>
                  </a:lnTo>
                  <a:lnTo>
                    <a:pt x="252" y="99"/>
                  </a:lnTo>
                  <a:lnTo>
                    <a:pt x="258" y="102"/>
                  </a:lnTo>
                  <a:lnTo>
                    <a:pt x="264" y="104"/>
                  </a:lnTo>
                  <a:lnTo>
                    <a:pt x="271" y="106"/>
                  </a:lnTo>
                  <a:lnTo>
                    <a:pt x="279" y="109"/>
                  </a:lnTo>
                  <a:lnTo>
                    <a:pt x="288" y="110"/>
                  </a:lnTo>
                  <a:lnTo>
                    <a:pt x="291" y="111"/>
                  </a:lnTo>
                  <a:lnTo>
                    <a:pt x="294" y="112"/>
                  </a:lnTo>
                  <a:lnTo>
                    <a:pt x="299" y="112"/>
                  </a:lnTo>
                  <a:lnTo>
                    <a:pt x="303" y="112"/>
                  </a:lnTo>
                  <a:lnTo>
                    <a:pt x="308" y="112"/>
                  </a:lnTo>
                  <a:lnTo>
                    <a:pt x="312" y="112"/>
                  </a:lnTo>
                  <a:lnTo>
                    <a:pt x="318" y="112"/>
                  </a:lnTo>
                  <a:lnTo>
                    <a:pt x="323" y="112"/>
                  </a:lnTo>
                  <a:lnTo>
                    <a:pt x="329" y="112"/>
                  </a:lnTo>
                  <a:lnTo>
                    <a:pt x="334" y="111"/>
                  </a:lnTo>
                  <a:lnTo>
                    <a:pt x="342" y="111"/>
                  </a:lnTo>
                  <a:lnTo>
                    <a:pt x="348" y="111"/>
                  </a:lnTo>
                  <a:lnTo>
                    <a:pt x="357" y="111"/>
                  </a:lnTo>
                  <a:lnTo>
                    <a:pt x="365" y="110"/>
                  </a:lnTo>
                  <a:lnTo>
                    <a:pt x="375" y="110"/>
                  </a:lnTo>
                  <a:lnTo>
                    <a:pt x="385" y="110"/>
                  </a:lnTo>
                  <a:lnTo>
                    <a:pt x="0" y="109"/>
                  </a:lnTo>
                </a:path>
              </a:pathLst>
            </a:custGeom>
            <a:solidFill>
              <a:srgbClr val="C0E7F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284" name="Freeform 137">
              <a:extLst>
                <a:ext uri="{FF2B5EF4-FFF2-40B4-BE49-F238E27FC236}">
                  <a16:creationId xmlns:a16="http://schemas.microsoft.com/office/drawing/2014/main" id="{357465C6-AC0C-F35F-481F-C8F38D26F6B9}"/>
                </a:ext>
              </a:extLst>
            </p:cNvPr>
            <p:cNvSpPr>
              <a:spLocks/>
            </p:cNvSpPr>
            <p:nvPr/>
          </p:nvSpPr>
          <p:spPr bwMode="auto">
            <a:xfrm>
              <a:off x="2729" y="1675"/>
              <a:ext cx="366" cy="126"/>
            </a:xfrm>
            <a:custGeom>
              <a:avLst/>
              <a:gdLst>
                <a:gd name="T0" fmla="*/ 9 w 386"/>
                <a:gd name="T1" fmla="*/ 394 h 113"/>
                <a:gd name="T2" fmla="*/ 29 w 386"/>
                <a:gd name="T3" fmla="*/ 374 h 113"/>
                <a:gd name="T4" fmla="*/ 46 w 386"/>
                <a:gd name="T5" fmla="*/ 324 h 113"/>
                <a:gd name="T6" fmla="*/ 60 w 386"/>
                <a:gd name="T7" fmla="*/ 268 h 113"/>
                <a:gd name="T8" fmla="*/ 70 w 386"/>
                <a:gd name="T9" fmla="*/ 205 h 113"/>
                <a:gd name="T10" fmla="*/ 82 w 386"/>
                <a:gd name="T11" fmla="*/ 137 h 113"/>
                <a:gd name="T12" fmla="*/ 91 w 386"/>
                <a:gd name="T13" fmla="*/ 86 h 113"/>
                <a:gd name="T14" fmla="*/ 101 w 386"/>
                <a:gd name="T15" fmla="*/ 31 h 113"/>
                <a:gd name="T16" fmla="*/ 113 w 386"/>
                <a:gd name="T17" fmla="*/ 3 h 113"/>
                <a:gd name="T18" fmla="*/ 121 w 386"/>
                <a:gd name="T19" fmla="*/ 0 h 113"/>
                <a:gd name="T20" fmla="*/ 130 w 386"/>
                <a:gd name="T21" fmla="*/ 0 h 113"/>
                <a:gd name="T22" fmla="*/ 137 w 386"/>
                <a:gd name="T23" fmla="*/ 3 h 113"/>
                <a:gd name="T24" fmla="*/ 143 w 386"/>
                <a:gd name="T25" fmla="*/ 31 h 113"/>
                <a:gd name="T26" fmla="*/ 148 w 386"/>
                <a:gd name="T27" fmla="*/ 56 h 113"/>
                <a:gd name="T28" fmla="*/ 153 w 386"/>
                <a:gd name="T29" fmla="*/ 96 h 113"/>
                <a:gd name="T30" fmla="*/ 156 w 386"/>
                <a:gd name="T31" fmla="*/ 136 h 113"/>
                <a:gd name="T32" fmla="*/ 153 w 386"/>
                <a:gd name="T33" fmla="*/ 148 h 113"/>
                <a:gd name="T34" fmla="*/ 148 w 386"/>
                <a:gd name="T35" fmla="*/ 130 h 113"/>
                <a:gd name="T36" fmla="*/ 141 w 386"/>
                <a:gd name="T37" fmla="*/ 122 h 113"/>
                <a:gd name="T38" fmla="*/ 137 w 386"/>
                <a:gd name="T39" fmla="*/ 123 h 113"/>
                <a:gd name="T40" fmla="*/ 132 w 386"/>
                <a:gd name="T41" fmla="*/ 136 h 113"/>
                <a:gd name="T42" fmla="*/ 127 w 386"/>
                <a:gd name="T43" fmla="*/ 162 h 113"/>
                <a:gd name="T44" fmla="*/ 125 w 386"/>
                <a:gd name="T45" fmla="*/ 183 h 113"/>
                <a:gd name="T46" fmla="*/ 123 w 386"/>
                <a:gd name="T47" fmla="*/ 210 h 113"/>
                <a:gd name="T48" fmla="*/ 122 w 386"/>
                <a:gd name="T49" fmla="*/ 238 h 113"/>
                <a:gd name="T50" fmla="*/ 123 w 386"/>
                <a:gd name="T51" fmla="*/ 261 h 113"/>
                <a:gd name="T52" fmla="*/ 124 w 386"/>
                <a:gd name="T53" fmla="*/ 285 h 113"/>
                <a:gd name="T54" fmla="*/ 126 w 386"/>
                <a:gd name="T55" fmla="*/ 314 h 113"/>
                <a:gd name="T56" fmla="*/ 129 w 386"/>
                <a:gd name="T57" fmla="*/ 339 h 113"/>
                <a:gd name="T58" fmla="*/ 133 w 386"/>
                <a:gd name="T59" fmla="*/ 361 h 113"/>
                <a:gd name="T60" fmla="*/ 140 w 386"/>
                <a:gd name="T61" fmla="*/ 378 h 113"/>
                <a:gd name="T62" fmla="*/ 148 w 386"/>
                <a:gd name="T63" fmla="*/ 396 h 113"/>
                <a:gd name="T64" fmla="*/ 154 w 386"/>
                <a:gd name="T65" fmla="*/ 409 h 113"/>
                <a:gd name="T66" fmla="*/ 157 w 386"/>
                <a:gd name="T67" fmla="*/ 411 h 113"/>
                <a:gd name="T68" fmla="*/ 163 w 386"/>
                <a:gd name="T69" fmla="*/ 414 h 113"/>
                <a:gd name="T70" fmla="*/ 168 w 386"/>
                <a:gd name="T71" fmla="*/ 411 h 113"/>
                <a:gd name="T72" fmla="*/ 174 w 386"/>
                <a:gd name="T73" fmla="*/ 411 h 113"/>
                <a:gd name="T74" fmla="*/ 180 w 386"/>
                <a:gd name="T75" fmla="*/ 409 h 113"/>
                <a:gd name="T76" fmla="*/ 189 w 386"/>
                <a:gd name="T77" fmla="*/ 409 h 113"/>
                <a:gd name="T78" fmla="*/ 198 w 386"/>
                <a:gd name="T79" fmla="*/ 409 h 113"/>
                <a:gd name="T80" fmla="*/ 0 w 386"/>
                <a:gd name="T81" fmla="*/ 396 h 1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6"/>
                <a:gd name="T124" fmla="*/ 0 h 113"/>
                <a:gd name="T125" fmla="*/ 386 w 386"/>
                <a:gd name="T126" fmla="*/ 113 h 11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6" h="113">
                  <a:moveTo>
                    <a:pt x="0" y="108"/>
                  </a:moveTo>
                  <a:lnTo>
                    <a:pt x="21" y="107"/>
                  </a:lnTo>
                  <a:lnTo>
                    <a:pt x="40" y="105"/>
                  </a:lnTo>
                  <a:lnTo>
                    <a:pt x="56" y="101"/>
                  </a:lnTo>
                  <a:lnTo>
                    <a:pt x="73" y="95"/>
                  </a:lnTo>
                  <a:lnTo>
                    <a:pt x="86" y="88"/>
                  </a:lnTo>
                  <a:lnTo>
                    <a:pt x="100" y="82"/>
                  </a:lnTo>
                  <a:lnTo>
                    <a:pt x="112" y="73"/>
                  </a:lnTo>
                  <a:lnTo>
                    <a:pt x="123" y="65"/>
                  </a:lnTo>
                  <a:lnTo>
                    <a:pt x="134" y="56"/>
                  </a:lnTo>
                  <a:lnTo>
                    <a:pt x="144" y="47"/>
                  </a:lnTo>
                  <a:lnTo>
                    <a:pt x="154" y="38"/>
                  </a:lnTo>
                  <a:lnTo>
                    <a:pt x="163" y="30"/>
                  </a:lnTo>
                  <a:lnTo>
                    <a:pt x="173" y="23"/>
                  </a:lnTo>
                  <a:lnTo>
                    <a:pt x="184" y="15"/>
                  </a:lnTo>
                  <a:lnTo>
                    <a:pt x="194" y="9"/>
                  </a:lnTo>
                  <a:lnTo>
                    <a:pt x="206" y="6"/>
                  </a:lnTo>
                  <a:lnTo>
                    <a:pt x="214" y="3"/>
                  </a:lnTo>
                  <a:lnTo>
                    <a:pt x="222" y="1"/>
                  </a:lnTo>
                  <a:lnTo>
                    <a:pt x="230" y="0"/>
                  </a:lnTo>
                  <a:lnTo>
                    <a:pt x="238" y="0"/>
                  </a:lnTo>
                  <a:lnTo>
                    <a:pt x="246" y="0"/>
                  </a:lnTo>
                  <a:lnTo>
                    <a:pt x="252" y="1"/>
                  </a:lnTo>
                  <a:lnTo>
                    <a:pt x="259" y="3"/>
                  </a:lnTo>
                  <a:lnTo>
                    <a:pt x="266" y="6"/>
                  </a:lnTo>
                  <a:lnTo>
                    <a:pt x="271" y="9"/>
                  </a:lnTo>
                  <a:lnTo>
                    <a:pt x="277" y="11"/>
                  </a:lnTo>
                  <a:lnTo>
                    <a:pt x="281" y="15"/>
                  </a:lnTo>
                  <a:lnTo>
                    <a:pt x="285" y="20"/>
                  </a:lnTo>
                  <a:lnTo>
                    <a:pt x="289" y="26"/>
                  </a:lnTo>
                  <a:lnTo>
                    <a:pt x="291" y="30"/>
                  </a:lnTo>
                  <a:lnTo>
                    <a:pt x="293" y="37"/>
                  </a:lnTo>
                  <a:lnTo>
                    <a:pt x="294" y="43"/>
                  </a:lnTo>
                  <a:lnTo>
                    <a:pt x="289" y="40"/>
                  </a:lnTo>
                  <a:lnTo>
                    <a:pt x="283" y="37"/>
                  </a:lnTo>
                  <a:lnTo>
                    <a:pt x="278" y="35"/>
                  </a:lnTo>
                  <a:lnTo>
                    <a:pt x="272" y="34"/>
                  </a:lnTo>
                  <a:lnTo>
                    <a:pt x="268" y="33"/>
                  </a:lnTo>
                  <a:lnTo>
                    <a:pt x="262" y="33"/>
                  </a:lnTo>
                  <a:lnTo>
                    <a:pt x="258" y="34"/>
                  </a:lnTo>
                  <a:lnTo>
                    <a:pt x="253" y="35"/>
                  </a:lnTo>
                  <a:lnTo>
                    <a:pt x="249" y="37"/>
                  </a:lnTo>
                  <a:lnTo>
                    <a:pt x="244" y="40"/>
                  </a:lnTo>
                  <a:lnTo>
                    <a:pt x="241" y="43"/>
                  </a:lnTo>
                  <a:lnTo>
                    <a:pt x="238" y="46"/>
                  </a:lnTo>
                  <a:lnTo>
                    <a:pt x="236" y="49"/>
                  </a:lnTo>
                  <a:lnTo>
                    <a:pt x="233" y="52"/>
                  </a:lnTo>
                  <a:lnTo>
                    <a:pt x="232" y="57"/>
                  </a:lnTo>
                  <a:lnTo>
                    <a:pt x="231" y="61"/>
                  </a:lnTo>
                  <a:lnTo>
                    <a:pt x="231" y="65"/>
                  </a:lnTo>
                  <a:lnTo>
                    <a:pt x="231" y="67"/>
                  </a:lnTo>
                  <a:lnTo>
                    <a:pt x="232" y="71"/>
                  </a:lnTo>
                  <a:lnTo>
                    <a:pt x="232" y="75"/>
                  </a:lnTo>
                  <a:lnTo>
                    <a:pt x="235" y="78"/>
                  </a:lnTo>
                  <a:lnTo>
                    <a:pt x="236" y="82"/>
                  </a:lnTo>
                  <a:lnTo>
                    <a:pt x="238" y="85"/>
                  </a:lnTo>
                  <a:lnTo>
                    <a:pt x="241" y="88"/>
                  </a:lnTo>
                  <a:lnTo>
                    <a:pt x="244" y="92"/>
                  </a:lnTo>
                  <a:lnTo>
                    <a:pt x="248" y="95"/>
                  </a:lnTo>
                  <a:lnTo>
                    <a:pt x="252" y="98"/>
                  </a:lnTo>
                  <a:lnTo>
                    <a:pt x="258" y="101"/>
                  </a:lnTo>
                  <a:lnTo>
                    <a:pt x="264" y="103"/>
                  </a:lnTo>
                  <a:lnTo>
                    <a:pt x="271" y="106"/>
                  </a:lnTo>
                  <a:lnTo>
                    <a:pt x="279" y="108"/>
                  </a:lnTo>
                  <a:lnTo>
                    <a:pt x="288" y="110"/>
                  </a:lnTo>
                  <a:lnTo>
                    <a:pt x="291" y="110"/>
                  </a:lnTo>
                  <a:lnTo>
                    <a:pt x="295" y="111"/>
                  </a:lnTo>
                  <a:lnTo>
                    <a:pt x="299" y="111"/>
                  </a:lnTo>
                  <a:lnTo>
                    <a:pt x="303" y="111"/>
                  </a:lnTo>
                  <a:lnTo>
                    <a:pt x="308" y="112"/>
                  </a:lnTo>
                  <a:lnTo>
                    <a:pt x="312" y="112"/>
                  </a:lnTo>
                  <a:lnTo>
                    <a:pt x="318" y="111"/>
                  </a:lnTo>
                  <a:lnTo>
                    <a:pt x="323" y="111"/>
                  </a:lnTo>
                  <a:lnTo>
                    <a:pt x="329" y="111"/>
                  </a:lnTo>
                  <a:lnTo>
                    <a:pt x="335" y="111"/>
                  </a:lnTo>
                  <a:lnTo>
                    <a:pt x="342" y="110"/>
                  </a:lnTo>
                  <a:lnTo>
                    <a:pt x="348" y="110"/>
                  </a:lnTo>
                  <a:lnTo>
                    <a:pt x="357" y="110"/>
                  </a:lnTo>
                  <a:lnTo>
                    <a:pt x="365" y="110"/>
                  </a:lnTo>
                  <a:lnTo>
                    <a:pt x="375" y="110"/>
                  </a:lnTo>
                  <a:lnTo>
                    <a:pt x="385" y="110"/>
                  </a:lnTo>
                  <a:lnTo>
                    <a:pt x="0" y="108"/>
                  </a:lnTo>
                </a:path>
              </a:pathLst>
            </a:custGeom>
            <a:solidFill>
              <a:srgbClr val="C0E7F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285" name="Freeform 138">
              <a:extLst>
                <a:ext uri="{FF2B5EF4-FFF2-40B4-BE49-F238E27FC236}">
                  <a16:creationId xmlns:a16="http://schemas.microsoft.com/office/drawing/2014/main" id="{58BDA7AE-3D86-7866-BD78-1B9D85906B91}"/>
                </a:ext>
              </a:extLst>
            </p:cNvPr>
            <p:cNvSpPr>
              <a:spLocks/>
            </p:cNvSpPr>
            <p:nvPr/>
          </p:nvSpPr>
          <p:spPr bwMode="auto">
            <a:xfrm>
              <a:off x="3100" y="1676"/>
              <a:ext cx="365" cy="126"/>
            </a:xfrm>
            <a:custGeom>
              <a:avLst/>
              <a:gdLst>
                <a:gd name="T0" fmla="*/ 9 w 386"/>
                <a:gd name="T1" fmla="*/ 396 h 113"/>
                <a:gd name="T2" fmla="*/ 28 w 386"/>
                <a:gd name="T3" fmla="*/ 377 h 113"/>
                <a:gd name="T4" fmla="*/ 43 w 386"/>
                <a:gd name="T5" fmla="*/ 329 h 113"/>
                <a:gd name="T6" fmla="*/ 58 w 386"/>
                <a:gd name="T7" fmla="*/ 268 h 113"/>
                <a:gd name="T8" fmla="*/ 69 w 386"/>
                <a:gd name="T9" fmla="*/ 205 h 113"/>
                <a:gd name="T10" fmla="*/ 78 w 386"/>
                <a:gd name="T11" fmla="*/ 145 h 113"/>
                <a:gd name="T12" fmla="*/ 89 w 386"/>
                <a:gd name="T13" fmla="*/ 86 h 113"/>
                <a:gd name="T14" fmla="*/ 99 w 386"/>
                <a:gd name="T15" fmla="*/ 35 h 113"/>
                <a:gd name="T16" fmla="*/ 110 w 386"/>
                <a:gd name="T17" fmla="*/ 3 h 113"/>
                <a:gd name="T18" fmla="*/ 117 w 386"/>
                <a:gd name="T19" fmla="*/ 0 h 113"/>
                <a:gd name="T20" fmla="*/ 125 w 386"/>
                <a:gd name="T21" fmla="*/ 1 h 113"/>
                <a:gd name="T22" fmla="*/ 132 w 386"/>
                <a:gd name="T23" fmla="*/ 3 h 113"/>
                <a:gd name="T24" fmla="*/ 139 w 386"/>
                <a:gd name="T25" fmla="*/ 31 h 113"/>
                <a:gd name="T26" fmla="*/ 144 w 386"/>
                <a:gd name="T27" fmla="*/ 60 h 113"/>
                <a:gd name="T28" fmla="*/ 148 w 386"/>
                <a:gd name="T29" fmla="*/ 96 h 113"/>
                <a:gd name="T30" fmla="*/ 149 w 386"/>
                <a:gd name="T31" fmla="*/ 136 h 113"/>
                <a:gd name="T32" fmla="*/ 148 w 386"/>
                <a:gd name="T33" fmla="*/ 148 h 113"/>
                <a:gd name="T34" fmla="*/ 142 w 386"/>
                <a:gd name="T35" fmla="*/ 130 h 113"/>
                <a:gd name="T36" fmla="*/ 137 w 386"/>
                <a:gd name="T37" fmla="*/ 123 h 113"/>
                <a:gd name="T38" fmla="*/ 132 w 386"/>
                <a:gd name="T39" fmla="*/ 123 h 113"/>
                <a:gd name="T40" fmla="*/ 127 w 386"/>
                <a:gd name="T41" fmla="*/ 137 h 113"/>
                <a:gd name="T42" fmla="*/ 124 w 386"/>
                <a:gd name="T43" fmla="*/ 162 h 113"/>
                <a:gd name="T44" fmla="*/ 121 w 386"/>
                <a:gd name="T45" fmla="*/ 183 h 113"/>
                <a:gd name="T46" fmla="*/ 118 w 386"/>
                <a:gd name="T47" fmla="*/ 210 h 113"/>
                <a:gd name="T48" fmla="*/ 118 w 386"/>
                <a:gd name="T49" fmla="*/ 238 h 113"/>
                <a:gd name="T50" fmla="*/ 118 w 386"/>
                <a:gd name="T51" fmla="*/ 261 h 113"/>
                <a:gd name="T52" fmla="*/ 120 w 386"/>
                <a:gd name="T53" fmla="*/ 291 h 113"/>
                <a:gd name="T54" fmla="*/ 122 w 386"/>
                <a:gd name="T55" fmla="*/ 314 h 113"/>
                <a:gd name="T56" fmla="*/ 125 w 386"/>
                <a:gd name="T57" fmla="*/ 339 h 113"/>
                <a:gd name="T58" fmla="*/ 130 w 386"/>
                <a:gd name="T59" fmla="*/ 367 h 113"/>
                <a:gd name="T60" fmla="*/ 135 w 386"/>
                <a:gd name="T61" fmla="*/ 387 h 113"/>
                <a:gd name="T62" fmla="*/ 143 w 386"/>
                <a:gd name="T63" fmla="*/ 403 h 113"/>
                <a:gd name="T64" fmla="*/ 148 w 386"/>
                <a:gd name="T65" fmla="*/ 411 h 113"/>
                <a:gd name="T66" fmla="*/ 153 w 386"/>
                <a:gd name="T67" fmla="*/ 414 h 113"/>
                <a:gd name="T68" fmla="*/ 157 w 386"/>
                <a:gd name="T69" fmla="*/ 414 h 113"/>
                <a:gd name="T70" fmla="*/ 163 w 386"/>
                <a:gd name="T71" fmla="*/ 414 h 113"/>
                <a:gd name="T72" fmla="*/ 168 w 386"/>
                <a:gd name="T73" fmla="*/ 414 h 113"/>
                <a:gd name="T74" fmla="*/ 173 w 386"/>
                <a:gd name="T75" fmla="*/ 411 h 113"/>
                <a:gd name="T76" fmla="*/ 183 w 386"/>
                <a:gd name="T77" fmla="*/ 411 h 113"/>
                <a:gd name="T78" fmla="*/ 192 w 386"/>
                <a:gd name="T79" fmla="*/ 411 h 113"/>
                <a:gd name="T80" fmla="*/ 0 w 386"/>
                <a:gd name="T81" fmla="*/ 403 h 1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6"/>
                <a:gd name="T124" fmla="*/ 0 h 113"/>
                <a:gd name="T125" fmla="*/ 386 w 386"/>
                <a:gd name="T126" fmla="*/ 113 h 11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6" h="113">
                  <a:moveTo>
                    <a:pt x="0" y="109"/>
                  </a:moveTo>
                  <a:lnTo>
                    <a:pt x="21" y="108"/>
                  </a:lnTo>
                  <a:lnTo>
                    <a:pt x="40" y="105"/>
                  </a:lnTo>
                  <a:lnTo>
                    <a:pt x="56" y="102"/>
                  </a:lnTo>
                  <a:lnTo>
                    <a:pt x="73" y="96"/>
                  </a:lnTo>
                  <a:lnTo>
                    <a:pt x="86" y="89"/>
                  </a:lnTo>
                  <a:lnTo>
                    <a:pt x="100" y="82"/>
                  </a:lnTo>
                  <a:lnTo>
                    <a:pt x="112" y="73"/>
                  </a:lnTo>
                  <a:lnTo>
                    <a:pt x="123" y="65"/>
                  </a:lnTo>
                  <a:lnTo>
                    <a:pt x="133" y="56"/>
                  </a:lnTo>
                  <a:lnTo>
                    <a:pt x="144" y="47"/>
                  </a:lnTo>
                  <a:lnTo>
                    <a:pt x="154" y="39"/>
                  </a:lnTo>
                  <a:lnTo>
                    <a:pt x="163" y="30"/>
                  </a:lnTo>
                  <a:lnTo>
                    <a:pt x="173" y="23"/>
                  </a:lnTo>
                  <a:lnTo>
                    <a:pt x="183" y="16"/>
                  </a:lnTo>
                  <a:lnTo>
                    <a:pt x="194" y="10"/>
                  </a:lnTo>
                  <a:lnTo>
                    <a:pt x="206" y="6"/>
                  </a:lnTo>
                  <a:lnTo>
                    <a:pt x="214" y="3"/>
                  </a:lnTo>
                  <a:lnTo>
                    <a:pt x="222" y="2"/>
                  </a:lnTo>
                  <a:lnTo>
                    <a:pt x="230" y="0"/>
                  </a:lnTo>
                  <a:lnTo>
                    <a:pt x="238" y="0"/>
                  </a:lnTo>
                  <a:lnTo>
                    <a:pt x="246" y="1"/>
                  </a:lnTo>
                  <a:lnTo>
                    <a:pt x="252" y="2"/>
                  </a:lnTo>
                  <a:lnTo>
                    <a:pt x="259" y="3"/>
                  </a:lnTo>
                  <a:lnTo>
                    <a:pt x="266" y="6"/>
                  </a:lnTo>
                  <a:lnTo>
                    <a:pt x="271" y="9"/>
                  </a:lnTo>
                  <a:lnTo>
                    <a:pt x="277" y="12"/>
                  </a:lnTo>
                  <a:lnTo>
                    <a:pt x="281" y="16"/>
                  </a:lnTo>
                  <a:lnTo>
                    <a:pt x="285" y="20"/>
                  </a:lnTo>
                  <a:lnTo>
                    <a:pt x="289" y="26"/>
                  </a:lnTo>
                  <a:lnTo>
                    <a:pt x="291" y="31"/>
                  </a:lnTo>
                  <a:lnTo>
                    <a:pt x="292" y="37"/>
                  </a:lnTo>
                  <a:lnTo>
                    <a:pt x="294" y="44"/>
                  </a:lnTo>
                  <a:lnTo>
                    <a:pt x="289" y="40"/>
                  </a:lnTo>
                  <a:lnTo>
                    <a:pt x="283" y="37"/>
                  </a:lnTo>
                  <a:lnTo>
                    <a:pt x="278" y="35"/>
                  </a:lnTo>
                  <a:lnTo>
                    <a:pt x="272" y="34"/>
                  </a:lnTo>
                  <a:lnTo>
                    <a:pt x="268" y="34"/>
                  </a:lnTo>
                  <a:lnTo>
                    <a:pt x="262" y="34"/>
                  </a:lnTo>
                  <a:lnTo>
                    <a:pt x="258" y="34"/>
                  </a:lnTo>
                  <a:lnTo>
                    <a:pt x="253" y="36"/>
                  </a:lnTo>
                  <a:lnTo>
                    <a:pt x="249" y="38"/>
                  </a:lnTo>
                  <a:lnTo>
                    <a:pt x="246" y="40"/>
                  </a:lnTo>
                  <a:lnTo>
                    <a:pt x="242" y="43"/>
                  </a:lnTo>
                  <a:lnTo>
                    <a:pt x="239" y="46"/>
                  </a:lnTo>
                  <a:lnTo>
                    <a:pt x="237" y="49"/>
                  </a:lnTo>
                  <a:lnTo>
                    <a:pt x="235" y="53"/>
                  </a:lnTo>
                  <a:lnTo>
                    <a:pt x="232" y="57"/>
                  </a:lnTo>
                  <a:lnTo>
                    <a:pt x="232" y="62"/>
                  </a:lnTo>
                  <a:lnTo>
                    <a:pt x="232" y="65"/>
                  </a:lnTo>
                  <a:lnTo>
                    <a:pt x="232" y="68"/>
                  </a:lnTo>
                  <a:lnTo>
                    <a:pt x="232" y="71"/>
                  </a:lnTo>
                  <a:lnTo>
                    <a:pt x="233" y="75"/>
                  </a:lnTo>
                  <a:lnTo>
                    <a:pt x="235" y="79"/>
                  </a:lnTo>
                  <a:lnTo>
                    <a:pt x="236" y="83"/>
                  </a:lnTo>
                  <a:lnTo>
                    <a:pt x="238" y="85"/>
                  </a:lnTo>
                  <a:lnTo>
                    <a:pt x="241" y="89"/>
                  </a:lnTo>
                  <a:lnTo>
                    <a:pt x="244" y="92"/>
                  </a:lnTo>
                  <a:lnTo>
                    <a:pt x="249" y="96"/>
                  </a:lnTo>
                  <a:lnTo>
                    <a:pt x="253" y="99"/>
                  </a:lnTo>
                  <a:lnTo>
                    <a:pt x="258" y="102"/>
                  </a:lnTo>
                  <a:lnTo>
                    <a:pt x="264" y="104"/>
                  </a:lnTo>
                  <a:lnTo>
                    <a:pt x="271" y="106"/>
                  </a:lnTo>
                  <a:lnTo>
                    <a:pt x="279" y="109"/>
                  </a:lnTo>
                  <a:lnTo>
                    <a:pt x="288" y="111"/>
                  </a:lnTo>
                  <a:lnTo>
                    <a:pt x="291" y="111"/>
                  </a:lnTo>
                  <a:lnTo>
                    <a:pt x="295" y="111"/>
                  </a:lnTo>
                  <a:lnTo>
                    <a:pt x="299" y="112"/>
                  </a:lnTo>
                  <a:lnTo>
                    <a:pt x="303" y="112"/>
                  </a:lnTo>
                  <a:lnTo>
                    <a:pt x="308" y="112"/>
                  </a:lnTo>
                  <a:lnTo>
                    <a:pt x="313" y="112"/>
                  </a:lnTo>
                  <a:lnTo>
                    <a:pt x="318" y="112"/>
                  </a:lnTo>
                  <a:lnTo>
                    <a:pt x="323" y="112"/>
                  </a:lnTo>
                  <a:lnTo>
                    <a:pt x="329" y="112"/>
                  </a:lnTo>
                  <a:lnTo>
                    <a:pt x="335" y="111"/>
                  </a:lnTo>
                  <a:lnTo>
                    <a:pt x="342" y="111"/>
                  </a:lnTo>
                  <a:lnTo>
                    <a:pt x="350" y="111"/>
                  </a:lnTo>
                  <a:lnTo>
                    <a:pt x="357" y="111"/>
                  </a:lnTo>
                  <a:lnTo>
                    <a:pt x="366" y="111"/>
                  </a:lnTo>
                  <a:lnTo>
                    <a:pt x="375" y="111"/>
                  </a:lnTo>
                  <a:lnTo>
                    <a:pt x="385" y="111"/>
                  </a:lnTo>
                  <a:lnTo>
                    <a:pt x="0" y="109"/>
                  </a:lnTo>
                </a:path>
              </a:pathLst>
            </a:custGeom>
            <a:solidFill>
              <a:srgbClr val="C0E7F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286" name="Line 139">
              <a:extLst>
                <a:ext uri="{FF2B5EF4-FFF2-40B4-BE49-F238E27FC236}">
                  <a16:creationId xmlns:a16="http://schemas.microsoft.com/office/drawing/2014/main" id="{0006C2D7-D8E1-9E6F-7237-5BAF17D86415}"/>
                </a:ext>
              </a:extLst>
            </p:cNvPr>
            <p:cNvSpPr>
              <a:spLocks noChangeShapeType="1"/>
            </p:cNvSpPr>
            <p:nvPr/>
          </p:nvSpPr>
          <p:spPr bwMode="auto">
            <a:xfrm>
              <a:off x="2377" y="1896"/>
              <a:ext cx="0" cy="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287" name="Freeform 140">
              <a:extLst>
                <a:ext uri="{FF2B5EF4-FFF2-40B4-BE49-F238E27FC236}">
                  <a16:creationId xmlns:a16="http://schemas.microsoft.com/office/drawing/2014/main" id="{D4F0B660-A919-B21E-20C5-16F2AEDB2DB5}"/>
                </a:ext>
              </a:extLst>
            </p:cNvPr>
            <p:cNvSpPr>
              <a:spLocks/>
            </p:cNvSpPr>
            <p:nvPr/>
          </p:nvSpPr>
          <p:spPr bwMode="auto">
            <a:xfrm>
              <a:off x="2377" y="1793"/>
              <a:ext cx="16" cy="106"/>
            </a:xfrm>
            <a:custGeom>
              <a:avLst/>
              <a:gdLst>
                <a:gd name="T0" fmla="*/ 0 w 17"/>
                <a:gd name="T1" fmla="*/ 351 h 95"/>
                <a:gd name="T2" fmla="*/ 5 w 17"/>
                <a:gd name="T3" fmla="*/ 346 h 95"/>
                <a:gd name="T4" fmla="*/ 8 w 17"/>
                <a:gd name="T5" fmla="*/ 331 h 95"/>
                <a:gd name="T6" fmla="*/ 8 w 17"/>
                <a:gd name="T7" fmla="*/ 316 h 95"/>
                <a:gd name="T8" fmla="*/ 8 w 17"/>
                <a:gd name="T9" fmla="*/ 297 h 95"/>
                <a:gd name="T10" fmla="*/ 8 w 17"/>
                <a:gd name="T11" fmla="*/ 279 h 95"/>
                <a:gd name="T12" fmla="*/ 8 w 17"/>
                <a:gd name="T13" fmla="*/ 253 h 95"/>
                <a:gd name="T14" fmla="*/ 8 w 17"/>
                <a:gd name="T15" fmla="*/ 227 h 95"/>
                <a:gd name="T16" fmla="*/ 8 w 17"/>
                <a:gd name="T17" fmla="*/ 193 h 95"/>
                <a:gd name="T18" fmla="*/ 8 w 17"/>
                <a:gd name="T19" fmla="*/ 164 h 95"/>
                <a:gd name="T20" fmla="*/ 8 w 17"/>
                <a:gd name="T21" fmla="*/ 136 h 95"/>
                <a:gd name="T22" fmla="*/ 8 w 17"/>
                <a:gd name="T23" fmla="*/ 107 h 95"/>
                <a:gd name="T24" fmla="*/ 8 w 17"/>
                <a:gd name="T25" fmla="*/ 85 h 95"/>
                <a:gd name="T26" fmla="*/ 8 w 17"/>
                <a:gd name="T27" fmla="*/ 56 h 95"/>
                <a:gd name="T28" fmla="*/ 8 w 17"/>
                <a:gd name="T29" fmla="*/ 32 h 95"/>
                <a:gd name="T30" fmla="*/ 8 w 17"/>
                <a:gd name="T31" fmla="*/ 4 h 95"/>
                <a:gd name="T32" fmla="*/ 8 w 17"/>
                <a:gd name="T33" fmla="*/ 0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
                <a:gd name="T52" fmla="*/ 0 h 95"/>
                <a:gd name="T53" fmla="*/ 17 w 17"/>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 h="95">
                  <a:moveTo>
                    <a:pt x="0" y="94"/>
                  </a:moveTo>
                  <a:lnTo>
                    <a:pt x="5" y="92"/>
                  </a:lnTo>
                  <a:lnTo>
                    <a:pt x="9" y="89"/>
                  </a:lnTo>
                  <a:lnTo>
                    <a:pt x="13" y="85"/>
                  </a:lnTo>
                  <a:lnTo>
                    <a:pt x="14" y="80"/>
                  </a:lnTo>
                  <a:lnTo>
                    <a:pt x="15" y="74"/>
                  </a:lnTo>
                  <a:lnTo>
                    <a:pt x="16" y="67"/>
                  </a:lnTo>
                  <a:lnTo>
                    <a:pt x="16" y="60"/>
                  </a:lnTo>
                  <a:lnTo>
                    <a:pt x="15" y="52"/>
                  </a:lnTo>
                  <a:lnTo>
                    <a:pt x="15" y="44"/>
                  </a:lnTo>
                  <a:lnTo>
                    <a:pt x="14" y="37"/>
                  </a:lnTo>
                  <a:lnTo>
                    <a:pt x="13" y="29"/>
                  </a:lnTo>
                  <a:lnTo>
                    <a:pt x="11" y="22"/>
                  </a:lnTo>
                  <a:lnTo>
                    <a:pt x="9" y="15"/>
                  </a:lnTo>
                  <a:lnTo>
                    <a:pt x="8" y="9"/>
                  </a:lnTo>
                  <a:lnTo>
                    <a:pt x="8" y="4"/>
                  </a:lnTo>
                  <a:lnTo>
                    <a:pt x="8"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288" name="Line 141">
              <a:extLst>
                <a:ext uri="{FF2B5EF4-FFF2-40B4-BE49-F238E27FC236}">
                  <a16:creationId xmlns:a16="http://schemas.microsoft.com/office/drawing/2014/main" id="{E8F01AAF-E984-DE9C-3048-F8E37880DAA4}"/>
                </a:ext>
              </a:extLst>
            </p:cNvPr>
            <p:cNvSpPr>
              <a:spLocks noChangeShapeType="1"/>
            </p:cNvSpPr>
            <p:nvPr/>
          </p:nvSpPr>
          <p:spPr bwMode="auto">
            <a:xfrm flipV="1">
              <a:off x="2377" y="1891"/>
              <a:ext cx="0"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289" name="Line 142">
              <a:extLst>
                <a:ext uri="{FF2B5EF4-FFF2-40B4-BE49-F238E27FC236}">
                  <a16:creationId xmlns:a16="http://schemas.microsoft.com/office/drawing/2014/main" id="{F351BC9B-E4A3-3B59-3710-29DE2B5E399B}"/>
                </a:ext>
              </a:extLst>
            </p:cNvPr>
            <p:cNvSpPr>
              <a:spLocks noChangeShapeType="1"/>
            </p:cNvSpPr>
            <p:nvPr/>
          </p:nvSpPr>
          <p:spPr bwMode="auto">
            <a:xfrm>
              <a:off x="2381" y="1793"/>
              <a:ext cx="6"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290" name="Freeform 143">
              <a:extLst>
                <a:ext uri="{FF2B5EF4-FFF2-40B4-BE49-F238E27FC236}">
                  <a16:creationId xmlns:a16="http://schemas.microsoft.com/office/drawing/2014/main" id="{BD0474AD-167F-C5AB-F4F8-E4FD783A809B}"/>
                </a:ext>
              </a:extLst>
            </p:cNvPr>
            <p:cNvSpPr>
              <a:spLocks/>
            </p:cNvSpPr>
            <p:nvPr/>
          </p:nvSpPr>
          <p:spPr bwMode="auto">
            <a:xfrm>
              <a:off x="2384" y="1762"/>
              <a:ext cx="96" cy="32"/>
            </a:xfrm>
            <a:custGeom>
              <a:avLst/>
              <a:gdLst>
                <a:gd name="T0" fmla="*/ 0 w 101"/>
                <a:gd name="T1" fmla="*/ 92 h 29"/>
                <a:gd name="T2" fmla="*/ 0 w 101"/>
                <a:gd name="T3" fmla="*/ 83 h 29"/>
                <a:gd name="T4" fmla="*/ 2 w 101"/>
                <a:gd name="T5" fmla="*/ 70 h 29"/>
                <a:gd name="T6" fmla="*/ 6 w 101"/>
                <a:gd name="T7" fmla="*/ 62 h 29"/>
                <a:gd name="T8" fmla="*/ 9 w 101"/>
                <a:gd name="T9" fmla="*/ 56 h 29"/>
                <a:gd name="T10" fmla="*/ 10 w 101"/>
                <a:gd name="T11" fmla="*/ 51 h 29"/>
                <a:gd name="T12" fmla="*/ 10 w 101"/>
                <a:gd name="T13" fmla="*/ 42 h 29"/>
                <a:gd name="T14" fmla="*/ 14 w 101"/>
                <a:gd name="T15" fmla="*/ 38 h 29"/>
                <a:gd name="T16" fmla="*/ 19 w 101"/>
                <a:gd name="T17" fmla="*/ 34 h 29"/>
                <a:gd name="T18" fmla="*/ 23 w 101"/>
                <a:gd name="T19" fmla="*/ 28 h 29"/>
                <a:gd name="T20" fmla="*/ 27 w 101"/>
                <a:gd name="T21" fmla="*/ 25 h 29"/>
                <a:gd name="T22" fmla="*/ 30 w 101"/>
                <a:gd name="T23" fmla="*/ 23 h 29"/>
                <a:gd name="T24" fmla="*/ 36 w 101"/>
                <a:gd name="T25" fmla="*/ 21 h 29"/>
                <a:gd name="T26" fmla="*/ 41 w 101"/>
                <a:gd name="T27" fmla="*/ 19 h 29"/>
                <a:gd name="T28" fmla="*/ 45 w 101"/>
                <a:gd name="T29" fmla="*/ 3 h 29"/>
                <a:gd name="T30" fmla="*/ 49 w 101"/>
                <a:gd name="T31" fmla="*/ 2 h 29"/>
                <a:gd name="T32" fmla="*/ 55 w 101"/>
                <a:gd name="T33" fmla="*/ 0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1"/>
                <a:gd name="T52" fmla="*/ 0 h 29"/>
                <a:gd name="T53" fmla="*/ 101 w 101"/>
                <a:gd name="T54" fmla="*/ 29 h 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1" h="29">
                  <a:moveTo>
                    <a:pt x="0" y="28"/>
                  </a:moveTo>
                  <a:lnTo>
                    <a:pt x="0" y="25"/>
                  </a:lnTo>
                  <a:lnTo>
                    <a:pt x="2" y="22"/>
                  </a:lnTo>
                  <a:lnTo>
                    <a:pt x="6" y="19"/>
                  </a:lnTo>
                  <a:lnTo>
                    <a:pt x="9" y="17"/>
                  </a:lnTo>
                  <a:lnTo>
                    <a:pt x="13" y="15"/>
                  </a:lnTo>
                  <a:lnTo>
                    <a:pt x="19" y="13"/>
                  </a:lnTo>
                  <a:lnTo>
                    <a:pt x="26" y="12"/>
                  </a:lnTo>
                  <a:lnTo>
                    <a:pt x="33" y="11"/>
                  </a:lnTo>
                  <a:lnTo>
                    <a:pt x="40" y="9"/>
                  </a:lnTo>
                  <a:lnTo>
                    <a:pt x="48" y="8"/>
                  </a:lnTo>
                  <a:lnTo>
                    <a:pt x="56" y="7"/>
                  </a:lnTo>
                  <a:lnTo>
                    <a:pt x="65" y="6"/>
                  </a:lnTo>
                  <a:lnTo>
                    <a:pt x="74" y="5"/>
                  </a:lnTo>
                  <a:lnTo>
                    <a:pt x="83" y="3"/>
                  </a:lnTo>
                  <a:lnTo>
                    <a:pt x="91" y="2"/>
                  </a:lnTo>
                  <a:lnTo>
                    <a:pt x="100"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291" name="Line 144">
              <a:extLst>
                <a:ext uri="{FF2B5EF4-FFF2-40B4-BE49-F238E27FC236}">
                  <a16:creationId xmlns:a16="http://schemas.microsoft.com/office/drawing/2014/main" id="{52886B3A-76BA-1603-953A-BE66ABAF8322}"/>
                </a:ext>
              </a:extLst>
            </p:cNvPr>
            <p:cNvSpPr>
              <a:spLocks noChangeShapeType="1"/>
            </p:cNvSpPr>
            <p:nvPr/>
          </p:nvSpPr>
          <p:spPr bwMode="auto">
            <a:xfrm flipH="1">
              <a:off x="2377" y="1793"/>
              <a:ext cx="14"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292" name="Line 145">
              <a:extLst>
                <a:ext uri="{FF2B5EF4-FFF2-40B4-BE49-F238E27FC236}">
                  <a16:creationId xmlns:a16="http://schemas.microsoft.com/office/drawing/2014/main" id="{C73C7D2C-9383-F2D7-84FE-DAD32AF436C2}"/>
                </a:ext>
              </a:extLst>
            </p:cNvPr>
            <p:cNvSpPr>
              <a:spLocks noChangeShapeType="1"/>
            </p:cNvSpPr>
            <p:nvPr/>
          </p:nvSpPr>
          <p:spPr bwMode="auto">
            <a:xfrm>
              <a:off x="2479" y="1760"/>
              <a:ext cx="1" cy="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293" name="Freeform 146">
              <a:extLst>
                <a:ext uri="{FF2B5EF4-FFF2-40B4-BE49-F238E27FC236}">
                  <a16:creationId xmlns:a16="http://schemas.microsoft.com/office/drawing/2014/main" id="{BE8F54A9-BB0E-0F1E-13E1-8BEE72FF7AD5}"/>
                </a:ext>
              </a:extLst>
            </p:cNvPr>
            <p:cNvSpPr>
              <a:spLocks/>
            </p:cNvSpPr>
            <p:nvPr/>
          </p:nvSpPr>
          <p:spPr bwMode="auto">
            <a:xfrm>
              <a:off x="2479" y="1603"/>
              <a:ext cx="33" cy="106"/>
            </a:xfrm>
            <a:custGeom>
              <a:avLst/>
              <a:gdLst>
                <a:gd name="T0" fmla="*/ 0 w 35"/>
                <a:gd name="T1" fmla="*/ 351 h 95"/>
                <a:gd name="T2" fmla="*/ 8 w 35"/>
                <a:gd name="T3" fmla="*/ 338 h 95"/>
                <a:gd name="T4" fmla="*/ 8 w 35"/>
                <a:gd name="T5" fmla="*/ 324 h 95"/>
                <a:gd name="T6" fmla="*/ 8 w 35"/>
                <a:gd name="T7" fmla="*/ 303 h 95"/>
                <a:gd name="T8" fmla="*/ 13 w 35"/>
                <a:gd name="T9" fmla="*/ 282 h 95"/>
                <a:gd name="T10" fmla="*/ 15 w 35"/>
                <a:gd name="T11" fmla="*/ 254 h 95"/>
                <a:gd name="T12" fmla="*/ 17 w 35"/>
                <a:gd name="T13" fmla="*/ 227 h 95"/>
                <a:gd name="T14" fmla="*/ 17 w 35"/>
                <a:gd name="T15" fmla="*/ 193 h 95"/>
                <a:gd name="T16" fmla="*/ 18 w 35"/>
                <a:gd name="T17" fmla="*/ 163 h 95"/>
                <a:gd name="T18" fmla="*/ 18 w 35"/>
                <a:gd name="T19" fmla="*/ 132 h 95"/>
                <a:gd name="T20" fmla="*/ 18 w 35"/>
                <a:gd name="T21" fmla="*/ 98 h 95"/>
                <a:gd name="T22" fmla="*/ 18 w 35"/>
                <a:gd name="T23" fmla="*/ 76 h 95"/>
                <a:gd name="T24" fmla="*/ 18 w 35"/>
                <a:gd name="T25" fmla="*/ 55 h 95"/>
                <a:gd name="T26" fmla="*/ 17 w 35"/>
                <a:gd name="T27" fmla="*/ 29 h 95"/>
                <a:gd name="T28" fmla="*/ 17 w 35"/>
                <a:gd name="T29" fmla="*/ 4 h 95"/>
                <a:gd name="T30" fmla="*/ 17 w 35"/>
                <a:gd name="T31" fmla="*/ 1 h 95"/>
                <a:gd name="T32" fmla="*/ 17 w 35"/>
                <a:gd name="T33" fmla="*/ 0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95"/>
                <a:gd name="T53" fmla="*/ 35 w 35"/>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95">
                  <a:moveTo>
                    <a:pt x="0" y="94"/>
                  </a:moveTo>
                  <a:lnTo>
                    <a:pt x="9" y="91"/>
                  </a:lnTo>
                  <a:lnTo>
                    <a:pt x="15" y="87"/>
                  </a:lnTo>
                  <a:lnTo>
                    <a:pt x="20" y="82"/>
                  </a:lnTo>
                  <a:lnTo>
                    <a:pt x="25" y="75"/>
                  </a:lnTo>
                  <a:lnTo>
                    <a:pt x="28" y="68"/>
                  </a:lnTo>
                  <a:lnTo>
                    <a:pt x="32" y="60"/>
                  </a:lnTo>
                  <a:lnTo>
                    <a:pt x="33" y="52"/>
                  </a:lnTo>
                  <a:lnTo>
                    <a:pt x="34" y="43"/>
                  </a:lnTo>
                  <a:lnTo>
                    <a:pt x="34" y="35"/>
                  </a:lnTo>
                  <a:lnTo>
                    <a:pt x="34" y="27"/>
                  </a:lnTo>
                  <a:lnTo>
                    <a:pt x="34" y="20"/>
                  </a:lnTo>
                  <a:lnTo>
                    <a:pt x="34" y="14"/>
                  </a:lnTo>
                  <a:lnTo>
                    <a:pt x="33" y="8"/>
                  </a:lnTo>
                  <a:lnTo>
                    <a:pt x="33" y="4"/>
                  </a:lnTo>
                  <a:lnTo>
                    <a:pt x="32" y="1"/>
                  </a:lnTo>
                  <a:lnTo>
                    <a:pt x="32"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294" name="Line 147">
              <a:extLst>
                <a:ext uri="{FF2B5EF4-FFF2-40B4-BE49-F238E27FC236}">
                  <a16:creationId xmlns:a16="http://schemas.microsoft.com/office/drawing/2014/main" id="{281D75B5-868E-F7CF-58B9-1EE21EEF4BAD}"/>
                </a:ext>
              </a:extLst>
            </p:cNvPr>
            <p:cNvSpPr>
              <a:spLocks noChangeShapeType="1"/>
            </p:cNvSpPr>
            <p:nvPr/>
          </p:nvSpPr>
          <p:spPr bwMode="auto">
            <a:xfrm flipH="1" flipV="1">
              <a:off x="3498" y="1809"/>
              <a:ext cx="9" cy="1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295" name="Line 148">
              <a:extLst>
                <a:ext uri="{FF2B5EF4-FFF2-40B4-BE49-F238E27FC236}">
                  <a16:creationId xmlns:a16="http://schemas.microsoft.com/office/drawing/2014/main" id="{B451F978-A1D4-61E0-61DE-D0C0974CBDBB}"/>
                </a:ext>
              </a:extLst>
            </p:cNvPr>
            <p:cNvSpPr>
              <a:spLocks noChangeShapeType="1"/>
            </p:cNvSpPr>
            <p:nvPr/>
          </p:nvSpPr>
          <p:spPr bwMode="auto">
            <a:xfrm flipV="1">
              <a:off x="2507" y="1652"/>
              <a:ext cx="5" cy="1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296" name="Freeform 149">
              <a:extLst>
                <a:ext uri="{FF2B5EF4-FFF2-40B4-BE49-F238E27FC236}">
                  <a16:creationId xmlns:a16="http://schemas.microsoft.com/office/drawing/2014/main" id="{07CFD97D-D6D1-0949-715C-28DD1C47006E}"/>
                </a:ext>
              </a:extLst>
            </p:cNvPr>
            <p:cNvSpPr>
              <a:spLocks/>
            </p:cNvSpPr>
            <p:nvPr/>
          </p:nvSpPr>
          <p:spPr bwMode="auto">
            <a:xfrm>
              <a:off x="2509" y="1484"/>
              <a:ext cx="9" cy="174"/>
            </a:xfrm>
            <a:custGeom>
              <a:avLst/>
              <a:gdLst>
                <a:gd name="T0" fmla="*/ 0 w 9"/>
                <a:gd name="T1" fmla="*/ 578 h 156"/>
                <a:gd name="T2" fmla="*/ 0 w 9"/>
                <a:gd name="T3" fmla="*/ 573 h 156"/>
                <a:gd name="T4" fmla="*/ 1 w 9"/>
                <a:gd name="T5" fmla="*/ 552 h 156"/>
                <a:gd name="T6" fmla="*/ 1 w 9"/>
                <a:gd name="T7" fmla="*/ 533 h 156"/>
                <a:gd name="T8" fmla="*/ 1 w 9"/>
                <a:gd name="T9" fmla="*/ 495 h 156"/>
                <a:gd name="T10" fmla="*/ 2 w 9"/>
                <a:gd name="T11" fmla="*/ 461 h 156"/>
                <a:gd name="T12" fmla="*/ 2 w 9"/>
                <a:gd name="T13" fmla="*/ 416 h 156"/>
                <a:gd name="T14" fmla="*/ 3 w 9"/>
                <a:gd name="T15" fmla="*/ 373 h 156"/>
                <a:gd name="T16" fmla="*/ 5 w 9"/>
                <a:gd name="T17" fmla="*/ 320 h 156"/>
                <a:gd name="T18" fmla="*/ 5 w 9"/>
                <a:gd name="T19" fmla="*/ 268 h 156"/>
                <a:gd name="T20" fmla="*/ 6 w 9"/>
                <a:gd name="T21" fmla="*/ 225 h 156"/>
                <a:gd name="T22" fmla="*/ 7 w 9"/>
                <a:gd name="T23" fmla="*/ 173 h 156"/>
                <a:gd name="T24" fmla="*/ 7 w 9"/>
                <a:gd name="T25" fmla="*/ 125 h 156"/>
                <a:gd name="T26" fmla="*/ 8 w 9"/>
                <a:gd name="T27" fmla="*/ 86 h 156"/>
                <a:gd name="T28" fmla="*/ 8 w 9"/>
                <a:gd name="T29" fmla="*/ 55 h 156"/>
                <a:gd name="T30" fmla="*/ 8 w 9"/>
                <a:gd name="T31" fmla="*/ 22 h 156"/>
                <a:gd name="T32" fmla="*/ 8 w 9"/>
                <a:gd name="T33" fmla="*/ 0 h 1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
                <a:gd name="T52" fmla="*/ 0 h 156"/>
                <a:gd name="T53" fmla="*/ 9 w 9"/>
                <a:gd name="T54" fmla="*/ 156 h 15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 h="156">
                  <a:moveTo>
                    <a:pt x="0" y="155"/>
                  </a:moveTo>
                  <a:lnTo>
                    <a:pt x="0" y="154"/>
                  </a:lnTo>
                  <a:lnTo>
                    <a:pt x="1" y="149"/>
                  </a:lnTo>
                  <a:lnTo>
                    <a:pt x="1" y="143"/>
                  </a:lnTo>
                  <a:lnTo>
                    <a:pt x="1" y="134"/>
                  </a:lnTo>
                  <a:lnTo>
                    <a:pt x="2" y="124"/>
                  </a:lnTo>
                  <a:lnTo>
                    <a:pt x="2" y="112"/>
                  </a:lnTo>
                  <a:lnTo>
                    <a:pt x="3" y="100"/>
                  </a:lnTo>
                  <a:lnTo>
                    <a:pt x="5" y="87"/>
                  </a:lnTo>
                  <a:lnTo>
                    <a:pt x="5" y="73"/>
                  </a:lnTo>
                  <a:lnTo>
                    <a:pt x="6" y="60"/>
                  </a:lnTo>
                  <a:lnTo>
                    <a:pt x="7" y="47"/>
                  </a:lnTo>
                  <a:lnTo>
                    <a:pt x="7" y="34"/>
                  </a:lnTo>
                  <a:lnTo>
                    <a:pt x="8" y="23"/>
                  </a:lnTo>
                  <a:lnTo>
                    <a:pt x="8" y="14"/>
                  </a:lnTo>
                  <a:lnTo>
                    <a:pt x="8" y="6"/>
                  </a:lnTo>
                  <a:lnTo>
                    <a:pt x="8"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297" name="Line 150">
              <a:extLst>
                <a:ext uri="{FF2B5EF4-FFF2-40B4-BE49-F238E27FC236}">
                  <a16:creationId xmlns:a16="http://schemas.microsoft.com/office/drawing/2014/main" id="{A63D1EA9-9C50-DC92-C213-28F3477651A9}"/>
                </a:ext>
              </a:extLst>
            </p:cNvPr>
            <p:cNvSpPr>
              <a:spLocks noChangeShapeType="1"/>
            </p:cNvSpPr>
            <p:nvPr/>
          </p:nvSpPr>
          <p:spPr bwMode="auto">
            <a:xfrm flipH="1">
              <a:off x="2503" y="1657"/>
              <a:ext cx="13"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298" name="Line 151">
              <a:extLst>
                <a:ext uri="{FF2B5EF4-FFF2-40B4-BE49-F238E27FC236}">
                  <a16:creationId xmlns:a16="http://schemas.microsoft.com/office/drawing/2014/main" id="{623F46F8-A24C-E90C-5129-FA53B783F3C7}"/>
                </a:ext>
              </a:extLst>
            </p:cNvPr>
            <p:cNvSpPr>
              <a:spLocks noChangeShapeType="1"/>
            </p:cNvSpPr>
            <p:nvPr/>
          </p:nvSpPr>
          <p:spPr bwMode="auto">
            <a:xfrm>
              <a:off x="2514" y="1484"/>
              <a:ext cx="6"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299" name="Freeform 152">
              <a:extLst>
                <a:ext uri="{FF2B5EF4-FFF2-40B4-BE49-F238E27FC236}">
                  <a16:creationId xmlns:a16="http://schemas.microsoft.com/office/drawing/2014/main" id="{247316A6-D9E2-30D9-212F-613EE7695ED1}"/>
                </a:ext>
              </a:extLst>
            </p:cNvPr>
            <p:cNvSpPr>
              <a:spLocks/>
            </p:cNvSpPr>
            <p:nvPr/>
          </p:nvSpPr>
          <p:spPr bwMode="auto">
            <a:xfrm>
              <a:off x="2516" y="1338"/>
              <a:ext cx="46" cy="147"/>
            </a:xfrm>
            <a:custGeom>
              <a:avLst/>
              <a:gdLst>
                <a:gd name="T0" fmla="*/ 0 w 49"/>
                <a:gd name="T1" fmla="*/ 482 h 132"/>
                <a:gd name="T2" fmla="*/ 0 w 49"/>
                <a:gd name="T3" fmla="*/ 459 h 132"/>
                <a:gd name="T4" fmla="*/ 1 w 49"/>
                <a:gd name="T5" fmla="*/ 435 h 132"/>
                <a:gd name="T6" fmla="*/ 2 w 49"/>
                <a:gd name="T7" fmla="*/ 409 h 132"/>
                <a:gd name="T8" fmla="*/ 5 w 49"/>
                <a:gd name="T9" fmla="*/ 375 h 132"/>
                <a:gd name="T10" fmla="*/ 7 w 49"/>
                <a:gd name="T11" fmla="*/ 339 h 132"/>
                <a:gd name="T12" fmla="*/ 8 w 49"/>
                <a:gd name="T13" fmla="*/ 300 h 132"/>
                <a:gd name="T14" fmla="*/ 8 w 49"/>
                <a:gd name="T15" fmla="*/ 263 h 132"/>
                <a:gd name="T16" fmla="*/ 8 w 49"/>
                <a:gd name="T17" fmla="*/ 228 h 132"/>
                <a:gd name="T18" fmla="*/ 8 w 49"/>
                <a:gd name="T19" fmla="*/ 187 h 132"/>
                <a:gd name="T20" fmla="*/ 11 w 49"/>
                <a:gd name="T21" fmla="*/ 151 h 132"/>
                <a:gd name="T22" fmla="*/ 13 w 49"/>
                <a:gd name="T23" fmla="*/ 119 h 132"/>
                <a:gd name="T24" fmla="*/ 15 w 49"/>
                <a:gd name="T25" fmla="*/ 86 h 132"/>
                <a:gd name="T26" fmla="*/ 17 w 49"/>
                <a:gd name="T27" fmla="*/ 56 h 132"/>
                <a:gd name="T28" fmla="*/ 19 w 49"/>
                <a:gd name="T29" fmla="*/ 30 h 132"/>
                <a:gd name="T30" fmla="*/ 21 w 49"/>
                <a:gd name="T31" fmla="*/ 3 h 132"/>
                <a:gd name="T32" fmla="*/ 22 w 49"/>
                <a:gd name="T33" fmla="*/ 0 h 13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
                <a:gd name="T52" fmla="*/ 0 h 132"/>
                <a:gd name="T53" fmla="*/ 49 w 49"/>
                <a:gd name="T54" fmla="*/ 132 h 13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 h="132">
                  <a:moveTo>
                    <a:pt x="0" y="131"/>
                  </a:moveTo>
                  <a:lnTo>
                    <a:pt x="0" y="126"/>
                  </a:lnTo>
                  <a:lnTo>
                    <a:pt x="1" y="119"/>
                  </a:lnTo>
                  <a:lnTo>
                    <a:pt x="2" y="112"/>
                  </a:lnTo>
                  <a:lnTo>
                    <a:pt x="5" y="103"/>
                  </a:lnTo>
                  <a:lnTo>
                    <a:pt x="7" y="93"/>
                  </a:lnTo>
                  <a:lnTo>
                    <a:pt x="9" y="83"/>
                  </a:lnTo>
                  <a:lnTo>
                    <a:pt x="11" y="73"/>
                  </a:lnTo>
                  <a:lnTo>
                    <a:pt x="15" y="62"/>
                  </a:lnTo>
                  <a:lnTo>
                    <a:pt x="18" y="52"/>
                  </a:lnTo>
                  <a:lnTo>
                    <a:pt x="23" y="42"/>
                  </a:lnTo>
                  <a:lnTo>
                    <a:pt x="26" y="32"/>
                  </a:lnTo>
                  <a:lnTo>
                    <a:pt x="30" y="23"/>
                  </a:lnTo>
                  <a:lnTo>
                    <a:pt x="34" y="15"/>
                  </a:lnTo>
                  <a:lnTo>
                    <a:pt x="39" y="9"/>
                  </a:lnTo>
                  <a:lnTo>
                    <a:pt x="43" y="3"/>
                  </a:lnTo>
                  <a:lnTo>
                    <a:pt x="48"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00" name="Line 153">
              <a:extLst>
                <a:ext uri="{FF2B5EF4-FFF2-40B4-BE49-F238E27FC236}">
                  <a16:creationId xmlns:a16="http://schemas.microsoft.com/office/drawing/2014/main" id="{0641CD23-A101-A795-CF31-56C83C966A47}"/>
                </a:ext>
              </a:extLst>
            </p:cNvPr>
            <p:cNvSpPr>
              <a:spLocks noChangeShapeType="1"/>
            </p:cNvSpPr>
            <p:nvPr/>
          </p:nvSpPr>
          <p:spPr bwMode="auto">
            <a:xfrm flipH="1">
              <a:off x="2510" y="1484"/>
              <a:ext cx="14"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01" name="Line 154">
              <a:extLst>
                <a:ext uri="{FF2B5EF4-FFF2-40B4-BE49-F238E27FC236}">
                  <a16:creationId xmlns:a16="http://schemas.microsoft.com/office/drawing/2014/main" id="{E5417D6B-5FA3-7C95-1D72-FFE20937A0BE}"/>
                </a:ext>
              </a:extLst>
            </p:cNvPr>
            <p:cNvSpPr>
              <a:spLocks noChangeShapeType="1"/>
            </p:cNvSpPr>
            <p:nvPr/>
          </p:nvSpPr>
          <p:spPr bwMode="auto">
            <a:xfrm>
              <a:off x="2559" y="1335"/>
              <a:ext cx="3" cy="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02" name="Freeform 155">
              <a:extLst>
                <a:ext uri="{FF2B5EF4-FFF2-40B4-BE49-F238E27FC236}">
                  <a16:creationId xmlns:a16="http://schemas.microsoft.com/office/drawing/2014/main" id="{4416A01D-FC5B-3160-F4DE-1152B79A8B1D}"/>
                </a:ext>
              </a:extLst>
            </p:cNvPr>
            <p:cNvSpPr>
              <a:spLocks/>
            </p:cNvSpPr>
            <p:nvPr/>
          </p:nvSpPr>
          <p:spPr bwMode="auto">
            <a:xfrm>
              <a:off x="2561" y="1196"/>
              <a:ext cx="75" cy="143"/>
            </a:xfrm>
            <a:custGeom>
              <a:avLst/>
              <a:gdLst>
                <a:gd name="T0" fmla="*/ 0 w 78"/>
                <a:gd name="T1" fmla="*/ 480 h 128"/>
                <a:gd name="T2" fmla="*/ 4 w 78"/>
                <a:gd name="T3" fmla="*/ 463 h 128"/>
                <a:gd name="T4" fmla="*/ 9 w 78"/>
                <a:gd name="T5" fmla="*/ 444 h 128"/>
                <a:gd name="T6" fmla="*/ 12 w 78"/>
                <a:gd name="T7" fmla="*/ 420 h 128"/>
                <a:gd name="T8" fmla="*/ 12 w 78"/>
                <a:gd name="T9" fmla="*/ 393 h 128"/>
                <a:gd name="T10" fmla="*/ 15 w 78"/>
                <a:gd name="T11" fmla="*/ 366 h 128"/>
                <a:gd name="T12" fmla="*/ 20 w 78"/>
                <a:gd name="T13" fmla="*/ 330 h 128"/>
                <a:gd name="T14" fmla="*/ 26 w 78"/>
                <a:gd name="T15" fmla="*/ 294 h 128"/>
                <a:gd name="T16" fmla="*/ 29 w 78"/>
                <a:gd name="T17" fmla="*/ 254 h 128"/>
                <a:gd name="T18" fmla="*/ 32 w 78"/>
                <a:gd name="T19" fmla="*/ 216 h 128"/>
                <a:gd name="T20" fmla="*/ 35 w 78"/>
                <a:gd name="T21" fmla="*/ 181 h 128"/>
                <a:gd name="T22" fmla="*/ 37 w 78"/>
                <a:gd name="T23" fmla="*/ 139 h 128"/>
                <a:gd name="T24" fmla="*/ 41 w 78"/>
                <a:gd name="T25" fmla="*/ 106 h 128"/>
                <a:gd name="T26" fmla="*/ 43 w 78"/>
                <a:gd name="T27" fmla="*/ 70 h 128"/>
                <a:gd name="T28" fmla="*/ 46 w 78"/>
                <a:gd name="T29" fmla="*/ 45 h 128"/>
                <a:gd name="T30" fmla="*/ 47 w 78"/>
                <a:gd name="T31" fmla="*/ 21 h 128"/>
                <a:gd name="T32" fmla="*/ 49 w 78"/>
                <a:gd name="T33" fmla="*/ 0 h 1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8"/>
                <a:gd name="T52" fmla="*/ 0 h 128"/>
                <a:gd name="T53" fmla="*/ 78 w 78"/>
                <a:gd name="T54" fmla="*/ 128 h 1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8" h="128">
                  <a:moveTo>
                    <a:pt x="0" y="127"/>
                  </a:moveTo>
                  <a:lnTo>
                    <a:pt x="4" y="123"/>
                  </a:lnTo>
                  <a:lnTo>
                    <a:pt x="9" y="118"/>
                  </a:lnTo>
                  <a:lnTo>
                    <a:pt x="15" y="112"/>
                  </a:lnTo>
                  <a:lnTo>
                    <a:pt x="20" y="104"/>
                  </a:lnTo>
                  <a:lnTo>
                    <a:pt x="27" y="96"/>
                  </a:lnTo>
                  <a:lnTo>
                    <a:pt x="32" y="87"/>
                  </a:lnTo>
                  <a:lnTo>
                    <a:pt x="38" y="77"/>
                  </a:lnTo>
                  <a:lnTo>
                    <a:pt x="44" y="67"/>
                  </a:lnTo>
                  <a:lnTo>
                    <a:pt x="49" y="57"/>
                  </a:lnTo>
                  <a:lnTo>
                    <a:pt x="55" y="47"/>
                  </a:lnTo>
                  <a:lnTo>
                    <a:pt x="60" y="37"/>
                  </a:lnTo>
                  <a:lnTo>
                    <a:pt x="65" y="28"/>
                  </a:lnTo>
                  <a:lnTo>
                    <a:pt x="69" y="19"/>
                  </a:lnTo>
                  <a:lnTo>
                    <a:pt x="73" y="12"/>
                  </a:lnTo>
                  <a:lnTo>
                    <a:pt x="75" y="5"/>
                  </a:lnTo>
                  <a:lnTo>
                    <a:pt x="77"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03" name="Line 156">
              <a:extLst>
                <a:ext uri="{FF2B5EF4-FFF2-40B4-BE49-F238E27FC236}">
                  <a16:creationId xmlns:a16="http://schemas.microsoft.com/office/drawing/2014/main" id="{866BE07F-74D5-E3B4-642D-01C7244D16F6}"/>
                </a:ext>
              </a:extLst>
            </p:cNvPr>
            <p:cNvSpPr>
              <a:spLocks noChangeShapeType="1"/>
            </p:cNvSpPr>
            <p:nvPr/>
          </p:nvSpPr>
          <p:spPr bwMode="auto">
            <a:xfrm flipH="1" flipV="1">
              <a:off x="2555" y="1331"/>
              <a:ext cx="11" cy="1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04" name="Line 157">
              <a:extLst>
                <a:ext uri="{FF2B5EF4-FFF2-40B4-BE49-F238E27FC236}">
                  <a16:creationId xmlns:a16="http://schemas.microsoft.com/office/drawing/2014/main" id="{DFB157A6-E987-9692-2BE7-101830BFC3EE}"/>
                </a:ext>
              </a:extLst>
            </p:cNvPr>
            <p:cNvSpPr>
              <a:spLocks noChangeShapeType="1"/>
            </p:cNvSpPr>
            <p:nvPr/>
          </p:nvSpPr>
          <p:spPr bwMode="auto">
            <a:xfrm>
              <a:off x="2631" y="1196"/>
              <a:ext cx="6"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05" name="Freeform 158">
              <a:extLst>
                <a:ext uri="{FF2B5EF4-FFF2-40B4-BE49-F238E27FC236}">
                  <a16:creationId xmlns:a16="http://schemas.microsoft.com/office/drawing/2014/main" id="{F2FD9ED4-25D5-419A-A607-E0E0CDDAF202}"/>
                </a:ext>
              </a:extLst>
            </p:cNvPr>
            <p:cNvSpPr>
              <a:spLocks/>
            </p:cNvSpPr>
            <p:nvPr/>
          </p:nvSpPr>
          <p:spPr bwMode="auto">
            <a:xfrm>
              <a:off x="2635" y="1128"/>
              <a:ext cx="45" cy="69"/>
            </a:xfrm>
            <a:custGeom>
              <a:avLst/>
              <a:gdLst>
                <a:gd name="T0" fmla="*/ 0 w 48"/>
                <a:gd name="T1" fmla="*/ 223 h 62"/>
                <a:gd name="T2" fmla="*/ 1 w 48"/>
                <a:gd name="T3" fmla="*/ 206 h 62"/>
                <a:gd name="T4" fmla="*/ 3 w 48"/>
                <a:gd name="T5" fmla="*/ 187 h 62"/>
                <a:gd name="T6" fmla="*/ 7 w 48"/>
                <a:gd name="T7" fmla="*/ 168 h 62"/>
                <a:gd name="T8" fmla="*/ 8 w 48"/>
                <a:gd name="T9" fmla="*/ 151 h 62"/>
                <a:gd name="T10" fmla="*/ 8 w 48"/>
                <a:gd name="T11" fmla="*/ 134 h 62"/>
                <a:gd name="T12" fmla="*/ 8 w 48"/>
                <a:gd name="T13" fmla="*/ 119 h 62"/>
                <a:gd name="T14" fmla="*/ 10 w 48"/>
                <a:gd name="T15" fmla="*/ 97 h 62"/>
                <a:gd name="T16" fmla="*/ 13 w 48"/>
                <a:gd name="T17" fmla="*/ 78 h 62"/>
                <a:gd name="T18" fmla="*/ 15 w 48"/>
                <a:gd name="T19" fmla="*/ 63 h 62"/>
                <a:gd name="T20" fmla="*/ 17 w 48"/>
                <a:gd name="T21" fmla="*/ 46 h 62"/>
                <a:gd name="T22" fmla="*/ 18 w 48"/>
                <a:gd name="T23" fmla="*/ 30 h 62"/>
                <a:gd name="T24" fmla="*/ 20 w 48"/>
                <a:gd name="T25" fmla="*/ 22 h 62"/>
                <a:gd name="T26" fmla="*/ 21 w 48"/>
                <a:gd name="T27" fmla="*/ 4 h 62"/>
                <a:gd name="T28" fmla="*/ 21 w 48"/>
                <a:gd name="T29" fmla="*/ 2 h 62"/>
                <a:gd name="T30" fmla="*/ 22 w 48"/>
                <a:gd name="T31" fmla="*/ 1 h 62"/>
                <a:gd name="T32" fmla="*/ 22 w 48"/>
                <a:gd name="T33" fmla="*/ 0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62"/>
                <a:gd name="T53" fmla="*/ 48 w 48"/>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62">
                  <a:moveTo>
                    <a:pt x="0" y="61"/>
                  </a:moveTo>
                  <a:lnTo>
                    <a:pt x="1" y="57"/>
                  </a:lnTo>
                  <a:lnTo>
                    <a:pt x="3" y="52"/>
                  </a:lnTo>
                  <a:lnTo>
                    <a:pt x="7" y="47"/>
                  </a:lnTo>
                  <a:lnTo>
                    <a:pt x="10" y="42"/>
                  </a:lnTo>
                  <a:lnTo>
                    <a:pt x="15" y="37"/>
                  </a:lnTo>
                  <a:lnTo>
                    <a:pt x="18" y="32"/>
                  </a:lnTo>
                  <a:lnTo>
                    <a:pt x="22" y="27"/>
                  </a:lnTo>
                  <a:lnTo>
                    <a:pt x="26" y="22"/>
                  </a:lnTo>
                  <a:lnTo>
                    <a:pt x="30" y="18"/>
                  </a:lnTo>
                  <a:lnTo>
                    <a:pt x="34" y="13"/>
                  </a:lnTo>
                  <a:lnTo>
                    <a:pt x="37" y="9"/>
                  </a:lnTo>
                  <a:lnTo>
                    <a:pt x="40" y="6"/>
                  </a:lnTo>
                  <a:lnTo>
                    <a:pt x="43" y="4"/>
                  </a:lnTo>
                  <a:lnTo>
                    <a:pt x="45" y="2"/>
                  </a:lnTo>
                  <a:lnTo>
                    <a:pt x="46" y="1"/>
                  </a:lnTo>
                  <a:lnTo>
                    <a:pt x="47" y="0"/>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06" name="Line 159">
              <a:extLst>
                <a:ext uri="{FF2B5EF4-FFF2-40B4-BE49-F238E27FC236}">
                  <a16:creationId xmlns:a16="http://schemas.microsoft.com/office/drawing/2014/main" id="{52F64571-B5A7-D4E8-C6BF-912BFBE34D01}"/>
                </a:ext>
              </a:extLst>
            </p:cNvPr>
            <p:cNvSpPr>
              <a:spLocks noChangeShapeType="1"/>
            </p:cNvSpPr>
            <p:nvPr/>
          </p:nvSpPr>
          <p:spPr bwMode="auto">
            <a:xfrm flipH="1" flipV="1">
              <a:off x="2628" y="1191"/>
              <a:ext cx="12" cy="1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07" name="Line 160">
              <a:extLst>
                <a:ext uri="{FF2B5EF4-FFF2-40B4-BE49-F238E27FC236}">
                  <a16:creationId xmlns:a16="http://schemas.microsoft.com/office/drawing/2014/main" id="{1F37FE32-0E8A-36D9-FB96-A2BFF82C8972}"/>
                </a:ext>
              </a:extLst>
            </p:cNvPr>
            <p:cNvSpPr>
              <a:spLocks noChangeShapeType="1"/>
            </p:cNvSpPr>
            <p:nvPr/>
          </p:nvSpPr>
          <p:spPr bwMode="auto">
            <a:xfrm>
              <a:off x="2677" y="1127"/>
              <a:ext cx="4" cy="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08" name="Line 161">
              <a:extLst>
                <a:ext uri="{FF2B5EF4-FFF2-40B4-BE49-F238E27FC236}">
                  <a16:creationId xmlns:a16="http://schemas.microsoft.com/office/drawing/2014/main" id="{CA7725AE-680F-1D72-9E7D-A1DEA9E02EFF}"/>
                </a:ext>
              </a:extLst>
            </p:cNvPr>
            <p:cNvSpPr>
              <a:spLocks noChangeShapeType="1"/>
            </p:cNvSpPr>
            <p:nvPr/>
          </p:nvSpPr>
          <p:spPr bwMode="auto">
            <a:xfrm flipV="1">
              <a:off x="2683" y="1076"/>
              <a:ext cx="22" cy="56"/>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09" name="Freeform 162">
              <a:extLst>
                <a:ext uri="{FF2B5EF4-FFF2-40B4-BE49-F238E27FC236}">
                  <a16:creationId xmlns:a16="http://schemas.microsoft.com/office/drawing/2014/main" id="{AF62D280-271D-DC48-F2AD-7247CDBD9E9D}"/>
                </a:ext>
              </a:extLst>
            </p:cNvPr>
            <p:cNvSpPr>
              <a:spLocks/>
            </p:cNvSpPr>
            <p:nvPr/>
          </p:nvSpPr>
          <p:spPr bwMode="auto">
            <a:xfrm>
              <a:off x="2708" y="1077"/>
              <a:ext cx="429" cy="277"/>
            </a:xfrm>
            <a:custGeom>
              <a:avLst/>
              <a:gdLst>
                <a:gd name="T0" fmla="*/ 0 w 453"/>
                <a:gd name="T1" fmla="*/ 3 h 248"/>
                <a:gd name="T2" fmla="*/ 9 w 453"/>
                <a:gd name="T3" fmla="*/ 0 h 248"/>
                <a:gd name="T4" fmla="*/ 20 w 453"/>
                <a:gd name="T5" fmla="*/ 2 h 248"/>
                <a:gd name="T6" fmla="*/ 33 w 453"/>
                <a:gd name="T7" fmla="*/ 29 h 248"/>
                <a:gd name="T8" fmla="*/ 46 w 453"/>
                <a:gd name="T9" fmla="*/ 68 h 248"/>
                <a:gd name="T10" fmla="*/ 63 w 453"/>
                <a:gd name="T11" fmla="*/ 118 h 248"/>
                <a:gd name="T12" fmla="*/ 80 w 453"/>
                <a:gd name="T13" fmla="*/ 179 h 248"/>
                <a:gd name="T14" fmla="*/ 98 w 453"/>
                <a:gd name="T15" fmla="*/ 249 h 248"/>
                <a:gd name="T16" fmla="*/ 117 w 453"/>
                <a:gd name="T17" fmla="*/ 317 h 248"/>
                <a:gd name="T18" fmla="*/ 136 w 453"/>
                <a:gd name="T19" fmla="*/ 395 h 248"/>
                <a:gd name="T20" fmla="*/ 154 w 453"/>
                <a:gd name="T21" fmla="*/ 480 h 248"/>
                <a:gd name="T22" fmla="*/ 170 w 453"/>
                <a:gd name="T23" fmla="*/ 561 h 248"/>
                <a:gd name="T24" fmla="*/ 188 w 453"/>
                <a:gd name="T25" fmla="*/ 643 h 248"/>
                <a:gd name="T26" fmla="*/ 202 w 453"/>
                <a:gd name="T27" fmla="*/ 727 h 248"/>
                <a:gd name="T28" fmla="*/ 215 w 453"/>
                <a:gd name="T29" fmla="*/ 801 h 248"/>
                <a:gd name="T30" fmla="*/ 225 w 453"/>
                <a:gd name="T31" fmla="*/ 873 h 248"/>
                <a:gd name="T32" fmla="*/ 236 w 453"/>
                <a:gd name="T33" fmla="*/ 930 h 2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53"/>
                <a:gd name="T52" fmla="*/ 0 h 248"/>
                <a:gd name="T53" fmla="*/ 453 w 453"/>
                <a:gd name="T54" fmla="*/ 248 h 24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53" h="248">
                  <a:moveTo>
                    <a:pt x="0" y="3"/>
                  </a:moveTo>
                  <a:lnTo>
                    <a:pt x="16" y="0"/>
                  </a:lnTo>
                  <a:lnTo>
                    <a:pt x="37" y="2"/>
                  </a:lnTo>
                  <a:lnTo>
                    <a:pt x="62" y="8"/>
                  </a:lnTo>
                  <a:lnTo>
                    <a:pt x="90" y="18"/>
                  </a:lnTo>
                  <a:lnTo>
                    <a:pt x="121" y="31"/>
                  </a:lnTo>
                  <a:lnTo>
                    <a:pt x="155" y="47"/>
                  </a:lnTo>
                  <a:lnTo>
                    <a:pt x="190" y="65"/>
                  </a:lnTo>
                  <a:lnTo>
                    <a:pt x="226" y="84"/>
                  </a:lnTo>
                  <a:lnTo>
                    <a:pt x="262" y="105"/>
                  </a:lnTo>
                  <a:lnTo>
                    <a:pt x="297" y="127"/>
                  </a:lnTo>
                  <a:lnTo>
                    <a:pt x="329" y="149"/>
                  </a:lnTo>
                  <a:lnTo>
                    <a:pt x="361" y="171"/>
                  </a:lnTo>
                  <a:lnTo>
                    <a:pt x="390" y="193"/>
                  </a:lnTo>
                  <a:lnTo>
                    <a:pt x="415" y="212"/>
                  </a:lnTo>
                  <a:lnTo>
                    <a:pt x="435" y="231"/>
                  </a:lnTo>
                  <a:lnTo>
                    <a:pt x="452" y="247"/>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10" name="Line 163">
              <a:extLst>
                <a:ext uri="{FF2B5EF4-FFF2-40B4-BE49-F238E27FC236}">
                  <a16:creationId xmlns:a16="http://schemas.microsoft.com/office/drawing/2014/main" id="{464D80F4-2377-3645-F92B-255BACE74F86}"/>
                </a:ext>
              </a:extLst>
            </p:cNvPr>
            <p:cNvSpPr>
              <a:spLocks noChangeShapeType="1"/>
            </p:cNvSpPr>
            <p:nvPr/>
          </p:nvSpPr>
          <p:spPr bwMode="auto">
            <a:xfrm flipH="1" flipV="1">
              <a:off x="2704" y="1073"/>
              <a:ext cx="11" cy="1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11" name="Line 164">
              <a:extLst>
                <a:ext uri="{FF2B5EF4-FFF2-40B4-BE49-F238E27FC236}">
                  <a16:creationId xmlns:a16="http://schemas.microsoft.com/office/drawing/2014/main" id="{FCA4C78B-08C8-7BB1-58B9-AB44D885EE52}"/>
                </a:ext>
              </a:extLst>
            </p:cNvPr>
            <p:cNvSpPr>
              <a:spLocks noChangeShapeType="1"/>
            </p:cNvSpPr>
            <p:nvPr/>
          </p:nvSpPr>
          <p:spPr bwMode="auto">
            <a:xfrm flipH="1">
              <a:off x="3131" y="1351"/>
              <a:ext cx="11" cy="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12" name="Freeform 165">
              <a:extLst>
                <a:ext uri="{FF2B5EF4-FFF2-40B4-BE49-F238E27FC236}">
                  <a16:creationId xmlns:a16="http://schemas.microsoft.com/office/drawing/2014/main" id="{4C851E71-8C91-AC97-3BE8-90971C7168A5}"/>
                </a:ext>
              </a:extLst>
            </p:cNvPr>
            <p:cNvSpPr>
              <a:spLocks/>
            </p:cNvSpPr>
            <p:nvPr/>
          </p:nvSpPr>
          <p:spPr bwMode="auto">
            <a:xfrm>
              <a:off x="3136" y="1353"/>
              <a:ext cx="112" cy="101"/>
            </a:xfrm>
            <a:custGeom>
              <a:avLst/>
              <a:gdLst>
                <a:gd name="T0" fmla="*/ 0 w 118"/>
                <a:gd name="T1" fmla="*/ 0 h 90"/>
                <a:gd name="T2" fmla="*/ 0 w 118"/>
                <a:gd name="T3" fmla="*/ 1 h 90"/>
                <a:gd name="T4" fmla="*/ 2 w 118"/>
                <a:gd name="T5" fmla="*/ 3 h 90"/>
                <a:gd name="T6" fmla="*/ 7 w 118"/>
                <a:gd name="T7" fmla="*/ 27 h 90"/>
                <a:gd name="T8" fmla="*/ 9 w 118"/>
                <a:gd name="T9" fmla="*/ 54 h 90"/>
                <a:gd name="T10" fmla="*/ 9 w 118"/>
                <a:gd name="T11" fmla="*/ 76 h 90"/>
                <a:gd name="T12" fmla="*/ 14 w 118"/>
                <a:gd name="T13" fmla="*/ 104 h 90"/>
                <a:gd name="T14" fmla="*/ 20 w 118"/>
                <a:gd name="T15" fmla="*/ 131 h 90"/>
                <a:gd name="T16" fmla="*/ 24 w 118"/>
                <a:gd name="T17" fmla="*/ 164 h 90"/>
                <a:gd name="T18" fmla="*/ 28 w 118"/>
                <a:gd name="T19" fmla="*/ 199 h 90"/>
                <a:gd name="T20" fmla="*/ 33 w 118"/>
                <a:gd name="T21" fmla="*/ 229 h 90"/>
                <a:gd name="T22" fmla="*/ 39 w 118"/>
                <a:gd name="T23" fmla="*/ 257 h 90"/>
                <a:gd name="T24" fmla="*/ 44 w 118"/>
                <a:gd name="T25" fmla="*/ 286 h 90"/>
                <a:gd name="T26" fmla="*/ 48 w 118"/>
                <a:gd name="T27" fmla="*/ 309 h 90"/>
                <a:gd name="T28" fmla="*/ 53 w 118"/>
                <a:gd name="T29" fmla="*/ 329 h 90"/>
                <a:gd name="T30" fmla="*/ 59 w 118"/>
                <a:gd name="T31" fmla="*/ 348 h 90"/>
                <a:gd name="T32" fmla="*/ 62 w 118"/>
                <a:gd name="T33" fmla="*/ 354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8"/>
                <a:gd name="T52" fmla="*/ 0 h 90"/>
                <a:gd name="T53" fmla="*/ 118 w 118"/>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8" h="90">
                  <a:moveTo>
                    <a:pt x="0" y="0"/>
                  </a:moveTo>
                  <a:lnTo>
                    <a:pt x="0" y="1"/>
                  </a:lnTo>
                  <a:lnTo>
                    <a:pt x="2" y="3"/>
                  </a:lnTo>
                  <a:lnTo>
                    <a:pt x="7" y="7"/>
                  </a:lnTo>
                  <a:lnTo>
                    <a:pt x="12" y="13"/>
                  </a:lnTo>
                  <a:lnTo>
                    <a:pt x="19" y="19"/>
                  </a:lnTo>
                  <a:lnTo>
                    <a:pt x="26" y="26"/>
                  </a:lnTo>
                  <a:lnTo>
                    <a:pt x="35" y="33"/>
                  </a:lnTo>
                  <a:lnTo>
                    <a:pt x="43" y="41"/>
                  </a:lnTo>
                  <a:lnTo>
                    <a:pt x="53" y="49"/>
                  </a:lnTo>
                  <a:lnTo>
                    <a:pt x="62" y="57"/>
                  </a:lnTo>
                  <a:lnTo>
                    <a:pt x="72" y="64"/>
                  </a:lnTo>
                  <a:lnTo>
                    <a:pt x="82" y="71"/>
                  </a:lnTo>
                  <a:lnTo>
                    <a:pt x="91" y="77"/>
                  </a:lnTo>
                  <a:lnTo>
                    <a:pt x="100" y="83"/>
                  </a:lnTo>
                  <a:lnTo>
                    <a:pt x="109" y="87"/>
                  </a:lnTo>
                  <a:lnTo>
                    <a:pt x="117" y="89"/>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13" name="Line 166">
              <a:extLst>
                <a:ext uri="{FF2B5EF4-FFF2-40B4-BE49-F238E27FC236}">
                  <a16:creationId xmlns:a16="http://schemas.microsoft.com/office/drawing/2014/main" id="{223CE65B-615C-82EB-179D-AF43B446C42B}"/>
                </a:ext>
              </a:extLst>
            </p:cNvPr>
            <p:cNvSpPr>
              <a:spLocks noChangeShapeType="1"/>
            </p:cNvSpPr>
            <p:nvPr/>
          </p:nvSpPr>
          <p:spPr bwMode="auto">
            <a:xfrm flipV="1">
              <a:off x="3134" y="1347"/>
              <a:ext cx="4" cy="1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14" name="Line 167">
              <a:extLst>
                <a:ext uri="{FF2B5EF4-FFF2-40B4-BE49-F238E27FC236}">
                  <a16:creationId xmlns:a16="http://schemas.microsoft.com/office/drawing/2014/main" id="{E2BDC98A-3EBC-4753-E1F4-5E7D4067A635}"/>
                </a:ext>
              </a:extLst>
            </p:cNvPr>
            <p:cNvSpPr>
              <a:spLocks noChangeShapeType="1"/>
            </p:cNvSpPr>
            <p:nvPr/>
          </p:nvSpPr>
          <p:spPr bwMode="auto">
            <a:xfrm flipH="1">
              <a:off x="3243" y="1450"/>
              <a:ext cx="8" cy="6"/>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15" name="Freeform 168">
              <a:extLst>
                <a:ext uri="{FF2B5EF4-FFF2-40B4-BE49-F238E27FC236}">
                  <a16:creationId xmlns:a16="http://schemas.microsoft.com/office/drawing/2014/main" id="{23FE36B5-E064-31C3-3159-CC94167F15DF}"/>
                </a:ext>
              </a:extLst>
            </p:cNvPr>
            <p:cNvSpPr>
              <a:spLocks/>
            </p:cNvSpPr>
            <p:nvPr/>
          </p:nvSpPr>
          <p:spPr bwMode="auto">
            <a:xfrm>
              <a:off x="3247" y="1453"/>
              <a:ext cx="74" cy="74"/>
            </a:xfrm>
            <a:custGeom>
              <a:avLst/>
              <a:gdLst>
                <a:gd name="T0" fmla="*/ 0 w 79"/>
                <a:gd name="T1" fmla="*/ 0 h 67"/>
                <a:gd name="T2" fmla="*/ 7 w 79"/>
                <a:gd name="T3" fmla="*/ 2 h 67"/>
                <a:gd name="T4" fmla="*/ 7 w 79"/>
                <a:gd name="T5" fmla="*/ 19 h 67"/>
                <a:gd name="T6" fmla="*/ 9 w 79"/>
                <a:gd name="T7" fmla="*/ 25 h 67"/>
                <a:gd name="T8" fmla="*/ 13 w 79"/>
                <a:gd name="T9" fmla="*/ 38 h 67"/>
                <a:gd name="T10" fmla="*/ 17 w 79"/>
                <a:gd name="T11" fmla="*/ 54 h 67"/>
                <a:gd name="T12" fmla="*/ 20 w 79"/>
                <a:gd name="T13" fmla="*/ 66 h 67"/>
                <a:gd name="T14" fmla="*/ 21 w 79"/>
                <a:gd name="T15" fmla="*/ 83 h 67"/>
                <a:gd name="T16" fmla="*/ 24 w 79"/>
                <a:gd name="T17" fmla="*/ 94 h 67"/>
                <a:gd name="T18" fmla="*/ 27 w 79"/>
                <a:gd name="T19" fmla="*/ 113 h 67"/>
                <a:gd name="T20" fmla="*/ 29 w 79"/>
                <a:gd name="T21" fmla="*/ 127 h 67"/>
                <a:gd name="T22" fmla="*/ 31 w 79"/>
                <a:gd name="T23" fmla="*/ 145 h 67"/>
                <a:gd name="T24" fmla="*/ 33 w 79"/>
                <a:gd name="T25" fmla="*/ 160 h 67"/>
                <a:gd name="T26" fmla="*/ 33 w 79"/>
                <a:gd name="T27" fmla="*/ 177 h 67"/>
                <a:gd name="T28" fmla="*/ 35 w 79"/>
                <a:gd name="T29" fmla="*/ 190 h 67"/>
                <a:gd name="T30" fmla="*/ 35 w 79"/>
                <a:gd name="T31" fmla="*/ 205 h 67"/>
                <a:gd name="T32" fmla="*/ 35 w 79"/>
                <a:gd name="T33" fmla="*/ 215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9"/>
                <a:gd name="T52" fmla="*/ 0 h 67"/>
                <a:gd name="T53" fmla="*/ 79 w 79"/>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9" h="67">
                  <a:moveTo>
                    <a:pt x="0" y="0"/>
                  </a:moveTo>
                  <a:lnTo>
                    <a:pt x="7" y="2"/>
                  </a:lnTo>
                  <a:lnTo>
                    <a:pt x="14" y="5"/>
                  </a:lnTo>
                  <a:lnTo>
                    <a:pt x="21" y="8"/>
                  </a:lnTo>
                  <a:lnTo>
                    <a:pt x="28" y="12"/>
                  </a:lnTo>
                  <a:lnTo>
                    <a:pt x="35" y="16"/>
                  </a:lnTo>
                  <a:lnTo>
                    <a:pt x="42" y="20"/>
                  </a:lnTo>
                  <a:lnTo>
                    <a:pt x="47" y="25"/>
                  </a:lnTo>
                  <a:lnTo>
                    <a:pt x="53" y="29"/>
                  </a:lnTo>
                  <a:lnTo>
                    <a:pt x="59" y="34"/>
                  </a:lnTo>
                  <a:lnTo>
                    <a:pt x="63" y="39"/>
                  </a:lnTo>
                  <a:lnTo>
                    <a:pt x="68" y="44"/>
                  </a:lnTo>
                  <a:lnTo>
                    <a:pt x="71" y="49"/>
                  </a:lnTo>
                  <a:lnTo>
                    <a:pt x="73" y="54"/>
                  </a:lnTo>
                  <a:lnTo>
                    <a:pt x="76" y="58"/>
                  </a:lnTo>
                  <a:lnTo>
                    <a:pt x="78" y="62"/>
                  </a:lnTo>
                  <a:lnTo>
                    <a:pt x="78" y="66"/>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16" name="Line 169">
              <a:extLst>
                <a:ext uri="{FF2B5EF4-FFF2-40B4-BE49-F238E27FC236}">
                  <a16:creationId xmlns:a16="http://schemas.microsoft.com/office/drawing/2014/main" id="{13E6CD17-DE7F-31FB-B0CF-63D0EF9BB5BC}"/>
                </a:ext>
              </a:extLst>
            </p:cNvPr>
            <p:cNvSpPr>
              <a:spLocks noChangeShapeType="1"/>
            </p:cNvSpPr>
            <p:nvPr/>
          </p:nvSpPr>
          <p:spPr bwMode="auto">
            <a:xfrm flipV="1">
              <a:off x="3246" y="1446"/>
              <a:ext cx="1" cy="1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17" name="Line 170">
              <a:extLst>
                <a:ext uri="{FF2B5EF4-FFF2-40B4-BE49-F238E27FC236}">
                  <a16:creationId xmlns:a16="http://schemas.microsoft.com/office/drawing/2014/main" id="{53EEF747-6188-00B1-A495-54B0E895EDFA}"/>
                </a:ext>
              </a:extLst>
            </p:cNvPr>
            <p:cNvSpPr>
              <a:spLocks noChangeShapeType="1"/>
            </p:cNvSpPr>
            <p:nvPr/>
          </p:nvSpPr>
          <p:spPr bwMode="auto">
            <a:xfrm flipH="1">
              <a:off x="3314" y="1526"/>
              <a:ext cx="14"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18" name="Freeform 171">
              <a:extLst>
                <a:ext uri="{FF2B5EF4-FFF2-40B4-BE49-F238E27FC236}">
                  <a16:creationId xmlns:a16="http://schemas.microsoft.com/office/drawing/2014/main" id="{4882EA3B-2B10-175E-DA4B-066605000DF0}"/>
                </a:ext>
              </a:extLst>
            </p:cNvPr>
            <p:cNvSpPr>
              <a:spLocks/>
            </p:cNvSpPr>
            <p:nvPr/>
          </p:nvSpPr>
          <p:spPr bwMode="auto">
            <a:xfrm>
              <a:off x="3320" y="1526"/>
              <a:ext cx="208" cy="163"/>
            </a:xfrm>
            <a:custGeom>
              <a:avLst/>
              <a:gdLst>
                <a:gd name="T0" fmla="*/ 0 w 219"/>
                <a:gd name="T1" fmla="*/ 0 h 146"/>
                <a:gd name="T2" fmla="*/ 2 w 219"/>
                <a:gd name="T3" fmla="*/ 4 h 146"/>
                <a:gd name="T4" fmla="*/ 9 w 219"/>
                <a:gd name="T5" fmla="*/ 36 h 146"/>
                <a:gd name="T6" fmla="*/ 9 w 219"/>
                <a:gd name="T7" fmla="*/ 68 h 146"/>
                <a:gd name="T8" fmla="*/ 18 w 219"/>
                <a:gd name="T9" fmla="*/ 98 h 146"/>
                <a:gd name="T10" fmla="*/ 26 w 219"/>
                <a:gd name="T11" fmla="*/ 136 h 146"/>
                <a:gd name="T12" fmla="*/ 35 w 219"/>
                <a:gd name="T13" fmla="*/ 182 h 146"/>
                <a:gd name="T14" fmla="*/ 45 w 219"/>
                <a:gd name="T15" fmla="*/ 226 h 146"/>
                <a:gd name="T16" fmla="*/ 56 w 219"/>
                <a:gd name="T17" fmla="*/ 265 h 146"/>
                <a:gd name="T18" fmla="*/ 66 w 219"/>
                <a:gd name="T19" fmla="*/ 310 h 146"/>
                <a:gd name="T20" fmla="*/ 77 w 219"/>
                <a:gd name="T21" fmla="*/ 352 h 146"/>
                <a:gd name="T22" fmla="*/ 86 w 219"/>
                <a:gd name="T23" fmla="*/ 393 h 146"/>
                <a:gd name="T24" fmla="*/ 96 w 219"/>
                <a:gd name="T25" fmla="*/ 431 h 146"/>
                <a:gd name="T26" fmla="*/ 104 w 219"/>
                <a:gd name="T27" fmla="*/ 468 h 146"/>
                <a:gd name="T28" fmla="*/ 111 w 219"/>
                <a:gd name="T29" fmla="*/ 495 h 146"/>
                <a:gd name="T30" fmla="*/ 114 w 219"/>
                <a:gd name="T31" fmla="*/ 522 h 146"/>
                <a:gd name="T32" fmla="*/ 118 w 219"/>
                <a:gd name="T33" fmla="*/ 546 h 1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9"/>
                <a:gd name="T52" fmla="*/ 0 h 146"/>
                <a:gd name="T53" fmla="*/ 219 w 219"/>
                <a:gd name="T54" fmla="*/ 146 h 1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9" h="146">
                  <a:moveTo>
                    <a:pt x="0" y="0"/>
                  </a:moveTo>
                  <a:lnTo>
                    <a:pt x="2" y="4"/>
                  </a:lnTo>
                  <a:lnTo>
                    <a:pt x="9" y="10"/>
                  </a:lnTo>
                  <a:lnTo>
                    <a:pt x="19" y="18"/>
                  </a:lnTo>
                  <a:lnTo>
                    <a:pt x="31" y="27"/>
                  </a:lnTo>
                  <a:lnTo>
                    <a:pt x="47" y="37"/>
                  </a:lnTo>
                  <a:lnTo>
                    <a:pt x="64" y="48"/>
                  </a:lnTo>
                  <a:lnTo>
                    <a:pt x="83" y="59"/>
                  </a:lnTo>
                  <a:lnTo>
                    <a:pt x="103" y="71"/>
                  </a:lnTo>
                  <a:lnTo>
                    <a:pt x="122" y="82"/>
                  </a:lnTo>
                  <a:lnTo>
                    <a:pt x="142" y="94"/>
                  </a:lnTo>
                  <a:lnTo>
                    <a:pt x="161" y="105"/>
                  </a:lnTo>
                  <a:lnTo>
                    <a:pt x="178" y="115"/>
                  </a:lnTo>
                  <a:lnTo>
                    <a:pt x="192" y="125"/>
                  </a:lnTo>
                  <a:lnTo>
                    <a:pt x="205" y="133"/>
                  </a:lnTo>
                  <a:lnTo>
                    <a:pt x="212" y="140"/>
                  </a:lnTo>
                  <a:lnTo>
                    <a:pt x="218" y="145"/>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19" name="Line 172">
              <a:extLst>
                <a:ext uri="{FF2B5EF4-FFF2-40B4-BE49-F238E27FC236}">
                  <a16:creationId xmlns:a16="http://schemas.microsoft.com/office/drawing/2014/main" id="{CDDC20DA-BE4D-D26C-F8AE-FA66553BBF28}"/>
                </a:ext>
              </a:extLst>
            </p:cNvPr>
            <p:cNvSpPr>
              <a:spLocks noChangeShapeType="1"/>
            </p:cNvSpPr>
            <p:nvPr/>
          </p:nvSpPr>
          <p:spPr bwMode="auto">
            <a:xfrm>
              <a:off x="3318" y="1526"/>
              <a:ext cx="6"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20" name="Line 173">
              <a:extLst>
                <a:ext uri="{FF2B5EF4-FFF2-40B4-BE49-F238E27FC236}">
                  <a16:creationId xmlns:a16="http://schemas.microsoft.com/office/drawing/2014/main" id="{610CE7F9-838F-3713-B8AC-81B34E259CC0}"/>
                </a:ext>
              </a:extLst>
            </p:cNvPr>
            <p:cNvSpPr>
              <a:spLocks noChangeShapeType="1"/>
            </p:cNvSpPr>
            <p:nvPr/>
          </p:nvSpPr>
          <p:spPr bwMode="auto">
            <a:xfrm flipH="1">
              <a:off x="3522" y="1687"/>
              <a:ext cx="10" cy="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21" name="Freeform 174">
              <a:extLst>
                <a:ext uri="{FF2B5EF4-FFF2-40B4-BE49-F238E27FC236}">
                  <a16:creationId xmlns:a16="http://schemas.microsoft.com/office/drawing/2014/main" id="{11F31249-07DE-0820-EA7D-433D536FC58C}"/>
                </a:ext>
              </a:extLst>
            </p:cNvPr>
            <p:cNvSpPr>
              <a:spLocks/>
            </p:cNvSpPr>
            <p:nvPr/>
          </p:nvSpPr>
          <p:spPr bwMode="auto">
            <a:xfrm>
              <a:off x="3527" y="1742"/>
              <a:ext cx="104" cy="158"/>
            </a:xfrm>
            <a:custGeom>
              <a:avLst/>
              <a:gdLst>
                <a:gd name="T0" fmla="*/ 0 w 110"/>
                <a:gd name="T1" fmla="*/ 0 h 142"/>
                <a:gd name="T2" fmla="*/ 3 w 110"/>
                <a:gd name="T3" fmla="*/ 20 h 142"/>
                <a:gd name="T4" fmla="*/ 9 w 110"/>
                <a:gd name="T5" fmla="*/ 41 h 142"/>
                <a:gd name="T6" fmla="*/ 9 w 110"/>
                <a:gd name="T7" fmla="*/ 70 h 142"/>
                <a:gd name="T8" fmla="*/ 13 w 110"/>
                <a:gd name="T9" fmla="*/ 107 h 142"/>
                <a:gd name="T10" fmla="*/ 18 w 110"/>
                <a:gd name="T11" fmla="*/ 138 h 142"/>
                <a:gd name="T12" fmla="*/ 23 w 110"/>
                <a:gd name="T13" fmla="*/ 182 h 142"/>
                <a:gd name="T14" fmla="*/ 26 w 110"/>
                <a:gd name="T15" fmla="*/ 223 h 142"/>
                <a:gd name="T16" fmla="*/ 33 w 110"/>
                <a:gd name="T17" fmla="*/ 257 h 142"/>
                <a:gd name="T18" fmla="*/ 37 w 110"/>
                <a:gd name="T19" fmla="*/ 300 h 142"/>
                <a:gd name="T20" fmla="*/ 41 w 110"/>
                <a:gd name="T21" fmla="*/ 339 h 142"/>
                <a:gd name="T22" fmla="*/ 46 w 110"/>
                <a:gd name="T23" fmla="*/ 377 h 142"/>
                <a:gd name="T24" fmla="*/ 50 w 110"/>
                <a:gd name="T25" fmla="*/ 411 h 142"/>
                <a:gd name="T26" fmla="*/ 52 w 110"/>
                <a:gd name="T27" fmla="*/ 441 h 142"/>
                <a:gd name="T28" fmla="*/ 55 w 110"/>
                <a:gd name="T29" fmla="*/ 466 h 142"/>
                <a:gd name="T30" fmla="*/ 56 w 110"/>
                <a:gd name="T31" fmla="*/ 491 h 142"/>
                <a:gd name="T32" fmla="*/ 56 w 110"/>
                <a:gd name="T33" fmla="*/ 508 h 1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0"/>
                <a:gd name="T52" fmla="*/ 0 h 142"/>
                <a:gd name="T53" fmla="*/ 110 w 110"/>
                <a:gd name="T54" fmla="*/ 142 h 1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0" h="142">
                  <a:moveTo>
                    <a:pt x="0" y="0"/>
                  </a:moveTo>
                  <a:lnTo>
                    <a:pt x="3" y="5"/>
                  </a:lnTo>
                  <a:lnTo>
                    <a:pt x="9" y="12"/>
                  </a:lnTo>
                  <a:lnTo>
                    <a:pt x="16" y="20"/>
                  </a:lnTo>
                  <a:lnTo>
                    <a:pt x="25" y="29"/>
                  </a:lnTo>
                  <a:lnTo>
                    <a:pt x="34" y="39"/>
                  </a:lnTo>
                  <a:lnTo>
                    <a:pt x="43" y="50"/>
                  </a:lnTo>
                  <a:lnTo>
                    <a:pt x="53" y="61"/>
                  </a:lnTo>
                  <a:lnTo>
                    <a:pt x="63" y="72"/>
                  </a:lnTo>
                  <a:lnTo>
                    <a:pt x="72" y="84"/>
                  </a:lnTo>
                  <a:lnTo>
                    <a:pt x="81" y="94"/>
                  </a:lnTo>
                  <a:lnTo>
                    <a:pt x="90" y="105"/>
                  </a:lnTo>
                  <a:lnTo>
                    <a:pt x="97" y="114"/>
                  </a:lnTo>
                  <a:lnTo>
                    <a:pt x="102" y="123"/>
                  </a:lnTo>
                  <a:lnTo>
                    <a:pt x="107" y="130"/>
                  </a:lnTo>
                  <a:lnTo>
                    <a:pt x="109" y="137"/>
                  </a:lnTo>
                  <a:lnTo>
                    <a:pt x="109" y="141"/>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22" name="Line 175">
              <a:extLst>
                <a:ext uri="{FF2B5EF4-FFF2-40B4-BE49-F238E27FC236}">
                  <a16:creationId xmlns:a16="http://schemas.microsoft.com/office/drawing/2014/main" id="{DF0AEB67-A46E-AEDD-4141-E73CA894FB3E}"/>
                </a:ext>
              </a:extLst>
            </p:cNvPr>
            <p:cNvSpPr>
              <a:spLocks noChangeShapeType="1"/>
            </p:cNvSpPr>
            <p:nvPr/>
          </p:nvSpPr>
          <p:spPr bwMode="auto">
            <a:xfrm flipV="1">
              <a:off x="3525" y="1683"/>
              <a:ext cx="4" cy="1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23" name="Line 176">
              <a:extLst>
                <a:ext uri="{FF2B5EF4-FFF2-40B4-BE49-F238E27FC236}">
                  <a16:creationId xmlns:a16="http://schemas.microsoft.com/office/drawing/2014/main" id="{1CEAB721-B940-6D63-46D9-C9BFB29A6E87}"/>
                </a:ext>
              </a:extLst>
            </p:cNvPr>
            <p:cNvSpPr>
              <a:spLocks noChangeShapeType="1"/>
            </p:cNvSpPr>
            <p:nvPr/>
          </p:nvSpPr>
          <p:spPr bwMode="auto">
            <a:xfrm flipH="1" flipV="1">
              <a:off x="3624" y="1840"/>
              <a:ext cx="12" cy="1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24" name="Freeform 177">
              <a:extLst>
                <a:ext uri="{FF2B5EF4-FFF2-40B4-BE49-F238E27FC236}">
                  <a16:creationId xmlns:a16="http://schemas.microsoft.com/office/drawing/2014/main" id="{8A3C7B80-459A-9F69-E01E-85FFEC2C2BF1}"/>
                </a:ext>
              </a:extLst>
            </p:cNvPr>
            <p:cNvSpPr>
              <a:spLocks/>
            </p:cNvSpPr>
            <p:nvPr/>
          </p:nvSpPr>
          <p:spPr bwMode="auto">
            <a:xfrm>
              <a:off x="3629" y="1846"/>
              <a:ext cx="98" cy="69"/>
            </a:xfrm>
            <a:custGeom>
              <a:avLst/>
              <a:gdLst>
                <a:gd name="T0" fmla="*/ 1 w 103"/>
                <a:gd name="T1" fmla="*/ 0 h 62"/>
                <a:gd name="T2" fmla="*/ 0 w 103"/>
                <a:gd name="T3" fmla="*/ 4 h 62"/>
                <a:gd name="T4" fmla="*/ 2 w 103"/>
                <a:gd name="T5" fmla="*/ 27 h 62"/>
                <a:gd name="T6" fmla="*/ 7 w 103"/>
                <a:gd name="T7" fmla="*/ 41 h 62"/>
                <a:gd name="T8" fmla="*/ 10 w 103"/>
                <a:gd name="T9" fmla="*/ 62 h 62"/>
                <a:gd name="T10" fmla="*/ 10 w 103"/>
                <a:gd name="T11" fmla="*/ 78 h 62"/>
                <a:gd name="T12" fmla="*/ 17 w 103"/>
                <a:gd name="T13" fmla="*/ 97 h 62"/>
                <a:gd name="T14" fmla="*/ 22 w 103"/>
                <a:gd name="T15" fmla="*/ 120 h 62"/>
                <a:gd name="T16" fmla="*/ 27 w 103"/>
                <a:gd name="T17" fmla="*/ 136 h 62"/>
                <a:gd name="T18" fmla="*/ 31 w 103"/>
                <a:gd name="T19" fmla="*/ 151 h 62"/>
                <a:gd name="T20" fmla="*/ 37 w 103"/>
                <a:gd name="T21" fmla="*/ 168 h 62"/>
                <a:gd name="T22" fmla="*/ 43 w 103"/>
                <a:gd name="T23" fmla="*/ 185 h 62"/>
                <a:gd name="T24" fmla="*/ 47 w 103"/>
                <a:gd name="T25" fmla="*/ 195 h 62"/>
                <a:gd name="T26" fmla="*/ 51 w 103"/>
                <a:gd name="T27" fmla="*/ 206 h 62"/>
                <a:gd name="T28" fmla="*/ 54 w 103"/>
                <a:gd name="T29" fmla="*/ 211 h 62"/>
                <a:gd name="T30" fmla="*/ 56 w 103"/>
                <a:gd name="T31" fmla="*/ 223 h 62"/>
                <a:gd name="T32" fmla="*/ 57 w 103"/>
                <a:gd name="T33" fmla="*/ 223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3"/>
                <a:gd name="T52" fmla="*/ 0 h 62"/>
                <a:gd name="T53" fmla="*/ 103 w 103"/>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3" h="62">
                  <a:moveTo>
                    <a:pt x="1" y="0"/>
                  </a:moveTo>
                  <a:lnTo>
                    <a:pt x="0" y="4"/>
                  </a:lnTo>
                  <a:lnTo>
                    <a:pt x="2" y="8"/>
                  </a:lnTo>
                  <a:lnTo>
                    <a:pt x="7" y="12"/>
                  </a:lnTo>
                  <a:lnTo>
                    <a:pt x="13" y="17"/>
                  </a:lnTo>
                  <a:lnTo>
                    <a:pt x="20" y="22"/>
                  </a:lnTo>
                  <a:lnTo>
                    <a:pt x="29" y="27"/>
                  </a:lnTo>
                  <a:lnTo>
                    <a:pt x="38" y="33"/>
                  </a:lnTo>
                  <a:lnTo>
                    <a:pt x="48" y="38"/>
                  </a:lnTo>
                  <a:lnTo>
                    <a:pt x="58" y="42"/>
                  </a:lnTo>
                  <a:lnTo>
                    <a:pt x="67" y="47"/>
                  </a:lnTo>
                  <a:lnTo>
                    <a:pt x="76" y="51"/>
                  </a:lnTo>
                  <a:lnTo>
                    <a:pt x="84" y="54"/>
                  </a:lnTo>
                  <a:lnTo>
                    <a:pt x="92" y="57"/>
                  </a:lnTo>
                  <a:lnTo>
                    <a:pt x="98" y="59"/>
                  </a:lnTo>
                  <a:lnTo>
                    <a:pt x="101" y="61"/>
                  </a:lnTo>
                  <a:lnTo>
                    <a:pt x="102" y="61"/>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25" name="Line 178">
              <a:extLst>
                <a:ext uri="{FF2B5EF4-FFF2-40B4-BE49-F238E27FC236}">
                  <a16:creationId xmlns:a16="http://schemas.microsoft.com/office/drawing/2014/main" id="{A118D3DC-CFD6-6DAA-C4D1-62DEAAEDD2D3}"/>
                </a:ext>
              </a:extLst>
            </p:cNvPr>
            <p:cNvSpPr>
              <a:spLocks noChangeShapeType="1"/>
            </p:cNvSpPr>
            <p:nvPr/>
          </p:nvSpPr>
          <p:spPr bwMode="auto">
            <a:xfrm>
              <a:off x="3627" y="1845"/>
              <a:ext cx="5" cy="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26" name="Line 179">
              <a:extLst>
                <a:ext uri="{FF2B5EF4-FFF2-40B4-BE49-F238E27FC236}">
                  <a16:creationId xmlns:a16="http://schemas.microsoft.com/office/drawing/2014/main" id="{4E8572F1-0ACB-4723-8906-20124D442D21}"/>
                </a:ext>
              </a:extLst>
            </p:cNvPr>
            <p:cNvSpPr>
              <a:spLocks noChangeShapeType="1"/>
            </p:cNvSpPr>
            <p:nvPr/>
          </p:nvSpPr>
          <p:spPr bwMode="auto">
            <a:xfrm flipH="1">
              <a:off x="3721" y="1912"/>
              <a:ext cx="9" cy="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11327" name="Freeform 180">
              <a:extLst>
                <a:ext uri="{FF2B5EF4-FFF2-40B4-BE49-F238E27FC236}">
                  <a16:creationId xmlns:a16="http://schemas.microsoft.com/office/drawing/2014/main" id="{529C4BCA-B7D2-4E25-2D73-2A1359CBA7D1}"/>
                </a:ext>
              </a:extLst>
            </p:cNvPr>
            <p:cNvSpPr>
              <a:spLocks/>
            </p:cNvSpPr>
            <p:nvPr/>
          </p:nvSpPr>
          <p:spPr bwMode="auto">
            <a:xfrm>
              <a:off x="2982" y="1311"/>
              <a:ext cx="48" cy="29"/>
            </a:xfrm>
            <a:custGeom>
              <a:avLst/>
              <a:gdLst>
                <a:gd name="T0" fmla="*/ 0 w 50"/>
                <a:gd name="T1" fmla="*/ 40 h 26"/>
                <a:gd name="T2" fmla="*/ 1 w 50"/>
                <a:gd name="T3" fmla="*/ 45 h 26"/>
                <a:gd name="T4" fmla="*/ 3 w 50"/>
                <a:gd name="T5" fmla="*/ 50 h 26"/>
                <a:gd name="T6" fmla="*/ 6 w 50"/>
                <a:gd name="T7" fmla="*/ 55 h 26"/>
                <a:gd name="T8" fmla="*/ 9 w 50"/>
                <a:gd name="T9" fmla="*/ 56 h 26"/>
                <a:gd name="T10" fmla="*/ 11 w 50"/>
                <a:gd name="T11" fmla="*/ 61 h 26"/>
                <a:gd name="T12" fmla="*/ 12 w 50"/>
                <a:gd name="T13" fmla="*/ 62 h 26"/>
                <a:gd name="T14" fmla="*/ 12 w 50"/>
                <a:gd name="T15" fmla="*/ 68 h 26"/>
                <a:gd name="T16" fmla="*/ 12 w 50"/>
                <a:gd name="T17" fmla="*/ 69 h 26"/>
                <a:gd name="T18" fmla="*/ 12 w 50"/>
                <a:gd name="T19" fmla="*/ 76 h 26"/>
                <a:gd name="T20" fmla="*/ 12 w 50"/>
                <a:gd name="T21" fmla="*/ 77 h 26"/>
                <a:gd name="T22" fmla="*/ 14 w 50"/>
                <a:gd name="T23" fmla="*/ 85 h 26"/>
                <a:gd name="T24" fmla="*/ 16 w 50"/>
                <a:gd name="T25" fmla="*/ 86 h 26"/>
                <a:gd name="T26" fmla="*/ 18 w 50"/>
                <a:gd name="T27" fmla="*/ 86 h 26"/>
                <a:gd name="T28" fmla="*/ 21 w 50"/>
                <a:gd name="T29" fmla="*/ 88 h 26"/>
                <a:gd name="T30" fmla="*/ 24 w 50"/>
                <a:gd name="T31" fmla="*/ 95 h 26"/>
                <a:gd name="T32" fmla="*/ 25 w 50"/>
                <a:gd name="T33" fmla="*/ 95 h 26"/>
                <a:gd name="T34" fmla="*/ 31 w 50"/>
                <a:gd name="T35" fmla="*/ 50 h 26"/>
                <a:gd name="T36" fmla="*/ 29 w 50"/>
                <a:gd name="T37" fmla="*/ 45 h 26"/>
                <a:gd name="T38" fmla="*/ 28 w 50"/>
                <a:gd name="T39" fmla="*/ 40 h 26"/>
                <a:gd name="T40" fmla="*/ 27 w 50"/>
                <a:gd name="T41" fmla="*/ 40 h 26"/>
                <a:gd name="T42" fmla="*/ 26 w 50"/>
                <a:gd name="T43" fmla="*/ 36 h 26"/>
                <a:gd name="T44" fmla="*/ 25 w 50"/>
                <a:gd name="T45" fmla="*/ 36 h 26"/>
                <a:gd name="T46" fmla="*/ 23 w 50"/>
                <a:gd name="T47" fmla="*/ 32 h 26"/>
                <a:gd name="T48" fmla="*/ 20 w 50"/>
                <a:gd name="T49" fmla="*/ 29 h 26"/>
                <a:gd name="T50" fmla="*/ 18 w 50"/>
                <a:gd name="T51" fmla="*/ 26 h 26"/>
                <a:gd name="T52" fmla="*/ 16 w 50"/>
                <a:gd name="T53" fmla="*/ 26 h 26"/>
                <a:gd name="T54" fmla="*/ 14 w 50"/>
                <a:gd name="T55" fmla="*/ 23 h 26"/>
                <a:gd name="T56" fmla="*/ 12 w 50"/>
                <a:gd name="T57" fmla="*/ 21 h 26"/>
                <a:gd name="T58" fmla="*/ 12 w 50"/>
                <a:gd name="T59" fmla="*/ 4 h 26"/>
                <a:gd name="T60" fmla="*/ 12 w 50"/>
                <a:gd name="T61" fmla="*/ 3 h 26"/>
                <a:gd name="T62" fmla="*/ 12 w 50"/>
                <a:gd name="T63" fmla="*/ 2 h 26"/>
                <a:gd name="T64" fmla="*/ 12 w 50"/>
                <a:gd name="T65" fmla="*/ 1 h 26"/>
                <a:gd name="T66" fmla="*/ 12 w 50"/>
                <a:gd name="T67" fmla="*/ 0 h 26"/>
                <a:gd name="T68" fmla="*/ 0 w 50"/>
                <a:gd name="T69" fmla="*/ 40 h 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0"/>
                <a:gd name="T106" fmla="*/ 0 h 26"/>
                <a:gd name="T107" fmla="*/ 50 w 50"/>
                <a:gd name="T108" fmla="*/ 26 h 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0" h="26">
                  <a:moveTo>
                    <a:pt x="0" y="11"/>
                  </a:moveTo>
                  <a:lnTo>
                    <a:pt x="1" y="12"/>
                  </a:lnTo>
                  <a:lnTo>
                    <a:pt x="3" y="13"/>
                  </a:lnTo>
                  <a:lnTo>
                    <a:pt x="6" y="14"/>
                  </a:lnTo>
                  <a:lnTo>
                    <a:pt x="9" y="15"/>
                  </a:lnTo>
                  <a:lnTo>
                    <a:pt x="11" y="16"/>
                  </a:lnTo>
                  <a:lnTo>
                    <a:pt x="13" y="17"/>
                  </a:lnTo>
                  <a:lnTo>
                    <a:pt x="16" y="18"/>
                  </a:lnTo>
                  <a:lnTo>
                    <a:pt x="18" y="19"/>
                  </a:lnTo>
                  <a:lnTo>
                    <a:pt x="20" y="20"/>
                  </a:lnTo>
                  <a:lnTo>
                    <a:pt x="22" y="21"/>
                  </a:lnTo>
                  <a:lnTo>
                    <a:pt x="26" y="22"/>
                  </a:lnTo>
                  <a:lnTo>
                    <a:pt x="28" y="23"/>
                  </a:lnTo>
                  <a:lnTo>
                    <a:pt x="30" y="23"/>
                  </a:lnTo>
                  <a:lnTo>
                    <a:pt x="33" y="24"/>
                  </a:lnTo>
                  <a:lnTo>
                    <a:pt x="36" y="25"/>
                  </a:lnTo>
                  <a:lnTo>
                    <a:pt x="38" y="25"/>
                  </a:lnTo>
                  <a:lnTo>
                    <a:pt x="49" y="13"/>
                  </a:lnTo>
                  <a:lnTo>
                    <a:pt x="46" y="12"/>
                  </a:lnTo>
                  <a:lnTo>
                    <a:pt x="43" y="11"/>
                  </a:lnTo>
                  <a:lnTo>
                    <a:pt x="41" y="11"/>
                  </a:lnTo>
                  <a:lnTo>
                    <a:pt x="39" y="10"/>
                  </a:lnTo>
                  <a:lnTo>
                    <a:pt x="37" y="10"/>
                  </a:lnTo>
                  <a:lnTo>
                    <a:pt x="35" y="9"/>
                  </a:lnTo>
                  <a:lnTo>
                    <a:pt x="32" y="8"/>
                  </a:lnTo>
                  <a:lnTo>
                    <a:pt x="30" y="7"/>
                  </a:lnTo>
                  <a:lnTo>
                    <a:pt x="28" y="7"/>
                  </a:lnTo>
                  <a:lnTo>
                    <a:pt x="26" y="6"/>
                  </a:lnTo>
                  <a:lnTo>
                    <a:pt x="23" y="5"/>
                  </a:lnTo>
                  <a:lnTo>
                    <a:pt x="22" y="4"/>
                  </a:lnTo>
                  <a:lnTo>
                    <a:pt x="20" y="3"/>
                  </a:lnTo>
                  <a:lnTo>
                    <a:pt x="18" y="2"/>
                  </a:lnTo>
                  <a:lnTo>
                    <a:pt x="17" y="1"/>
                  </a:lnTo>
                  <a:lnTo>
                    <a:pt x="14" y="0"/>
                  </a:lnTo>
                  <a:lnTo>
                    <a:pt x="0" y="11"/>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28" name="Freeform 181">
              <a:extLst>
                <a:ext uri="{FF2B5EF4-FFF2-40B4-BE49-F238E27FC236}">
                  <a16:creationId xmlns:a16="http://schemas.microsoft.com/office/drawing/2014/main" id="{F82A95F0-478E-A5AF-366C-88A01CD55767}"/>
                </a:ext>
              </a:extLst>
            </p:cNvPr>
            <p:cNvSpPr>
              <a:spLocks/>
            </p:cNvSpPr>
            <p:nvPr/>
          </p:nvSpPr>
          <p:spPr bwMode="auto">
            <a:xfrm>
              <a:off x="2896" y="1416"/>
              <a:ext cx="22" cy="18"/>
            </a:xfrm>
            <a:custGeom>
              <a:avLst/>
              <a:gdLst>
                <a:gd name="T0" fmla="*/ 0 w 23"/>
                <a:gd name="T1" fmla="*/ 30 h 16"/>
                <a:gd name="T2" fmla="*/ 0 w 23"/>
                <a:gd name="T3" fmla="*/ 30 h 16"/>
                <a:gd name="T4" fmla="*/ 0 w 23"/>
                <a:gd name="T5" fmla="*/ 34 h 16"/>
                <a:gd name="T6" fmla="*/ 0 w 23"/>
                <a:gd name="T7" fmla="*/ 38 h 16"/>
                <a:gd name="T8" fmla="*/ 1 w 23"/>
                <a:gd name="T9" fmla="*/ 43 h 16"/>
                <a:gd name="T10" fmla="*/ 2 w 23"/>
                <a:gd name="T11" fmla="*/ 48 h 16"/>
                <a:gd name="T12" fmla="*/ 3 w 23"/>
                <a:gd name="T13" fmla="*/ 54 h 16"/>
                <a:gd name="T14" fmla="*/ 4 w 23"/>
                <a:gd name="T15" fmla="*/ 54 h 16"/>
                <a:gd name="T16" fmla="*/ 6 w 23"/>
                <a:gd name="T17" fmla="*/ 55 h 16"/>
                <a:gd name="T18" fmla="*/ 7 w 23"/>
                <a:gd name="T19" fmla="*/ 55 h 16"/>
                <a:gd name="T20" fmla="*/ 8 w 23"/>
                <a:gd name="T21" fmla="*/ 55 h 16"/>
                <a:gd name="T22" fmla="*/ 9 w 23"/>
                <a:gd name="T23" fmla="*/ 61 h 16"/>
                <a:gd name="T24" fmla="*/ 10 w 23"/>
                <a:gd name="T25" fmla="*/ 61 h 16"/>
                <a:gd name="T26" fmla="*/ 11 w 23"/>
                <a:gd name="T27" fmla="*/ 61 h 16"/>
                <a:gd name="T28" fmla="*/ 11 w 23"/>
                <a:gd name="T29" fmla="*/ 61 h 16"/>
                <a:gd name="T30" fmla="*/ 11 w 23"/>
                <a:gd name="T31" fmla="*/ 61 h 16"/>
                <a:gd name="T32" fmla="*/ 11 w 23"/>
                <a:gd name="T33" fmla="*/ 55 h 16"/>
                <a:gd name="T34" fmla="*/ 11 w 23"/>
                <a:gd name="T35" fmla="*/ 55 h 16"/>
                <a:gd name="T36" fmla="*/ 11 w 23"/>
                <a:gd name="T37" fmla="*/ 55 h 16"/>
                <a:gd name="T38" fmla="*/ 11 w 23"/>
                <a:gd name="T39" fmla="*/ 54 h 16"/>
                <a:gd name="T40" fmla="*/ 11 w 23"/>
                <a:gd name="T41" fmla="*/ 54 h 16"/>
                <a:gd name="T42" fmla="*/ 11 w 23"/>
                <a:gd name="T43" fmla="*/ 54 h 16"/>
                <a:gd name="T44" fmla="*/ 11 w 23"/>
                <a:gd name="T45" fmla="*/ 48 h 16"/>
                <a:gd name="T46" fmla="*/ 11 w 23"/>
                <a:gd name="T47" fmla="*/ 43 h 16"/>
                <a:gd name="T48" fmla="*/ 11 w 23"/>
                <a:gd name="T49" fmla="*/ 43 h 16"/>
                <a:gd name="T50" fmla="*/ 11 w 23"/>
                <a:gd name="T51" fmla="*/ 38 h 16"/>
                <a:gd name="T52" fmla="*/ 11 w 23"/>
                <a:gd name="T53" fmla="*/ 38 h 16"/>
                <a:gd name="T54" fmla="*/ 11 w 23"/>
                <a:gd name="T55" fmla="*/ 34 h 16"/>
                <a:gd name="T56" fmla="*/ 11 w 23"/>
                <a:gd name="T57" fmla="*/ 30 h 16"/>
                <a:gd name="T58" fmla="*/ 11 w 23"/>
                <a:gd name="T59" fmla="*/ 27 h 16"/>
                <a:gd name="T60" fmla="*/ 11 w 23"/>
                <a:gd name="T61" fmla="*/ 24 h 16"/>
                <a:gd name="T62" fmla="*/ 11 w 23"/>
                <a:gd name="T63" fmla="*/ 21 h 16"/>
                <a:gd name="T64" fmla="*/ 11 w 23"/>
                <a:gd name="T65" fmla="*/ 21 h 16"/>
                <a:gd name="T66" fmla="*/ 11 w 23"/>
                <a:gd name="T67" fmla="*/ 19 h 16"/>
                <a:gd name="T68" fmla="*/ 11 w 23"/>
                <a:gd name="T69" fmla="*/ 3 h 16"/>
                <a:gd name="T70" fmla="*/ 11 w 23"/>
                <a:gd name="T71" fmla="*/ 2 h 16"/>
                <a:gd name="T72" fmla="*/ 11 w 23"/>
                <a:gd name="T73" fmla="*/ 2 h 16"/>
                <a:gd name="T74" fmla="*/ 11 w 23"/>
                <a:gd name="T75" fmla="*/ 2 h 16"/>
                <a:gd name="T76" fmla="*/ 11 w 23"/>
                <a:gd name="T77" fmla="*/ 1 h 16"/>
                <a:gd name="T78" fmla="*/ 11 w 23"/>
                <a:gd name="T79" fmla="*/ 1 h 16"/>
                <a:gd name="T80" fmla="*/ 11 w 23"/>
                <a:gd name="T81" fmla="*/ 1 h 16"/>
                <a:gd name="T82" fmla="*/ 11 w 23"/>
                <a:gd name="T83" fmla="*/ 0 h 16"/>
                <a:gd name="T84" fmla="*/ 11 w 23"/>
                <a:gd name="T85" fmla="*/ 0 h 16"/>
                <a:gd name="T86" fmla="*/ 11 w 23"/>
                <a:gd name="T87" fmla="*/ 0 h 16"/>
                <a:gd name="T88" fmla="*/ 10 w 23"/>
                <a:gd name="T89" fmla="*/ 0 h 16"/>
                <a:gd name="T90" fmla="*/ 9 w 23"/>
                <a:gd name="T91" fmla="*/ 0 h 16"/>
                <a:gd name="T92" fmla="*/ 8 w 23"/>
                <a:gd name="T93" fmla="*/ 1 h 16"/>
                <a:gd name="T94" fmla="*/ 7 w 23"/>
                <a:gd name="T95" fmla="*/ 1 h 16"/>
                <a:gd name="T96" fmla="*/ 6 w 23"/>
                <a:gd name="T97" fmla="*/ 1 h 16"/>
                <a:gd name="T98" fmla="*/ 4 w 23"/>
                <a:gd name="T99" fmla="*/ 2 h 16"/>
                <a:gd name="T100" fmla="*/ 3 w 23"/>
                <a:gd name="T101" fmla="*/ 2 h 16"/>
                <a:gd name="T102" fmla="*/ 2 w 23"/>
                <a:gd name="T103" fmla="*/ 3 h 16"/>
                <a:gd name="T104" fmla="*/ 1 w 23"/>
                <a:gd name="T105" fmla="*/ 3 h 16"/>
                <a:gd name="T106" fmla="*/ 1 w 23"/>
                <a:gd name="T107" fmla="*/ 19 h 16"/>
                <a:gd name="T108" fmla="*/ 0 w 23"/>
                <a:gd name="T109" fmla="*/ 21 h 16"/>
                <a:gd name="T110" fmla="*/ 0 w 23"/>
                <a:gd name="T111" fmla="*/ 24 h 16"/>
                <a:gd name="T112" fmla="*/ 0 w 23"/>
                <a:gd name="T113" fmla="*/ 27 h 16"/>
                <a:gd name="T114" fmla="*/ 0 w 23"/>
                <a:gd name="T115" fmla="*/ 30 h 1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
                <a:gd name="T175" fmla="*/ 0 h 16"/>
                <a:gd name="T176" fmla="*/ 23 w 23"/>
                <a:gd name="T177" fmla="*/ 16 h 1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 h="16">
                  <a:moveTo>
                    <a:pt x="0" y="8"/>
                  </a:moveTo>
                  <a:lnTo>
                    <a:pt x="0" y="8"/>
                  </a:lnTo>
                  <a:lnTo>
                    <a:pt x="0" y="9"/>
                  </a:lnTo>
                  <a:lnTo>
                    <a:pt x="0" y="10"/>
                  </a:lnTo>
                  <a:lnTo>
                    <a:pt x="1" y="11"/>
                  </a:lnTo>
                  <a:lnTo>
                    <a:pt x="2" y="12"/>
                  </a:lnTo>
                  <a:lnTo>
                    <a:pt x="3" y="13"/>
                  </a:lnTo>
                  <a:lnTo>
                    <a:pt x="4" y="13"/>
                  </a:lnTo>
                  <a:lnTo>
                    <a:pt x="6" y="14"/>
                  </a:lnTo>
                  <a:lnTo>
                    <a:pt x="7" y="14"/>
                  </a:lnTo>
                  <a:lnTo>
                    <a:pt x="8" y="14"/>
                  </a:lnTo>
                  <a:lnTo>
                    <a:pt x="9" y="15"/>
                  </a:lnTo>
                  <a:lnTo>
                    <a:pt x="10" y="15"/>
                  </a:lnTo>
                  <a:lnTo>
                    <a:pt x="11" y="15"/>
                  </a:lnTo>
                  <a:lnTo>
                    <a:pt x="12" y="15"/>
                  </a:lnTo>
                  <a:lnTo>
                    <a:pt x="13" y="15"/>
                  </a:lnTo>
                  <a:lnTo>
                    <a:pt x="14" y="14"/>
                  </a:lnTo>
                  <a:lnTo>
                    <a:pt x="15" y="14"/>
                  </a:lnTo>
                  <a:lnTo>
                    <a:pt x="17" y="14"/>
                  </a:lnTo>
                  <a:lnTo>
                    <a:pt x="17" y="13"/>
                  </a:lnTo>
                  <a:lnTo>
                    <a:pt x="18" y="13"/>
                  </a:lnTo>
                  <a:lnTo>
                    <a:pt x="19" y="13"/>
                  </a:lnTo>
                  <a:lnTo>
                    <a:pt x="20" y="12"/>
                  </a:lnTo>
                  <a:lnTo>
                    <a:pt x="20" y="11"/>
                  </a:lnTo>
                  <a:lnTo>
                    <a:pt x="21" y="11"/>
                  </a:lnTo>
                  <a:lnTo>
                    <a:pt x="21" y="10"/>
                  </a:lnTo>
                  <a:lnTo>
                    <a:pt x="22" y="10"/>
                  </a:lnTo>
                  <a:lnTo>
                    <a:pt x="22" y="9"/>
                  </a:lnTo>
                  <a:lnTo>
                    <a:pt x="22" y="8"/>
                  </a:lnTo>
                  <a:lnTo>
                    <a:pt x="22" y="7"/>
                  </a:lnTo>
                  <a:lnTo>
                    <a:pt x="22" y="6"/>
                  </a:lnTo>
                  <a:lnTo>
                    <a:pt x="22" y="5"/>
                  </a:lnTo>
                  <a:lnTo>
                    <a:pt x="21" y="5"/>
                  </a:lnTo>
                  <a:lnTo>
                    <a:pt x="21" y="4"/>
                  </a:lnTo>
                  <a:lnTo>
                    <a:pt x="20" y="3"/>
                  </a:lnTo>
                  <a:lnTo>
                    <a:pt x="19" y="2"/>
                  </a:lnTo>
                  <a:lnTo>
                    <a:pt x="18" y="2"/>
                  </a:lnTo>
                  <a:lnTo>
                    <a:pt x="17" y="2"/>
                  </a:lnTo>
                  <a:lnTo>
                    <a:pt x="17" y="1"/>
                  </a:lnTo>
                  <a:lnTo>
                    <a:pt x="15" y="1"/>
                  </a:lnTo>
                  <a:lnTo>
                    <a:pt x="14" y="1"/>
                  </a:lnTo>
                  <a:lnTo>
                    <a:pt x="13" y="0"/>
                  </a:lnTo>
                  <a:lnTo>
                    <a:pt x="12" y="0"/>
                  </a:lnTo>
                  <a:lnTo>
                    <a:pt x="11" y="0"/>
                  </a:lnTo>
                  <a:lnTo>
                    <a:pt x="10" y="0"/>
                  </a:lnTo>
                  <a:lnTo>
                    <a:pt x="9" y="0"/>
                  </a:lnTo>
                  <a:lnTo>
                    <a:pt x="8" y="1"/>
                  </a:lnTo>
                  <a:lnTo>
                    <a:pt x="7" y="1"/>
                  </a:lnTo>
                  <a:lnTo>
                    <a:pt x="6" y="1"/>
                  </a:lnTo>
                  <a:lnTo>
                    <a:pt x="4" y="2"/>
                  </a:lnTo>
                  <a:lnTo>
                    <a:pt x="3" y="2"/>
                  </a:lnTo>
                  <a:lnTo>
                    <a:pt x="2" y="3"/>
                  </a:lnTo>
                  <a:lnTo>
                    <a:pt x="1" y="3"/>
                  </a:lnTo>
                  <a:lnTo>
                    <a:pt x="1" y="4"/>
                  </a:lnTo>
                  <a:lnTo>
                    <a:pt x="0" y="5"/>
                  </a:lnTo>
                  <a:lnTo>
                    <a:pt x="0" y="6"/>
                  </a:lnTo>
                  <a:lnTo>
                    <a:pt x="0" y="7"/>
                  </a:lnTo>
                  <a:lnTo>
                    <a:pt x="0" y="8"/>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29" name="Freeform 182">
              <a:extLst>
                <a:ext uri="{FF2B5EF4-FFF2-40B4-BE49-F238E27FC236}">
                  <a16:creationId xmlns:a16="http://schemas.microsoft.com/office/drawing/2014/main" id="{EE967765-D4BE-5A77-29AB-588B6DD10F83}"/>
                </a:ext>
              </a:extLst>
            </p:cNvPr>
            <p:cNvSpPr>
              <a:spLocks/>
            </p:cNvSpPr>
            <p:nvPr/>
          </p:nvSpPr>
          <p:spPr bwMode="auto">
            <a:xfrm>
              <a:off x="2740" y="1262"/>
              <a:ext cx="50" cy="52"/>
            </a:xfrm>
            <a:custGeom>
              <a:avLst/>
              <a:gdLst>
                <a:gd name="T0" fmla="*/ 18 w 52"/>
                <a:gd name="T1" fmla="*/ 0 h 47"/>
                <a:gd name="T2" fmla="*/ 17 w 52"/>
                <a:gd name="T3" fmla="*/ 2 h 47"/>
                <a:gd name="T4" fmla="*/ 15 w 52"/>
                <a:gd name="T5" fmla="*/ 19 h 47"/>
                <a:gd name="T6" fmla="*/ 13 w 52"/>
                <a:gd name="T7" fmla="*/ 25 h 47"/>
                <a:gd name="T8" fmla="*/ 13 w 52"/>
                <a:gd name="T9" fmla="*/ 31 h 47"/>
                <a:gd name="T10" fmla="*/ 13 w 52"/>
                <a:gd name="T11" fmla="*/ 42 h 47"/>
                <a:gd name="T12" fmla="*/ 13 w 52"/>
                <a:gd name="T13" fmla="*/ 55 h 47"/>
                <a:gd name="T14" fmla="*/ 13 w 52"/>
                <a:gd name="T15" fmla="*/ 61 h 47"/>
                <a:gd name="T16" fmla="*/ 13 w 52"/>
                <a:gd name="T17" fmla="*/ 69 h 47"/>
                <a:gd name="T18" fmla="*/ 12 w 52"/>
                <a:gd name="T19" fmla="*/ 76 h 47"/>
                <a:gd name="T20" fmla="*/ 10 w 52"/>
                <a:gd name="T21" fmla="*/ 89 h 47"/>
                <a:gd name="T22" fmla="*/ 8 w 52"/>
                <a:gd name="T23" fmla="*/ 98 h 47"/>
                <a:gd name="T24" fmla="*/ 6 w 52"/>
                <a:gd name="T25" fmla="*/ 103 h 47"/>
                <a:gd name="T26" fmla="*/ 3 w 52"/>
                <a:gd name="T27" fmla="*/ 114 h 47"/>
                <a:gd name="T28" fmla="*/ 2 w 52"/>
                <a:gd name="T29" fmla="*/ 124 h 47"/>
                <a:gd name="T30" fmla="*/ 1 w 52"/>
                <a:gd name="T31" fmla="*/ 136 h 47"/>
                <a:gd name="T32" fmla="*/ 0 w 52"/>
                <a:gd name="T33" fmla="*/ 146 h 47"/>
                <a:gd name="T34" fmla="*/ 13 w 52"/>
                <a:gd name="T35" fmla="*/ 154 h 47"/>
                <a:gd name="T36" fmla="*/ 13 w 52"/>
                <a:gd name="T37" fmla="*/ 150 h 47"/>
                <a:gd name="T38" fmla="*/ 13 w 52"/>
                <a:gd name="T39" fmla="*/ 137 h 47"/>
                <a:gd name="T40" fmla="*/ 15 w 52"/>
                <a:gd name="T41" fmla="*/ 126 h 47"/>
                <a:gd name="T42" fmla="*/ 16 w 52"/>
                <a:gd name="T43" fmla="*/ 123 h 47"/>
                <a:gd name="T44" fmla="*/ 18 w 52"/>
                <a:gd name="T45" fmla="*/ 112 h 47"/>
                <a:gd name="T46" fmla="*/ 20 w 52"/>
                <a:gd name="T47" fmla="*/ 103 h 47"/>
                <a:gd name="T48" fmla="*/ 22 w 52"/>
                <a:gd name="T49" fmla="*/ 93 h 47"/>
                <a:gd name="T50" fmla="*/ 25 w 52"/>
                <a:gd name="T51" fmla="*/ 89 h 47"/>
                <a:gd name="T52" fmla="*/ 27 w 52"/>
                <a:gd name="T53" fmla="*/ 76 h 47"/>
                <a:gd name="T54" fmla="*/ 28 w 52"/>
                <a:gd name="T55" fmla="*/ 67 h 47"/>
                <a:gd name="T56" fmla="*/ 29 w 52"/>
                <a:gd name="T57" fmla="*/ 61 h 47"/>
                <a:gd name="T58" fmla="*/ 29 w 52"/>
                <a:gd name="T59" fmla="*/ 51 h 47"/>
                <a:gd name="T60" fmla="*/ 31 w 52"/>
                <a:gd name="T61" fmla="*/ 42 h 47"/>
                <a:gd name="T62" fmla="*/ 32 w 52"/>
                <a:gd name="T63" fmla="*/ 31 h 47"/>
                <a:gd name="T64" fmla="*/ 32 w 52"/>
                <a:gd name="T65" fmla="*/ 23 h 47"/>
                <a:gd name="T66" fmla="*/ 33 w 52"/>
                <a:gd name="T67" fmla="*/ 19 h 47"/>
                <a:gd name="T68" fmla="*/ 18 w 52"/>
                <a:gd name="T69" fmla="*/ 0 h 4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47"/>
                <a:gd name="T107" fmla="*/ 52 w 52"/>
                <a:gd name="T108" fmla="*/ 47 h 4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47">
                  <a:moveTo>
                    <a:pt x="30" y="0"/>
                  </a:moveTo>
                  <a:lnTo>
                    <a:pt x="29" y="2"/>
                  </a:lnTo>
                  <a:lnTo>
                    <a:pt x="27" y="5"/>
                  </a:lnTo>
                  <a:lnTo>
                    <a:pt x="24" y="8"/>
                  </a:lnTo>
                  <a:lnTo>
                    <a:pt x="23" y="10"/>
                  </a:lnTo>
                  <a:lnTo>
                    <a:pt x="21" y="13"/>
                  </a:lnTo>
                  <a:lnTo>
                    <a:pt x="19" y="16"/>
                  </a:lnTo>
                  <a:lnTo>
                    <a:pt x="17" y="18"/>
                  </a:lnTo>
                  <a:lnTo>
                    <a:pt x="14" y="21"/>
                  </a:lnTo>
                  <a:lnTo>
                    <a:pt x="12" y="23"/>
                  </a:lnTo>
                  <a:lnTo>
                    <a:pt x="10" y="26"/>
                  </a:lnTo>
                  <a:lnTo>
                    <a:pt x="8" y="29"/>
                  </a:lnTo>
                  <a:lnTo>
                    <a:pt x="6" y="31"/>
                  </a:lnTo>
                  <a:lnTo>
                    <a:pt x="3" y="34"/>
                  </a:lnTo>
                  <a:lnTo>
                    <a:pt x="2" y="37"/>
                  </a:lnTo>
                  <a:lnTo>
                    <a:pt x="1" y="40"/>
                  </a:lnTo>
                  <a:lnTo>
                    <a:pt x="0" y="43"/>
                  </a:lnTo>
                  <a:lnTo>
                    <a:pt x="22" y="46"/>
                  </a:lnTo>
                  <a:lnTo>
                    <a:pt x="23" y="44"/>
                  </a:lnTo>
                  <a:lnTo>
                    <a:pt x="24" y="41"/>
                  </a:lnTo>
                  <a:lnTo>
                    <a:pt x="27" y="38"/>
                  </a:lnTo>
                  <a:lnTo>
                    <a:pt x="28" y="36"/>
                  </a:lnTo>
                  <a:lnTo>
                    <a:pt x="30" y="33"/>
                  </a:lnTo>
                  <a:lnTo>
                    <a:pt x="32" y="31"/>
                  </a:lnTo>
                  <a:lnTo>
                    <a:pt x="34" y="28"/>
                  </a:lnTo>
                  <a:lnTo>
                    <a:pt x="37" y="26"/>
                  </a:lnTo>
                  <a:lnTo>
                    <a:pt x="39" y="23"/>
                  </a:lnTo>
                  <a:lnTo>
                    <a:pt x="41" y="20"/>
                  </a:lnTo>
                  <a:lnTo>
                    <a:pt x="43" y="18"/>
                  </a:lnTo>
                  <a:lnTo>
                    <a:pt x="44" y="15"/>
                  </a:lnTo>
                  <a:lnTo>
                    <a:pt x="47" y="13"/>
                  </a:lnTo>
                  <a:lnTo>
                    <a:pt x="49" y="10"/>
                  </a:lnTo>
                  <a:lnTo>
                    <a:pt x="50" y="7"/>
                  </a:lnTo>
                  <a:lnTo>
                    <a:pt x="51" y="5"/>
                  </a:lnTo>
                  <a:lnTo>
                    <a:pt x="30" y="0"/>
                  </a:lnTo>
                </a:path>
              </a:pathLst>
            </a:custGeom>
            <a:solidFill>
              <a:srgbClr val="C0E7F1"/>
            </a:solidFill>
            <a:ln w="12700" cap="rnd">
              <a:solidFill>
                <a:srgbClr val="232323"/>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30" name="Rectangle 183">
              <a:extLst>
                <a:ext uri="{FF2B5EF4-FFF2-40B4-BE49-F238E27FC236}">
                  <a16:creationId xmlns:a16="http://schemas.microsoft.com/office/drawing/2014/main" id="{1069E6EC-6C76-7866-EE4B-79B0512404FD}"/>
                </a:ext>
              </a:extLst>
            </p:cNvPr>
            <p:cNvSpPr>
              <a:spLocks noChangeArrowheads="1"/>
            </p:cNvSpPr>
            <p:nvPr/>
          </p:nvSpPr>
          <p:spPr bwMode="auto">
            <a:xfrm>
              <a:off x="560" y="1478"/>
              <a:ext cx="159" cy="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 </a:t>
              </a: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1331" name="Rectangle 184">
              <a:extLst>
                <a:ext uri="{FF2B5EF4-FFF2-40B4-BE49-F238E27FC236}">
                  <a16:creationId xmlns:a16="http://schemas.microsoft.com/office/drawing/2014/main" id="{057232CA-E7FF-5ED5-3721-3C3B44EC3AEA}"/>
                </a:ext>
              </a:extLst>
            </p:cNvPr>
            <p:cNvSpPr>
              <a:spLocks noChangeArrowheads="1"/>
            </p:cNvSpPr>
            <p:nvPr/>
          </p:nvSpPr>
          <p:spPr bwMode="auto">
            <a:xfrm>
              <a:off x="604" y="1510"/>
              <a:ext cx="853"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endParaRPr>
            </a:p>
          </p:txBody>
        </p:sp>
        <p:sp>
          <p:nvSpPr>
            <p:cNvPr id="11332" name="Freeform 185">
              <a:extLst>
                <a:ext uri="{FF2B5EF4-FFF2-40B4-BE49-F238E27FC236}">
                  <a16:creationId xmlns:a16="http://schemas.microsoft.com/office/drawing/2014/main" id="{B0038A28-4B68-4266-4B7C-78AA1A142978}"/>
                </a:ext>
              </a:extLst>
            </p:cNvPr>
            <p:cNvSpPr>
              <a:spLocks/>
            </p:cNvSpPr>
            <p:nvPr/>
          </p:nvSpPr>
          <p:spPr bwMode="auto">
            <a:xfrm>
              <a:off x="2390" y="1016"/>
              <a:ext cx="1259" cy="885"/>
            </a:xfrm>
            <a:custGeom>
              <a:avLst/>
              <a:gdLst>
                <a:gd name="T0" fmla="*/ 18 w 1331"/>
                <a:gd name="T1" fmla="*/ 2420 h 793"/>
                <a:gd name="T2" fmla="*/ 49 w 1331"/>
                <a:gd name="T3" fmla="*/ 2353 h 793"/>
                <a:gd name="T4" fmla="*/ 64 w 1331"/>
                <a:gd name="T5" fmla="*/ 2183 h 793"/>
                <a:gd name="T6" fmla="*/ 64 w 1331"/>
                <a:gd name="T7" fmla="*/ 1985 h 793"/>
                <a:gd name="T8" fmla="*/ 59 w 1331"/>
                <a:gd name="T9" fmla="*/ 1781 h 793"/>
                <a:gd name="T10" fmla="*/ 59 w 1331"/>
                <a:gd name="T11" fmla="*/ 1579 h 793"/>
                <a:gd name="T12" fmla="*/ 59 w 1331"/>
                <a:gd name="T13" fmla="*/ 1377 h 793"/>
                <a:gd name="T14" fmla="*/ 64 w 1331"/>
                <a:gd name="T15" fmla="*/ 1179 h 793"/>
                <a:gd name="T16" fmla="*/ 75 w 1331"/>
                <a:gd name="T17" fmla="*/ 973 h 793"/>
                <a:gd name="T18" fmla="*/ 101 w 1331"/>
                <a:gd name="T19" fmla="*/ 773 h 793"/>
                <a:gd name="T20" fmla="*/ 121 w 1331"/>
                <a:gd name="T21" fmla="*/ 573 h 793"/>
                <a:gd name="T22" fmla="*/ 137 w 1331"/>
                <a:gd name="T23" fmla="*/ 369 h 793"/>
                <a:gd name="T24" fmla="*/ 148 w 1331"/>
                <a:gd name="T25" fmla="*/ 165 h 793"/>
                <a:gd name="T26" fmla="*/ 167 w 1331"/>
                <a:gd name="T27" fmla="*/ 0 h 793"/>
                <a:gd name="T28" fmla="*/ 199 w 1331"/>
                <a:gd name="T29" fmla="*/ 133 h 793"/>
                <a:gd name="T30" fmla="*/ 231 w 1331"/>
                <a:gd name="T31" fmla="*/ 235 h 793"/>
                <a:gd name="T32" fmla="*/ 267 w 1331"/>
                <a:gd name="T33" fmla="*/ 336 h 793"/>
                <a:gd name="T34" fmla="*/ 304 w 1331"/>
                <a:gd name="T35" fmla="*/ 439 h 793"/>
                <a:gd name="T36" fmla="*/ 339 w 1331"/>
                <a:gd name="T37" fmla="*/ 538 h 793"/>
                <a:gd name="T38" fmla="*/ 382 w 1331"/>
                <a:gd name="T39" fmla="*/ 602 h 793"/>
                <a:gd name="T40" fmla="*/ 397 w 1331"/>
                <a:gd name="T41" fmla="*/ 805 h 793"/>
                <a:gd name="T42" fmla="*/ 407 w 1331"/>
                <a:gd name="T43" fmla="*/ 1040 h 793"/>
                <a:gd name="T44" fmla="*/ 428 w 1331"/>
                <a:gd name="T45" fmla="*/ 1244 h 793"/>
                <a:gd name="T46" fmla="*/ 455 w 1331"/>
                <a:gd name="T47" fmla="*/ 1446 h 793"/>
                <a:gd name="T48" fmla="*/ 484 w 1331"/>
                <a:gd name="T49" fmla="*/ 1579 h 793"/>
                <a:gd name="T50" fmla="*/ 516 w 1331"/>
                <a:gd name="T51" fmla="*/ 1711 h 793"/>
                <a:gd name="T52" fmla="*/ 547 w 1331"/>
                <a:gd name="T53" fmla="*/ 1846 h 793"/>
                <a:gd name="T54" fmla="*/ 577 w 1331"/>
                <a:gd name="T55" fmla="*/ 1952 h 793"/>
                <a:gd name="T56" fmla="*/ 603 w 1331"/>
                <a:gd name="T57" fmla="*/ 2152 h 793"/>
                <a:gd name="T58" fmla="*/ 636 w 1331"/>
                <a:gd name="T59" fmla="*/ 2284 h 793"/>
                <a:gd name="T60" fmla="*/ 667 w 1331"/>
                <a:gd name="T61" fmla="*/ 2451 h 793"/>
                <a:gd name="T62" fmla="*/ 682 w 1331"/>
                <a:gd name="T63" fmla="*/ 2655 h 793"/>
                <a:gd name="T64" fmla="*/ 661 w 1331"/>
                <a:gd name="T65" fmla="*/ 2792 h 793"/>
                <a:gd name="T66" fmla="*/ 631 w 1331"/>
                <a:gd name="T67" fmla="*/ 2822 h 793"/>
                <a:gd name="T68" fmla="*/ 600 w 1331"/>
                <a:gd name="T69" fmla="*/ 2859 h 793"/>
                <a:gd name="T70" fmla="*/ 568 w 1331"/>
                <a:gd name="T71" fmla="*/ 2859 h 793"/>
                <a:gd name="T72" fmla="*/ 568 w 1331"/>
                <a:gd name="T73" fmla="*/ 2822 h 793"/>
                <a:gd name="T74" fmla="*/ 568 w 1331"/>
                <a:gd name="T75" fmla="*/ 2859 h 793"/>
                <a:gd name="T76" fmla="*/ 537 w 1331"/>
                <a:gd name="T77" fmla="*/ 2888 h 793"/>
                <a:gd name="T78" fmla="*/ 507 w 1331"/>
                <a:gd name="T79" fmla="*/ 2921 h 793"/>
                <a:gd name="T80" fmla="*/ 475 w 1331"/>
                <a:gd name="T81" fmla="*/ 2960 h 793"/>
                <a:gd name="T82" fmla="*/ 444 w 1331"/>
                <a:gd name="T83" fmla="*/ 2960 h 793"/>
                <a:gd name="T84" fmla="*/ 412 w 1331"/>
                <a:gd name="T85" fmla="*/ 2921 h 793"/>
                <a:gd name="T86" fmla="*/ 382 w 1331"/>
                <a:gd name="T87" fmla="*/ 2888 h 793"/>
                <a:gd name="T88" fmla="*/ 350 w 1331"/>
                <a:gd name="T89" fmla="*/ 2859 h 793"/>
                <a:gd name="T90" fmla="*/ 319 w 1331"/>
                <a:gd name="T91" fmla="*/ 2822 h 793"/>
                <a:gd name="T92" fmla="*/ 282 w 1331"/>
                <a:gd name="T93" fmla="*/ 2822 h 793"/>
                <a:gd name="T94" fmla="*/ 252 w 1331"/>
                <a:gd name="T95" fmla="*/ 2792 h 793"/>
                <a:gd name="T96" fmla="*/ 216 w 1331"/>
                <a:gd name="T97" fmla="*/ 2758 h 793"/>
                <a:gd name="T98" fmla="*/ 184 w 1331"/>
                <a:gd name="T99" fmla="*/ 2719 h 793"/>
                <a:gd name="T100" fmla="*/ 148 w 1331"/>
                <a:gd name="T101" fmla="*/ 2687 h 793"/>
                <a:gd name="T102" fmla="*/ 111 w 1331"/>
                <a:gd name="T103" fmla="*/ 2655 h 793"/>
                <a:gd name="T104" fmla="*/ 75 w 1331"/>
                <a:gd name="T105" fmla="*/ 2586 h 793"/>
                <a:gd name="T106" fmla="*/ 43 w 1331"/>
                <a:gd name="T107" fmla="*/ 2552 h 793"/>
                <a:gd name="T108" fmla="*/ 12 w 1331"/>
                <a:gd name="T109" fmla="*/ 2483 h 79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1"/>
                <a:gd name="T166" fmla="*/ 0 h 793"/>
                <a:gd name="T167" fmla="*/ 1331 w 1331"/>
                <a:gd name="T168" fmla="*/ 793 h 79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1" h="793">
                  <a:moveTo>
                    <a:pt x="0" y="663"/>
                  </a:moveTo>
                  <a:lnTo>
                    <a:pt x="34" y="648"/>
                  </a:lnTo>
                  <a:lnTo>
                    <a:pt x="64" y="639"/>
                  </a:lnTo>
                  <a:lnTo>
                    <a:pt x="95" y="630"/>
                  </a:lnTo>
                  <a:lnTo>
                    <a:pt x="125" y="612"/>
                  </a:lnTo>
                  <a:lnTo>
                    <a:pt x="125" y="585"/>
                  </a:lnTo>
                  <a:lnTo>
                    <a:pt x="125" y="558"/>
                  </a:lnTo>
                  <a:lnTo>
                    <a:pt x="125" y="531"/>
                  </a:lnTo>
                  <a:lnTo>
                    <a:pt x="125" y="504"/>
                  </a:lnTo>
                  <a:lnTo>
                    <a:pt x="115" y="477"/>
                  </a:lnTo>
                  <a:lnTo>
                    <a:pt x="115" y="450"/>
                  </a:lnTo>
                  <a:lnTo>
                    <a:pt x="115" y="423"/>
                  </a:lnTo>
                  <a:lnTo>
                    <a:pt x="115" y="396"/>
                  </a:lnTo>
                  <a:lnTo>
                    <a:pt x="115" y="369"/>
                  </a:lnTo>
                  <a:lnTo>
                    <a:pt x="115" y="342"/>
                  </a:lnTo>
                  <a:lnTo>
                    <a:pt x="125" y="315"/>
                  </a:lnTo>
                  <a:lnTo>
                    <a:pt x="125" y="288"/>
                  </a:lnTo>
                  <a:lnTo>
                    <a:pt x="145" y="261"/>
                  </a:lnTo>
                  <a:lnTo>
                    <a:pt x="165" y="234"/>
                  </a:lnTo>
                  <a:lnTo>
                    <a:pt x="196" y="207"/>
                  </a:lnTo>
                  <a:lnTo>
                    <a:pt x="216" y="180"/>
                  </a:lnTo>
                  <a:lnTo>
                    <a:pt x="236" y="153"/>
                  </a:lnTo>
                  <a:lnTo>
                    <a:pt x="246" y="126"/>
                  </a:lnTo>
                  <a:lnTo>
                    <a:pt x="267" y="99"/>
                  </a:lnTo>
                  <a:lnTo>
                    <a:pt x="287" y="72"/>
                  </a:lnTo>
                  <a:lnTo>
                    <a:pt x="287" y="45"/>
                  </a:lnTo>
                  <a:lnTo>
                    <a:pt x="297" y="18"/>
                  </a:lnTo>
                  <a:lnTo>
                    <a:pt x="327" y="0"/>
                  </a:lnTo>
                  <a:lnTo>
                    <a:pt x="358" y="9"/>
                  </a:lnTo>
                  <a:lnTo>
                    <a:pt x="388" y="36"/>
                  </a:lnTo>
                  <a:lnTo>
                    <a:pt x="419" y="45"/>
                  </a:lnTo>
                  <a:lnTo>
                    <a:pt x="449" y="63"/>
                  </a:lnTo>
                  <a:lnTo>
                    <a:pt x="479" y="72"/>
                  </a:lnTo>
                  <a:lnTo>
                    <a:pt x="520" y="90"/>
                  </a:lnTo>
                  <a:lnTo>
                    <a:pt x="550" y="108"/>
                  </a:lnTo>
                  <a:lnTo>
                    <a:pt x="591" y="117"/>
                  </a:lnTo>
                  <a:lnTo>
                    <a:pt x="621" y="126"/>
                  </a:lnTo>
                  <a:lnTo>
                    <a:pt x="662" y="144"/>
                  </a:lnTo>
                  <a:lnTo>
                    <a:pt x="702" y="153"/>
                  </a:lnTo>
                  <a:lnTo>
                    <a:pt x="743" y="162"/>
                  </a:lnTo>
                  <a:lnTo>
                    <a:pt x="773" y="180"/>
                  </a:lnTo>
                  <a:lnTo>
                    <a:pt x="773" y="216"/>
                  </a:lnTo>
                  <a:lnTo>
                    <a:pt x="783" y="243"/>
                  </a:lnTo>
                  <a:lnTo>
                    <a:pt x="793" y="279"/>
                  </a:lnTo>
                  <a:lnTo>
                    <a:pt x="814" y="306"/>
                  </a:lnTo>
                  <a:lnTo>
                    <a:pt x="834" y="333"/>
                  </a:lnTo>
                  <a:lnTo>
                    <a:pt x="864" y="360"/>
                  </a:lnTo>
                  <a:lnTo>
                    <a:pt x="884" y="387"/>
                  </a:lnTo>
                  <a:lnTo>
                    <a:pt x="915" y="396"/>
                  </a:lnTo>
                  <a:lnTo>
                    <a:pt x="945" y="423"/>
                  </a:lnTo>
                  <a:lnTo>
                    <a:pt x="976" y="441"/>
                  </a:lnTo>
                  <a:lnTo>
                    <a:pt x="1006" y="459"/>
                  </a:lnTo>
                  <a:lnTo>
                    <a:pt x="1036" y="477"/>
                  </a:lnTo>
                  <a:lnTo>
                    <a:pt x="1067" y="495"/>
                  </a:lnTo>
                  <a:lnTo>
                    <a:pt x="1097" y="504"/>
                  </a:lnTo>
                  <a:lnTo>
                    <a:pt x="1127" y="522"/>
                  </a:lnTo>
                  <a:lnTo>
                    <a:pt x="1158" y="549"/>
                  </a:lnTo>
                  <a:lnTo>
                    <a:pt x="1178" y="576"/>
                  </a:lnTo>
                  <a:lnTo>
                    <a:pt x="1208" y="594"/>
                  </a:lnTo>
                  <a:lnTo>
                    <a:pt x="1239" y="612"/>
                  </a:lnTo>
                  <a:lnTo>
                    <a:pt x="1269" y="639"/>
                  </a:lnTo>
                  <a:lnTo>
                    <a:pt x="1300" y="657"/>
                  </a:lnTo>
                  <a:lnTo>
                    <a:pt x="1300" y="684"/>
                  </a:lnTo>
                  <a:lnTo>
                    <a:pt x="1330" y="711"/>
                  </a:lnTo>
                  <a:lnTo>
                    <a:pt x="1320" y="738"/>
                  </a:lnTo>
                  <a:lnTo>
                    <a:pt x="1289" y="747"/>
                  </a:lnTo>
                  <a:lnTo>
                    <a:pt x="1259" y="756"/>
                  </a:lnTo>
                  <a:lnTo>
                    <a:pt x="1229" y="756"/>
                  </a:lnTo>
                  <a:lnTo>
                    <a:pt x="1198" y="756"/>
                  </a:lnTo>
                  <a:lnTo>
                    <a:pt x="1168" y="765"/>
                  </a:lnTo>
                  <a:lnTo>
                    <a:pt x="1138" y="765"/>
                  </a:lnTo>
                  <a:lnTo>
                    <a:pt x="1107" y="765"/>
                  </a:lnTo>
                  <a:lnTo>
                    <a:pt x="1077" y="765"/>
                  </a:lnTo>
                  <a:lnTo>
                    <a:pt x="1107" y="756"/>
                  </a:lnTo>
                  <a:lnTo>
                    <a:pt x="1138" y="756"/>
                  </a:lnTo>
                  <a:lnTo>
                    <a:pt x="1107" y="765"/>
                  </a:lnTo>
                  <a:lnTo>
                    <a:pt x="1077" y="765"/>
                  </a:lnTo>
                  <a:lnTo>
                    <a:pt x="1046" y="774"/>
                  </a:lnTo>
                  <a:lnTo>
                    <a:pt x="1016" y="783"/>
                  </a:lnTo>
                  <a:lnTo>
                    <a:pt x="986" y="783"/>
                  </a:lnTo>
                  <a:lnTo>
                    <a:pt x="955" y="792"/>
                  </a:lnTo>
                  <a:lnTo>
                    <a:pt x="925" y="792"/>
                  </a:lnTo>
                  <a:lnTo>
                    <a:pt x="895" y="792"/>
                  </a:lnTo>
                  <a:lnTo>
                    <a:pt x="864" y="792"/>
                  </a:lnTo>
                  <a:lnTo>
                    <a:pt x="834" y="792"/>
                  </a:lnTo>
                  <a:lnTo>
                    <a:pt x="803" y="783"/>
                  </a:lnTo>
                  <a:lnTo>
                    <a:pt x="773" y="783"/>
                  </a:lnTo>
                  <a:lnTo>
                    <a:pt x="743" y="774"/>
                  </a:lnTo>
                  <a:lnTo>
                    <a:pt x="712" y="765"/>
                  </a:lnTo>
                  <a:lnTo>
                    <a:pt x="682" y="765"/>
                  </a:lnTo>
                  <a:lnTo>
                    <a:pt x="651" y="756"/>
                  </a:lnTo>
                  <a:lnTo>
                    <a:pt x="621" y="756"/>
                  </a:lnTo>
                  <a:lnTo>
                    <a:pt x="581" y="756"/>
                  </a:lnTo>
                  <a:lnTo>
                    <a:pt x="550" y="756"/>
                  </a:lnTo>
                  <a:lnTo>
                    <a:pt x="520" y="747"/>
                  </a:lnTo>
                  <a:lnTo>
                    <a:pt x="489" y="747"/>
                  </a:lnTo>
                  <a:lnTo>
                    <a:pt x="459" y="738"/>
                  </a:lnTo>
                  <a:lnTo>
                    <a:pt x="419" y="738"/>
                  </a:lnTo>
                  <a:lnTo>
                    <a:pt x="388" y="729"/>
                  </a:lnTo>
                  <a:lnTo>
                    <a:pt x="358" y="729"/>
                  </a:lnTo>
                  <a:lnTo>
                    <a:pt x="327" y="720"/>
                  </a:lnTo>
                  <a:lnTo>
                    <a:pt x="287" y="720"/>
                  </a:lnTo>
                  <a:lnTo>
                    <a:pt x="246" y="720"/>
                  </a:lnTo>
                  <a:lnTo>
                    <a:pt x="216" y="711"/>
                  </a:lnTo>
                  <a:lnTo>
                    <a:pt x="176" y="702"/>
                  </a:lnTo>
                  <a:lnTo>
                    <a:pt x="145" y="693"/>
                  </a:lnTo>
                  <a:lnTo>
                    <a:pt x="115" y="693"/>
                  </a:lnTo>
                  <a:lnTo>
                    <a:pt x="84" y="684"/>
                  </a:lnTo>
                  <a:lnTo>
                    <a:pt x="54" y="675"/>
                  </a:lnTo>
                  <a:lnTo>
                    <a:pt x="24" y="666"/>
                  </a:lnTo>
                </a:path>
              </a:pathLst>
            </a:custGeom>
            <a:solidFill>
              <a:srgbClr val="66FFFF"/>
            </a:solidFill>
            <a:ln w="12700" cap="rnd">
              <a:solidFill>
                <a:srgbClr val="000000"/>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333" name="Text Box 186">
              <a:extLst>
                <a:ext uri="{FF2B5EF4-FFF2-40B4-BE49-F238E27FC236}">
                  <a16:creationId xmlns:a16="http://schemas.microsoft.com/office/drawing/2014/main" id="{553013B5-3B90-D47C-10D5-F0A336CFFD10}"/>
                </a:ext>
              </a:extLst>
            </p:cNvPr>
            <p:cNvSpPr txBox="1">
              <a:spLocks noChangeArrowheads="1"/>
            </p:cNvSpPr>
            <p:nvPr/>
          </p:nvSpPr>
          <p:spPr bwMode="auto">
            <a:xfrm>
              <a:off x="2447" y="1567"/>
              <a:ext cx="1034"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sz="2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ymptoms</a:t>
              </a:r>
              <a:endParaRPr kumimoji="0" lang="en-US" altLang="en-US" sz="24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Arial" panose="020B0604020202020204" pitchFamily="34" charset="0"/>
              </a:endParaRPr>
            </a:p>
          </p:txBody>
        </p:sp>
      </p:grpSp>
      <p:sp>
        <p:nvSpPr>
          <p:cNvPr id="11272" name="Line 187">
            <a:extLst>
              <a:ext uri="{FF2B5EF4-FFF2-40B4-BE49-F238E27FC236}">
                <a16:creationId xmlns:a16="http://schemas.microsoft.com/office/drawing/2014/main" id="{DC2BA633-EB9B-D41B-6B55-39572B388154}"/>
              </a:ext>
            </a:extLst>
          </p:cNvPr>
          <p:cNvSpPr>
            <a:spLocks noChangeShapeType="1"/>
          </p:cNvSpPr>
          <p:nvPr/>
        </p:nvSpPr>
        <p:spPr bwMode="auto">
          <a:xfrm>
            <a:off x="730261" y="1279525"/>
            <a:ext cx="8374063" cy="0"/>
          </a:xfrm>
          <a:prstGeom prst="line">
            <a:avLst/>
          </a:prstGeom>
          <a:noFill/>
          <a:ln w="9525">
            <a:solidFill>
              <a:schemeClr val="hlink"/>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a:ea typeface="+mn-ea"/>
              <a:cs typeface="+mn-cs"/>
            </a:endParaRPr>
          </a:p>
        </p:txBody>
      </p:sp>
      <p:sp>
        <p:nvSpPr>
          <p:cNvPr id="838844" name="Text Box 188">
            <a:extLst>
              <a:ext uri="{FF2B5EF4-FFF2-40B4-BE49-F238E27FC236}">
                <a16:creationId xmlns:a16="http://schemas.microsoft.com/office/drawing/2014/main" id="{1733E0BF-6C56-1882-1F9B-83D87C81E251}"/>
              </a:ext>
            </a:extLst>
          </p:cNvPr>
          <p:cNvSpPr txBox="1">
            <a:spLocks noChangeArrowheads="1"/>
          </p:cNvSpPr>
          <p:nvPr/>
        </p:nvSpPr>
        <p:spPr bwMode="auto">
          <a:xfrm>
            <a:off x="1914525" y="6369050"/>
            <a:ext cx="5981700" cy="488950"/>
          </a:xfrm>
          <a:prstGeom prst="rect">
            <a:avLst/>
          </a:prstGeom>
          <a:noFill/>
          <a:ln w="9525">
            <a:noFill/>
            <a:miter lim="800000"/>
            <a:headEnd/>
            <a:tailEnd/>
          </a:ln>
          <a:effectLst/>
        </p:spPr>
        <p:txBody>
          <a:bodyPr>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2600" b="0" i="1" u="none" strike="noStrike" kern="1200" cap="none" spc="0" normalizeH="0" baseline="0" noProof="0">
              <a:ln>
                <a:noFill/>
              </a:ln>
              <a:solidFill>
                <a:prstClr val="black"/>
              </a:solidFill>
              <a:effectLst>
                <a:outerShdw blurRad="38100" dist="38100" dir="2700000" algn="tl">
                  <a:srgbClr val="000000"/>
                </a:outerShdw>
              </a:effectLst>
              <a:uLnTx/>
              <a:uFillTx/>
              <a:latin typeface="Arial Black" pitchFamily="34" charset="0"/>
              <a:ea typeface="+mn-ea"/>
              <a:cs typeface="+mn-cs"/>
            </a:endParaRPr>
          </a:p>
        </p:txBody>
      </p:sp>
    </p:spTree>
    <p:extLst>
      <p:ext uri="{BB962C8B-B14F-4D97-AF65-F5344CB8AC3E}">
        <p14:creationId xmlns:p14="http://schemas.microsoft.com/office/powerpoint/2010/main" val="1066439750"/>
      </p:ext>
    </p:extLst>
  </p:cSld>
  <p:clrMapOvr>
    <a:masterClrMapping/>
  </p:clrMapOvr>
  <p:transition>
    <p:dissolv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4"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down)">
                                      <p:cBhvr>
                                        <p:cTn id="12" dur="500"/>
                                        <p:tgtEl>
                                          <p:spTgt spid="4"/>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down)">
                                      <p:cBhvr>
                                        <p:cTn id="17" dur="500"/>
                                        <p:tgtEl>
                                          <p:spTgt spid="6"/>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4"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wipe(down)">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diagram"/>
          <p:cNvPicPr>
            <a:picLocks noGrp="1" noChangeAspect="1" noChangeArrowheads="1"/>
          </p:cNvPicPr>
          <p:nvPr>
            <p:ph idx="1"/>
          </p:nvPr>
        </p:nvPicPr>
        <p:blipFill>
          <a:blip r:embed="rId2"/>
          <a:stretch>
            <a:fillRect/>
          </a:stretch>
        </p:blipFill>
        <p:spPr>
          <a:xfrm>
            <a:off x="0" y="0"/>
            <a:ext cx="9144000" cy="6858000"/>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3025759538"/>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666" name="Picture 2" descr="ANd9GcRHwOIqRpTWQFA2W6OGLqsaLMqcdmnYI-_R4BnNfSivpawqdFctlA"/>
          <p:cNvPicPr>
            <a:picLocks noChangeAspect="1" noChangeArrowheads="1"/>
          </p:cNvPicPr>
          <p:nvPr/>
        </p:nvPicPr>
        <p:blipFill>
          <a:blip r:embed="rId3"/>
          <a:srcRect/>
          <a:stretch>
            <a:fillRect/>
          </a:stretch>
        </p:blipFill>
        <p:spPr bwMode="auto">
          <a:xfrm>
            <a:off x="0" y="0"/>
            <a:ext cx="9144000" cy="6621463"/>
          </a:xfrm>
          <a:prstGeom prst="rect">
            <a:avLst/>
          </a:prstGeom>
          <a:noFill/>
          <a:ln w="9525">
            <a:noFill/>
            <a:miter lim="800000"/>
            <a:headEnd/>
            <a:tailEnd/>
          </a:ln>
        </p:spPr>
      </p:pic>
    </p:spTree>
    <p:extLst>
      <p:ext uri="{BB962C8B-B14F-4D97-AF65-F5344CB8AC3E}">
        <p14:creationId xmlns:p14="http://schemas.microsoft.com/office/powerpoint/2010/main" val="711764980"/>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diagram"/>
          <p:cNvPicPr>
            <a:picLocks noGrp="1" noChangeAspect="1" noChangeArrowheads="1"/>
          </p:cNvPicPr>
          <p:nvPr>
            <p:ph idx="1"/>
          </p:nvPr>
        </p:nvPicPr>
        <p:blipFill>
          <a:blip r:embed="rId2"/>
          <a:stretch>
            <a:fillRect/>
          </a:stretch>
        </p:blipFill>
        <p:spPr>
          <a:xfrm>
            <a:off x="0" y="0"/>
            <a:ext cx="9144000" cy="6858000"/>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41767613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7D2EEF-D977-4116-9B07-8E9D839C838B}"/>
              </a:ext>
            </a:extLst>
          </p:cNvPr>
          <p:cNvSpPr>
            <a:spLocks noGrp="1"/>
          </p:cNvSpPr>
          <p:nvPr>
            <p:ph idx="1"/>
          </p:nvPr>
        </p:nvSpPr>
        <p:spPr>
          <a:xfrm>
            <a:off x="152400" y="152400"/>
            <a:ext cx="8763000" cy="6477000"/>
          </a:xfrm>
        </p:spPr>
        <p:txBody>
          <a:bodyPr>
            <a:noAutofit/>
          </a:bodyPr>
          <a:lstStyle/>
          <a:p>
            <a:pPr marL="0" indent="0">
              <a:lnSpc>
                <a:spcPct val="100000"/>
              </a:lnSpc>
              <a:buNone/>
            </a:pPr>
            <a:r>
              <a:rPr lang="en-US" sz="2800" b="1" dirty="0">
                <a:solidFill>
                  <a:srgbClr val="FFC000"/>
                </a:solidFill>
                <a:latin typeface="Candara" panose="020E0502030303020204" pitchFamily="34" charset="0"/>
                <a:ea typeface="+mj-ea"/>
                <a:cs typeface="+mj-cs"/>
              </a:rPr>
              <a:t>Local </a:t>
            </a:r>
            <a:r>
              <a:rPr lang="en-US" sz="2800" b="1" dirty="0" smtClean="0">
                <a:solidFill>
                  <a:srgbClr val="FFC000"/>
                </a:solidFill>
                <a:latin typeface="Candara" panose="020E0502030303020204" pitchFamily="34" charset="0"/>
                <a:ea typeface="+mj-ea"/>
                <a:cs typeface="+mj-cs"/>
              </a:rPr>
              <a:t>Examination:</a:t>
            </a:r>
          </a:p>
          <a:p>
            <a:pPr marL="0" indent="0">
              <a:lnSpc>
                <a:spcPct val="100000"/>
              </a:lnSpc>
              <a:buNone/>
            </a:pPr>
            <a:r>
              <a:rPr lang="en-US" sz="2800" b="1" dirty="0" smtClean="0">
                <a:solidFill>
                  <a:srgbClr val="FFFF00"/>
                </a:solidFill>
                <a:effectLst/>
                <a:latin typeface="Candara" panose="020E0502030303020204" pitchFamily="34" charset="0"/>
              </a:rPr>
              <a:t>Inspection</a:t>
            </a:r>
            <a:r>
              <a:rPr lang="en-US" sz="2800" b="1" dirty="0">
                <a:solidFill>
                  <a:srgbClr val="FFFF00"/>
                </a:solidFill>
                <a:effectLst/>
                <a:latin typeface="Candara" panose="020E0502030303020204" pitchFamily="34" charset="0"/>
              </a:rPr>
              <a:t>: </a:t>
            </a:r>
            <a:r>
              <a:rPr lang="en-US" sz="2800" b="1" dirty="0" smtClean="0">
                <a:solidFill>
                  <a:srgbClr val="FFFF00"/>
                </a:solidFill>
                <a:effectLst/>
                <a:latin typeface="Candara" panose="020E0502030303020204" pitchFamily="34" charset="0"/>
              </a:rPr>
              <a:t>     </a:t>
            </a:r>
            <a:r>
              <a:rPr lang="en-US" sz="2800" b="1" dirty="0" smtClean="0">
                <a:solidFill>
                  <a:schemeClr val="tx1"/>
                </a:solidFill>
                <a:effectLst/>
                <a:latin typeface="Candara" panose="020E0502030303020204" pitchFamily="34" charset="0"/>
              </a:rPr>
              <a:t>Diminished </a:t>
            </a:r>
            <a:r>
              <a:rPr lang="en-US" sz="2800" b="1" dirty="0">
                <a:solidFill>
                  <a:schemeClr val="tx1"/>
                </a:solidFill>
                <a:effectLst/>
                <a:latin typeface="Candara" panose="020E0502030303020204" pitchFamily="34" charset="0"/>
              </a:rPr>
              <a:t>movement of the right part</a:t>
            </a:r>
            <a:r>
              <a:rPr lang="en-US" sz="2800" b="1" dirty="0" smtClean="0">
                <a:solidFill>
                  <a:schemeClr val="tx1"/>
                </a:solidFill>
                <a:effectLst/>
                <a:latin typeface="Candara" panose="020E0502030303020204" pitchFamily="34" charset="0"/>
              </a:rPr>
              <a:t>.</a:t>
            </a:r>
          </a:p>
          <a:p>
            <a:pPr marL="0" indent="0">
              <a:lnSpc>
                <a:spcPct val="100000"/>
              </a:lnSpc>
              <a:buNone/>
            </a:pPr>
            <a:r>
              <a:rPr lang="en-US" sz="2800" b="1" dirty="0">
                <a:solidFill>
                  <a:schemeClr val="tx1"/>
                </a:solidFill>
                <a:effectLst/>
                <a:latin typeface="Candara" panose="020E0502030303020204" pitchFamily="34" charset="0"/>
              </a:rPr>
              <a:t/>
            </a:r>
            <a:br>
              <a:rPr lang="en-US" sz="2800" b="1" dirty="0">
                <a:solidFill>
                  <a:schemeClr val="tx1"/>
                </a:solidFill>
                <a:effectLst/>
                <a:latin typeface="Candara" panose="020E0502030303020204" pitchFamily="34" charset="0"/>
              </a:rPr>
            </a:br>
            <a:r>
              <a:rPr lang="en-US" sz="2800" b="1" dirty="0">
                <a:solidFill>
                  <a:srgbClr val="FFFF00"/>
                </a:solidFill>
                <a:effectLst/>
                <a:latin typeface="Candara" panose="020E0502030303020204" pitchFamily="34" charset="0"/>
              </a:rPr>
              <a:t>Palpation: </a:t>
            </a:r>
            <a:r>
              <a:rPr lang="en-US" sz="2800" b="1" dirty="0" smtClean="0">
                <a:solidFill>
                  <a:srgbClr val="FFFF00"/>
                </a:solidFill>
                <a:effectLst/>
                <a:latin typeface="Candara" panose="020E0502030303020204" pitchFamily="34" charset="0"/>
              </a:rPr>
              <a:t>      </a:t>
            </a:r>
            <a:r>
              <a:rPr lang="en-US" sz="2800" b="1" dirty="0" smtClean="0">
                <a:solidFill>
                  <a:schemeClr val="tx1"/>
                </a:solidFill>
                <a:effectLst/>
                <a:latin typeface="Candara" panose="020E0502030303020204" pitchFamily="34" charset="0"/>
              </a:rPr>
              <a:t>Lack </a:t>
            </a:r>
            <a:r>
              <a:rPr lang="en-US" sz="2800" b="1" dirty="0">
                <a:solidFill>
                  <a:schemeClr val="tx1"/>
                </a:solidFill>
                <a:effectLst/>
                <a:latin typeface="Candara" panose="020E0502030303020204" pitchFamily="34" charset="0"/>
              </a:rPr>
              <a:t>of expansion of the affected area </a:t>
            </a:r>
            <a:endParaRPr lang="en-US" sz="2800" b="1" dirty="0" smtClean="0">
              <a:solidFill>
                <a:schemeClr val="tx1"/>
              </a:solidFill>
              <a:effectLst/>
              <a:latin typeface="Candara" panose="020E0502030303020204" pitchFamily="34" charset="0"/>
            </a:endParaRPr>
          </a:p>
          <a:p>
            <a:pPr marL="0" indent="0">
              <a:lnSpc>
                <a:spcPct val="100000"/>
              </a:lnSpc>
              <a:buNone/>
            </a:pPr>
            <a:r>
              <a:rPr lang="en-US" sz="2800" b="1" dirty="0">
                <a:solidFill>
                  <a:schemeClr val="tx1"/>
                </a:solidFill>
                <a:latin typeface="Candara" panose="020E0502030303020204" pitchFamily="34" charset="0"/>
              </a:rPr>
              <a:t> </a:t>
            </a:r>
            <a:r>
              <a:rPr lang="en-US" sz="2800" b="1" dirty="0" smtClean="0">
                <a:solidFill>
                  <a:schemeClr val="tx1"/>
                </a:solidFill>
                <a:latin typeface="Candara" panose="020E0502030303020204" pitchFamily="34" charset="0"/>
              </a:rPr>
              <a:t>                          I</a:t>
            </a:r>
            <a:r>
              <a:rPr lang="en-US" sz="2800" b="1" dirty="0" smtClean="0">
                <a:solidFill>
                  <a:schemeClr val="tx1"/>
                </a:solidFill>
                <a:effectLst/>
                <a:latin typeface="Candara" panose="020E0502030303020204" pitchFamily="34" charset="0"/>
              </a:rPr>
              <a:t>ncreased </a:t>
            </a:r>
            <a:r>
              <a:rPr lang="en-US" sz="2800" b="1" dirty="0">
                <a:solidFill>
                  <a:schemeClr val="tx1"/>
                </a:solidFill>
                <a:effectLst/>
                <a:latin typeface="Candara" panose="020E0502030303020204" pitchFamily="34" charset="0"/>
              </a:rPr>
              <a:t>vocal fremitus</a:t>
            </a:r>
            <a:r>
              <a:rPr lang="en-US" sz="2800" b="1" dirty="0" smtClean="0">
                <a:solidFill>
                  <a:schemeClr val="tx1"/>
                </a:solidFill>
                <a:effectLst/>
                <a:latin typeface="Candara" panose="020E0502030303020204" pitchFamily="34" charset="0"/>
              </a:rPr>
              <a:t>.</a:t>
            </a:r>
          </a:p>
          <a:p>
            <a:pPr marL="0" indent="0">
              <a:lnSpc>
                <a:spcPct val="100000"/>
              </a:lnSpc>
              <a:buNone/>
            </a:pPr>
            <a:r>
              <a:rPr lang="en-US" sz="2800" b="1" dirty="0">
                <a:solidFill>
                  <a:schemeClr val="tx1"/>
                </a:solidFill>
                <a:effectLst/>
                <a:latin typeface="Candara" panose="020E0502030303020204" pitchFamily="34" charset="0"/>
              </a:rPr>
              <a:t/>
            </a:r>
            <a:br>
              <a:rPr lang="en-US" sz="2800" b="1" dirty="0">
                <a:solidFill>
                  <a:schemeClr val="tx1"/>
                </a:solidFill>
                <a:effectLst/>
                <a:latin typeface="Candara" panose="020E0502030303020204" pitchFamily="34" charset="0"/>
              </a:rPr>
            </a:br>
            <a:r>
              <a:rPr lang="en-US" sz="2800" b="1" dirty="0">
                <a:solidFill>
                  <a:srgbClr val="FFFF00"/>
                </a:solidFill>
                <a:effectLst/>
                <a:latin typeface="Candara" panose="020E0502030303020204" pitchFamily="34" charset="0"/>
              </a:rPr>
              <a:t>Percussion: </a:t>
            </a:r>
            <a:r>
              <a:rPr lang="en-US" sz="2800" b="1" dirty="0" smtClean="0">
                <a:solidFill>
                  <a:srgbClr val="FFFF00"/>
                </a:solidFill>
                <a:effectLst/>
                <a:latin typeface="Candara" panose="020E0502030303020204" pitchFamily="34" charset="0"/>
              </a:rPr>
              <a:t>    </a:t>
            </a:r>
            <a:r>
              <a:rPr lang="en-US" sz="2800" b="1" dirty="0" smtClean="0">
                <a:solidFill>
                  <a:schemeClr val="tx1"/>
                </a:solidFill>
                <a:effectLst/>
                <a:latin typeface="Candara" panose="020E0502030303020204" pitchFamily="34" charset="0"/>
              </a:rPr>
              <a:t>Dullness </a:t>
            </a:r>
            <a:r>
              <a:rPr lang="en-US" sz="2800" b="1" dirty="0">
                <a:solidFill>
                  <a:schemeClr val="tx1"/>
                </a:solidFill>
                <a:effectLst/>
                <a:latin typeface="Candara" panose="020E0502030303020204" pitchFamily="34" charset="0"/>
              </a:rPr>
              <a:t>over the right lower </a:t>
            </a:r>
            <a:r>
              <a:rPr lang="en-US" sz="2800" b="1" dirty="0" smtClean="0">
                <a:solidFill>
                  <a:schemeClr val="tx1"/>
                </a:solidFill>
                <a:effectLst/>
                <a:latin typeface="Candara" panose="020E0502030303020204" pitchFamily="34" charset="0"/>
              </a:rPr>
              <a:t>part</a:t>
            </a:r>
          </a:p>
          <a:p>
            <a:pPr marL="0" indent="0">
              <a:lnSpc>
                <a:spcPct val="100000"/>
              </a:lnSpc>
              <a:buNone/>
            </a:pPr>
            <a:endParaRPr lang="en-US" sz="2800" b="1" dirty="0">
              <a:solidFill>
                <a:schemeClr val="tx1"/>
              </a:solidFill>
              <a:effectLst/>
              <a:latin typeface="Candara" panose="020E0502030303020204" pitchFamily="34" charset="0"/>
            </a:endParaRPr>
          </a:p>
          <a:p>
            <a:pPr marL="0" indent="0">
              <a:lnSpc>
                <a:spcPct val="100000"/>
              </a:lnSpc>
              <a:buNone/>
            </a:pPr>
            <a:r>
              <a:rPr lang="en-US" sz="2800" b="1" dirty="0">
                <a:solidFill>
                  <a:srgbClr val="FFFF00"/>
                </a:solidFill>
                <a:effectLst/>
                <a:latin typeface="Candara" panose="020E0502030303020204" pitchFamily="34" charset="0"/>
              </a:rPr>
              <a:t>Auscultation:</a:t>
            </a:r>
            <a:r>
              <a:rPr lang="en-US" sz="2800" b="1" dirty="0">
                <a:solidFill>
                  <a:schemeClr val="tx1"/>
                </a:solidFill>
                <a:effectLst/>
                <a:latin typeface="Candara" panose="020E0502030303020204" pitchFamily="34" charset="0"/>
              </a:rPr>
              <a:t> Bronchial breathing over the affected </a:t>
            </a:r>
            <a:r>
              <a:rPr lang="en-US" sz="2800" b="1" dirty="0" smtClean="0">
                <a:solidFill>
                  <a:schemeClr val="tx1"/>
                </a:solidFill>
                <a:effectLst/>
                <a:latin typeface="Candara" panose="020E0502030303020204" pitchFamily="34" charset="0"/>
              </a:rPr>
              <a:t>area</a:t>
            </a:r>
          </a:p>
          <a:p>
            <a:pPr marL="0" indent="0">
              <a:lnSpc>
                <a:spcPct val="100000"/>
              </a:lnSpc>
              <a:buNone/>
            </a:pPr>
            <a:r>
              <a:rPr lang="en-US" sz="2800" b="1" dirty="0" smtClean="0">
                <a:solidFill>
                  <a:schemeClr val="tx1"/>
                </a:solidFill>
                <a:effectLst/>
                <a:latin typeface="Candara" panose="020E0502030303020204" pitchFamily="34" charset="0"/>
              </a:rPr>
              <a:t>                           Fine Crepitations, </a:t>
            </a:r>
          </a:p>
          <a:p>
            <a:pPr marL="0" indent="0">
              <a:lnSpc>
                <a:spcPct val="100000"/>
              </a:lnSpc>
              <a:buNone/>
            </a:pPr>
            <a:r>
              <a:rPr lang="en-US" sz="2800" b="1" dirty="0" smtClean="0">
                <a:solidFill>
                  <a:schemeClr val="tx1"/>
                </a:solidFill>
                <a:latin typeface="Candara" panose="020E0502030303020204" pitchFamily="34" charset="0"/>
              </a:rPr>
              <a:t>                           </a:t>
            </a:r>
            <a:r>
              <a:rPr lang="en-US" sz="2800" b="1" dirty="0">
                <a:solidFill>
                  <a:schemeClr val="tx1"/>
                </a:solidFill>
                <a:latin typeface="Candara" panose="020E0502030303020204" pitchFamily="34" charset="0"/>
              </a:rPr>
              <a:t>V</a:t>
            </a:r>
            <a:r>
              <a:rPr lang="en-US" sz="2800" b="1" dirty="0" smtClean="0">
                <a:solidFill>
                  <a:schemeClr val="tx1"/>
                </a:solidFill>
                <a:effectLst/>
                <a:latin typeface="Candara" panose="020E0502030303020204" pitchFamily="34" charset="0"/>
              </a:rPr>
              <a:t>ocal resonance is exaggerated </a:t>
            </a:r>
          </a:p>
          <a:p>
            <a:pPr marL="0" indent="0">
              <a:lnSpc>
                <a:spcPct val="100000"/>
              </a:lnSpc>
              <a:buNone/>
            </a:pPr>
            <a:r>
              <a:rPr lang="en-US" sz="2800" b="1" dirty="0" smtClean="0">
                <a:solidFill>
                  <a:schemeClr val="tx1"/>
                </a:solidFill>
                <a:latin typeface="Candara" panose="020E0502030303020204" pitchFamily="34" charset="0"/>
              </a:rPr>
              <a:t>                           </a:t>
            </a:r>
            <a:r>
              <a:rPr lang="en-US" sz="2800" b="1" dirty="0">
                <a:solidFill>
                  <a:schemeClr val="tx1"/>
                </a:solidFill>
                <a:latin typeface="Candara" panose="020E0502030303020204" pitchFamily="34" charset="0"/>
              </a:rPr>
              <a:t>W</a:t>
            </a:r>
            <a:r>
              <a:rPr lang="en-US" sz="2800" b="1" dirty="0" smtClean="0">
                <a:solidFill>
                  <a:schemeClr val="tx1"/>
                </a:solidFill>
                <a:effectLst/>
                <a:latin typeface="Candara" panose="020E0502030303020204" pitchFamily="34" charset="0"/>
              </a:rPr>
              <a:t>hispering pectoriloquy is often heard.</a:t>
            </a:r>
            <a:r>
              <a:rPr lang="en-US" sz="2800" b="1" dirty="0" smtClean="0">
                <a:solidFill>
                  <a:schemeClr val="tx1"/>
                </a:solidFill>
                <a:latin typeface="Candara" panose="020E0502030303020204" pitchFamily="34" charset="0"/>
              </a:rPr>
              <a:t> </a:t>
            </a:r>
            <a:endParaRPr lang="en-US" sz="2800" b="1" dirty="0">
              <a:solidFill>
                <a:schemeClr val="tx1"/>
              </a:solidFill>
              <a:latin typeface="Candara" panose="020E0502030303020204" pitchFamily="34" charset="0"/>
            </a:endParaRPr>
          </a:p>
        </p:txBody>
      </p:sp>
    </p:spTree>
    <p:extLst>
      <p:ext uri="{BB962C8B-B14F-4D97-AF65-F5344CB8AC3E}">
        <p14:creationId xmlns:p14="http://schemas.microsoft.com/office/powerpoint/2010/main" val="958071788"/>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diagram"/>
          <p:cNvPicPr>
            <a:picLocks noGrp="1" noChangeAspect="1" noChangeArrowheads="1"/>
          </p:cNvPicPr>
          <p:nvPr>
            <p:ph idx="1"/>
          </p:nvPr>
        </p:nvPicPr>
        <p:blipFill>
          <a:blip r:embed="rId2"/>
          <a:stretch>
            <a:fillRect/>
          </a:stretch>
        </p:blipFill>
        <p:spPr>
          <a:xfrm>
            <a:off x="0" y="0"/>
            <a:ext cx="9144000" cy="6858000"/>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2880554407"/>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p:cNvSpPr>
            <a:spLocks noGrp="1" noChangeArrowheads="1"/>
          </p:cNvSpPr>
          <p:nvPr>
            <p:ph sz="half" idx="1"/>
          </p:nvPr>
        </p:nvSpPr>
        <p:spPr>
          <a:xfrm>
            <a:off x="684213" y="1966913"/>
            <a:ext cx="2662237" cy="3975100"/>
          </a:xfrm>
        </p:spPr>
        <p:txBody>
          <a:bodyPr/>
          <a:lstStyle/>
          <a:p>
            <a:pPr eaLnBrk="1" hangingPunct="1"/>
            <a:endParaRPr lang="ar-EG" sz="2400" smtClean="0"/>
          </a:p>
        </p:txBody>
      </p:sp>
      <p:pic>
        <p:nvPicPr>
          <p:cNvPr id="111619" name="Picture 3" descr="ANd9GcTMXSl9zJKjmYy_0qO7Ru0bnIHPtdh9yAL185bshL7be5YDHZhz"/>
          <p:cNvPicPr>
            <a:picLocks noGrp="1" noChangeAspect="1" noChangeArrowheads="1"/>
          </p:cNvPicPr>
          <p:nvPr>
            <p:ph sz="half" idx="2"/>
          </p:nvPr>
        </p:nvPicPr>
        <p:blipFill>
          <a:blip r:embed="rId3"/>
          <a:srcRect/>
          <a:stretch>
            <a:fillRect/>
          </a:stretch>
        </p:blipFill>
        <p:spPr>
          <a:xfrm>
            <a:off x="5257800" y="1143000"/>
            <a:ext cx="3886200" cy="4413250"/>
          </a:xfrm>
          <a:noFill/>
        </p:spPr>
      </p:pic>
      <p:pic>
        <p:nvPicPr>
          <p:cNvPr id="111620" name="Picture 4" descr="ANd9GcRwX4oiOmUPHTXfXJ2nep0A5AWm6lKIEUr0kPcRgQiSoLYS8g15-A"/>
          <p:cNvPicPr>
            <a:picLocks noChangeAspect="1" noChangeArrowheads="1"/>
          </p:cNvPicPr>
          <p:nvPr/>
        </p:nvPicPr>
        <p:blipFill>
          <a:blip r:embed="rId4"/>
          <a:srcRect/>
          <a:stretch>
            <a:fillRect/>
          </a:stretch>
        </p:blipFill>
        <p:spPr bwMode="auto">
          <a:xfrm>
            <a:off x="0" y="457200"/>
            <a:ext cx="5257800" cy="5665788"/>
          </a:xfrm>
          <a:prstGeom prst="rect">
            <a:avLst/>
          </a:prstGeom>
          <a:noFill/>
          <a:ln w="9525">
            <a:noFill/>
            <a:miter lim="800000"/>
            <a:headEnd/>
            <a:tailEnd/>
          </a:ln>
        </p:spPr>
      </p:pic>
    </p:spTree>
    <p:extLst>
      <p:ext uri="{BB962C8B-B14F-4D97-AF65-F5344CB8AC3E}">
        <p14:creationId xmlns:p14="http://schemas.microsoft.com/office/powerpoint/2010/main" val="326706103"/>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42" name="Picture 2" descr="ANd9GcSaayJN-jF0RWORqBrj5xHxZaIkJ38CJLKvfzrSWwC3QfDi7uBc3DjWiIc"/>
          <p:cNvPicPr>
            <a:picLocks noChangeAspect="1" noChangeArrowheads="1"/>
          </p:cNvPicPr>
          <p:nvPr/>
        </p:nvPicPr>
        <p:blipFill>
          <a:blip r:embed="rId3"/>
          <a:srcRect/>
          <a:stretch>
            <a:fillRect/>
          </a:stretch>
        </p:blipFill>
        <p:spPr bwMode="auto">
          <a:xfrm>
            <a:off x="0" y="0"/>
            <a:ext cx="9144000" cy="6831013"/>
          </a:xfrm>
          <a:prstGeom prst="rect">
            <a:avLst/>
          </a:prstGeom>
          <a:noFill/>
          <a:ln w="9525">
            <a:noFill/>
            <a:miter lim="800000"/>
            <a:headEnd/>
            <a:tailEnd/>
          </a:ln>
        </p:spPr>
      </p:pic>
    </p:spTree>
    <p:extLst>
      <p:ext uri="{BB962C8B-B14F-4D97-AF65-F5344CB8AC3E}">
        <p14:creationId xmlns:p14="http://schemas.microsoft.com/office/powerpoint/2010/main" val="2262222122"/>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4690" name="Picture 2" descr="ANd9GcQxKuyIm5W2eXrru2ebXA8W1PmMeaoGkzUUEjFN-yvK_LKs7X7X"/>
          <p:cNvPicPr>
            <a:picLocks noChangeAspect="1" noChangeArrowheads="1"/>
          </p:cNvPicPr>
          <p:nvPr/>
        </p:nvPicPr>
        <p:blipFill>
          <a:blip r:embed="rId3"/>
          <a:srcRect/>
          <a:stretch>
            <a:fillRect/>
          </a:stretch>
        </p:blipFill>
        <p:spPr bwMode="auto">
          <a:xfrm>
            <a:off x="0" y="0"/>
            <a:ext cx="9144000" cy="6858000"/>
          </a:xfrm>
          <a:prstGeom prst="rect">
            <a:avLst/>
          </a:prstGeom>
          <a:noFill/>
          <a:ln w="9525">
            <a:noFill/>
            <a:miter lim="800000"/>
            <a:headEnd/>
            <a:tailEnd/>
          </a:ln>
        </p:spPr>
      </p:pic>
    </p:spTree>
    <p:extLst>
      <p:ext uri="{BB962C8B-B14F-4D97-AF65-F5344CB8AC3E}">
        <p14:creationId xmlns:p14="http://schemas.microsoft.com/office/powerpoint/2010/main" val="3470940194"/>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diagram"/>
          <p:cNvPicPr>
            <a:picLocks noGrp="1" noChangeAspect="1" noChangeArrowheads="1"/>
          </p:cNvPicPr>
          <p:nvPr>
            <p:ph idx="1"/>
          </p:nvPr>
        </p:nvPicPr>
        <p:blipFill>
          <a:blip r:embed="rId2"/>
          <a:stretch>
            <a:fillRect/>
          </a:stretch>
        </p:blipFill>
        <p:spPr>
          <a:xfrm>
            <a:off x="0" y="0"/>
            <a:ext cx="9144000" cy="6858000"/>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342981960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object 2"/>
          <p:cNvSpPr>
            <a:spLocks noChangeArrowheads="1"/>
          </p:cNvSpPr>
          <p:nvPr/>
        </p:nvSpPr>
        <p:spPr bwMode="auto">
          <a:xfrm>
            <a:off x="157163" y="100013"/>
            <a:ext cx="8856662" cy="6376987"/>
          </a:xfrm>
          <a:prstGeom prst="rect">
            <a:avLst/>
          </a:prstGeom>
          <a:blipFill dpi="0" rotWithShape="1">
            <a:blip r:embed="rId2"/>
            <a:srcRect/>
            <a:stretch>
              <a:fillRect/>
            </a:stretch>
          </a:blip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r-JO" sz="1800" b="0" i="0" u="none" strike="noStrike" kern="1200" cap="none" spc="0" normalizeH="0" baseline="0" noProof="0">
              <a:ln>
                <a:noFill/>
              </a:ln>
              <a:solidFill>
                <a:prstClr val="black"/>
              </a:solidFill>
              <a:effectLst/>
              <a:uLnTx/>
              <a:uFillTx/>
              <a:latin typeface="Calibri"/>
              <a:ea typeface="+mn-ea"/>
              <a:cs typeface="Arial" panose="020B0604020202020204" pitchFamily="34" charset="0"/>
            </a:endParaRPr>
          </a:p>
        </p:txBody>
      </p:sp>
      <p:sp>
        <p:nvSpPr>
          <p:cNvPr id="104451" name="object 3"/>
          <p:cNvSpPr>
            <a:spLocks noChangeArrowheads="1"/>
          </p:cNvSpPr>
          <p:nvPr/>
        </p:nvSpPr>
        <p:spPr bwMode="auto">
          <a:xfrm>
            <a:off x="3754438" y="2409825"/>
            <a:ext cx="1706562" cy="1752600"/>
          </a:xfrm>
          <a:prstGeom prst="rect">
            <a:avLst/>
          </a:prstGeom>
          <a:blipFill dpi="0" rotWithShape="1">
            <a:blip r:embed="rId3"/>
            <a:srcRect/>
            <a:stretch>
              <a:fillRect/>
            </a:stretch>
          </a:blip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r-JO" sz="1800" b="0" i="0" u="none" strike="noStrike" kern="1200" cap="none" spc="0" normalizeH="0" baseline="0" noProof="0">
              <a:ln>
                <a:noFill/>
              </a:ln>
              <a:solidFill>
                <a:prstClr val="black"/>
              </a:solidFill>
              <a:effectLst/>
              <a:uLnTx/>
              <a:uFillTx/>
              <a:latin typeface="Calibri"/>
              <a:ea typeface="+mn-ea"/>
              <a:cs typeface="Arial" panose="020B0604020202020204" pitchFamily="34" charset="0"/>
            </a:endParaRPr>
          </a:p>
        </p:txBody>
      </p:sp>
      <p:sp>
        <p:nvSpPr>
          <p:cNvPr id="104452" name="object 4"/>
          <p:cNvSpPr txBox="1">
            <a:spLocks noChangeArrowheads="1"/>
          </p:cNvSpPr>
          <p:nvPr/>
        </p:nvSpPr>
        <p:spPr bwMode="auto">
          <a:xfrm>
            <a:off x="981075" y="4197350"/>
            <a:ext cx="6881813" cy="2136775"/>
          </a:xfrm>
          <a:prstGeom prst="rect">
            <a:avLst/>
          </a:prstGeom>
          <a:noFill/>
          <a:ln w="9525">
            <a:noFill/>
            <a:miter lim="800000"/>
            <a:headEnd/>
            <a:tailEnd/>
          </a:ln>
        </p:spPr>
        <p:txBody>
          <a:bodyPr lIns="0" tIns="12065" rIns="0" bIns="0">
            <a:spAutoFit/>
          </a:bodyPr>
          <a:lstStyle/>
          <a:p>
            <a:pPr marL="1566863" marR="0" lvl="0" indent="-282575" algn="l" defTabSz="914400" rtl="0" eaLnBrk="1" fontAlgn="auto" latinLnBrk="0" hangingPunct="1">
              <a:lnSpc>
                <a:spcPct val="100000"/>
              </a:lnSpc>
              <a:spcBef>
                <a:spcPts val="100"/>
              </a:spcBef>
              <a:spcAft>
                <a:spcPts val="0"/>
              </a:spcAft>
              <a:buClrTx/>
              <a:buSzTx/>
              <a:buFontTx/>
              <a:buNone/>
              <a:tabLst/>
              <a:defRPr/>
            </a:pPr>
            <a:r>
              <a:rPr kumimoji="0" lang="en-US" sz="2500" b="0" i="0" u="none" strike="noStrike" kern="1200" cap="none" spc="0" normalizeH="0" baseline="0" noProof="0">
                <a:ln>
                  <a:noFill/>
                </a:ln>
                <a:solidFill>
                  <a:srgbClr val="124679"/>
                </a:solidFill>
                <a:effectLst/>
                <a:uLnTx/>
                <a:uFillTx/>
                <a:latin typeface="Calibri"/>
                <a:ea typeface="+mn-ea"/>
                <a:cs typeface="Arial" pitchFamily="34" charset="0"/>
              </a:rPr>
              <a:t>GINA Global Strategy for Asthma  Management and Prevention</a:t>
            </a:r>
            <a:endParaRPr kumimoji="0" lang="en-US" sz="2500" b="0" i="0" u="none" strike="noStrike" kern="1200" cap="none" spc="0" normalizeH="0" baseline="0" noProof="0">
              <a:ln>
                <a:noFill/>
              </a:ln>
              <a:solidFill>
                <a:prstClr val="black"/>
              </a:solidFill>
              <a:effectLst/>
              <a:uLnTx/>
              <a:uFillTx/>
              <a:latin typeface="Calibri"/>
              <a:ea typeface="+mn-ea"/>
              <a:cs typeface="Arial" pitchFamily="34" charset="0"/>
            </a:endParaRPr>
          </a:p>
          <a:p>
            <a:pPr marL="1566863" marR="0" lvl="0" indent="-282575" algn="l" defTabSz="914400" rtl="0" eaLnBrk="1" fontAlgn="auto" latinLnBrk="0" hangingPunct="1">
              <a:lnSpc>
                <a:spcPct val="100000"/>
              </a:lnSpc>
              <a:spcBef>
                <a:spcPts val="1975"/>
              </a:spcBef>
              <a:spcAft>
                <a:spcPts val="0"/>
              </a:spcAft>
              <a:buClrTx/>
              <a:buSzTx/>
              <a:buFontTx/>
              <a:buNone/>
              <a:tabLst/>
              <a:defRPr/>
            </a:pPr>
            <a:r>
              <a:rPr kumimoji="0" lang="en-US" sz="1800" b="0" i="0" u="none" strike="noStrike" kern="1200" cap="none" spc="0" normalizeH="0" baseline="0" noProof="0">
                <a:ln>
                  <a:noFill/>
                </a:ln>
                <a:solidFill>
                  <a:srgbClr val="124679"/>
                </a:solidFill>
                <a:effectLst/>
                <a:uLnTx/>
                <a:uFillTx/>
                <a:latin typeface="Calibri"/>
                <a:ea typeface="+mn-ea"/>
                <a:cs typeface="Arial" pitchFamily="34" charset="0"/>
              </a:rPr>
              <a:t>This slide set is restricted for academic and educational purposes  only.	Use of the slide set, or of individual slides, for commercial or  promotional purposes requires approval from GINA. Slides must not  be changed without permission from GINA.</a:t>
            </a:r>
            <a:endParaRPr kumimoji="0" lang="en-US" sz="1800" b="0" i="0" u="none" strike="noStrike" kern="1200" cap="none" spc="0" normalizeH="0" baseline="0" noProof="0">
              <a:ln>
                <a:noFill/>
              </a:ln>
              <a:solidFill>
                <a:prstClr val="black"/>
              </a:solidFill>
              <a:effectLst/>
              <a:uLnTx/>
              <a:uFillTx/>
              <a:latin typeface="Calibri"/>
              <a:ea typeface="+mn-ea"/>
              <a:cs typeface="Arial" pitchFamily="34" charset="0"/>
            </a:endParaRPr>
          </a:p>
        </p:txBody>
      </p:sp>
      <p:sp>
        <p:nvSpPr>
          <p:cNvPr id="5" name="object 5"/>
          <p:cNvSpPr txBox="1"/>
          <p:nvPr/>
        </p:nvSpPr>
        <p:spPr>
          <a:xfrm>
            <a:off x="2703513" y="6604000"/>
            <a:ext cx="3736975" cy="207963"/>
          </a:xfrm>
          <a:prstGeom prst="rect">
            <a:avLst/>
          </a:prstGeom>
        </p:spPr>
        <p:txBody>
          <a:bodyPr lIns="0" tIns="12700" rIns="0" bIns="0">
            <a:spAutoFit/>
          </a:bodyPr>
          <a:lstStyle/>
          <a:p>
            <a:pPr marL="12700" marR="0" lvl="0" indent="0" algn="l" defTabSz="914400" rtl="0" eaLnBrk="1" fontAlgn="auto" latinLnBrk="0" hangingPunct="1">
              <a:lnSpc>
                <a:spcPct val="100000"/>
              </a:lnSpc>
              <a:spcBef>
                <a:spcPts val="100"/>
              </a:spcBef>
              <a:spcAft>
                <a:spcPts val="0"/>
              </a:spcAft>
              <a:buClrTx/>
              <a:buSzTx/>
              <a:buFontTx/>
              <a:buNone/>
              <a:tabLst>
                <a:tab pos="2275840" algn="l"/>
              </a:tabLst>
              <a:defRPr/>
            </a:pPr>
            <a:r>
              <a:rPr kumimoji="0" sz="1200" b="1" i="0" u="none" strike="noStrike" kern="1200" cap="none" spc="0" normalizeH="0" baseline="0" noProof="0" dirty="0">
                <a:ln>
                  <a:noFill/>
                </a:ln>
                <a:solidFill>
                  <a:srgbClr val="124679"/>
                </a:solidFill>
                <a:effectLst/>
                <a:uLnTx/>
                <a:uFillTx/>
                <a:latin typeface="Arial"/>
                <a:ea typeface="+mn-ea"/>
                <a:cs typeface="Arial"/>
              </a:rPr>
              <a:t>© Global </a:t>
            </a:r>
            <a:r>
              <a:rPr kumimoji="0" sz="1200" b="1" i="0" u="none" strike="noStrike" kern="1200" cap="none" spc="-5" normalizeH="0" baseline="0" noProof="0" dirty="0">
                <a:ln>
                  <a:noFill/>
                </a:ln>
                <a:solidFill>
                  <a:srgbClr val="124679"/>
                </a:solidFill>
                <a:effectLst/>
                <a:uLnTx/>
                <a:uFillTx/>
                <a:latin typeface="Arial"/>
                <a:ea typeface="+mn-ea"/>
                <a:cs typeface="Arial"/>
              </a:rPr>
              <a:t>Initiative</a:t>
            </a:r>
            <a:r>
              <a:rPr kumimoji="0" sz="1200" b="1" i="0" u="none" strike="noStrike" kern="1200" cap="none" spc="55" normalizeH="0" baseline="0" noProof="0" dirty="0">
                <a:ln>
                  <a:noFill/>
                </a:ln>
                <a:solidFill>
                  <a:srgbClr val="124679"/>
                </a:solidFill>
                <a:effectLst/>
                <a:uLnTx/>
                <a:uFillTx/>
                <a:latin typeface="Arial"/>
                <a:ea typeface="+mn-ea"/>
                <a:cs typeface="Arial"/>
              </a:rPr>
              <a:t> </a:t>
            </a:r>
            <a:r>
              <a:rPr kumimoji="0" sz="1200" b="1" i="0" u="none" strike="noStrike" kern="1200" cap="none" spc="-5" normalizeH="0" baseline="0" noProof="0" dirty="0">
                <a:ln>
                  <a:noFill/>
                </a:ln>
                <a:solidFill>
                  <a:srgbClr val="124679"/>
                </a:solidFill>
                <a:effectLst/>
                <a:uLnTx/>
                <a:uFillTx/>
                <a:latin typeface="Arial"/>
                <a:ea typeface="+mn-ea"/>
                <a:cs typeface="Arial"/>
              </a:rPr>
              <a:t>for</a:t>
            </a:r>
            <a:r>
              <a:rPr kumimoji="0" sz="1200" b="1" i="0" u="none" strike="noStrike" kern="1200" cap="none" spc="-15" normalizeH="0" baseline="0" noProof="0" dirty="0">
                <a:ln>
                  <a:noFill/>
                </a:ln>
                <a:solidFill>
                  <a:srgbClr val="124679"/>
                </a:solidFill>
                <a:effectLst/>
                <a:uLnTx/>
                <a:uFillTx/>
                <a:latin typeface="Arial"/>
                <a:ea typeface="+mn-ea"/>
                <a:cs typeface="Arial"/>
              </a:rPr>
              <a:t> </a:t>
            </a:r>
            <a:r>
              <a:rPr kumimoji="0" sz="1200" b="1" i="0" u="none" strike="noStrike" kern="1200" cap="none" spc="-10" normalizeH="0" baseline="0" noProof="0" dirty="0">
                <a:ln>
                  <a:noFill/>
                </a:ln>
                <a:solidFill>
                  <a:srgbClr val="124679"/>
                </a:solidFill>
                <a:effectLst/>
                <a:uLnTx/>
                <a:uFillTx/>
                <a:latin typeface="Arial"/>
                <a:ea typeface="+mn-ea"/>
                <a:cs typeface="Arial"/>
              </a:rPr>
              <a:t>Asthma	</a:t>
            </a:r>
            <a:r>
              <a:rPr kumimoji="0" sz="1200" b="1" i="0" u="sng" strike="noStrike" kern="1200" cap="none" spc="-5" normalizeH="0" baseline="0" noProof="0" dirty="0">
                <a:ln>
                  <a:noFill/>
                </a:ln>
                <a:solidFill>
                  <a:srgbClr val="0000FF"/>
                </a:solidFill>
                <a:effectLst/>
                <a:uLnTx/>
                <a:uFill>
                  <a:solidFill>
                    <a:srgbClr val="0000FF"/>
                  </a:solidFill>
                </a:uFill>
                <a:latin typeface="Arial"/>
                <a:ea typeface="+mn-ea"/>
                <a:cs typeface="Arial"/>
                <a:hlinkClick r:id="rId4"/>
              </a:rPr>
              <a:t>www.ginasthma.org</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104454" name="object 6"/>
          <p:cNvSpPr>
            <a:spLocks noGrp="1"/>
          </p:cNvSpPr>
          <p:nvPr>
            <p:ph type="title"/>
          </p:nvPr>
        </p:nvSpPr>
        <p:spPr>
          <a:xfrm>
            <a:off x="457200" y="274638"/>
            <a:ext cx="8229600" cy="1438275"/>
          </a:xfrm>
        </p:spPr>
        <p:txBody>
          <a:bodyPr lIns="0" tIns="12065" rIns="0" bIns="0">
            <a:spAutoFit/>
          </a:bodyPr>
          <a:lstStyle/>
          <a:p>
            <a:pPr marL="820738" indent="-809625" eaLnBrk="1" hangingPunct="1">
              <a:lnSpc>
                <a:spcPct val="153000"/>
              </a:lnSpc>
              <a:spcBef>
                <a:spcPts val="100"/>
              </a:spcBef>
            </a:pPr>
            <a:r>
              <a:rPr lang="en-US" sz="3200" b="1" smtClean="0"/>
              <a:t>Global Initiative for Asthma (GINA)  </a:t>
            </a:r>
            <a:br>
              <a:rPr lang="en-US" sz="3200" b="1" smtClean="0"/>
            </a:br>
            <a:r>
              <a:rPr lang="en-US" sz="3200" b="1" smtClean="0"/>
              <a:t>What’s new in GINA 2018?</a:t>
            </a:r>
          </a:p>
        </p:txBody>
      </p:sp>
    </p:spTree>
    <p:extLst>
      <p:ext uri="{BB962C8B-B14F-4D97-AF65-F5344CB8AC3E}">
        <p14:creationId xmlns:p14="http://schemas.microsoft.com/office/powerpoint/2010/main" val="272727790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Picture 1" descr="SLIDE 57-58.jpg"/>
          <p:cNvPicPr>
            <a:picLocks noChangeAspect="1"/>
          </p:cNvPicPr>
          <p:nvPr/>
        </p:nvPicPr>
        <p:blipFill>
          <a:blip r:embed="rId2" cstate="print"/>
          <a:srcRect/>
          <a:stretch>
            <a:fillRect/>
          </a:stretch>
        </p:blipFill>
        <p:spPr bwMode="auto">
          <a:xfrm>
            <a:off x="900290" y="1398588"/>
            <a:ext cx="8101189" cy="4319587"/>
          </a:xfrm>
          <a:prstGeom prst="rect">
            <a:avLst/>
          </a:prstGeom>
          <a:noFill/>
          <a:ln w="9525">
            <a:noFill/>
            <a:miter lim="800000"/>
            <a:headEnd/>
            <a:tailEnd/>
          </a:ln>
        </p:spPr>
      </p:pic>
      <p:pic>
        <p:nvPicPr>
          <p:cNvPr id="66563" name="Picture 3"/>
          <p:cNvPicPr>
            <a:picLocks noChangeArrowheads="1"/>
          </p:cNvPicPr>
          <p:nvPr/>
        </p:nvPicPr>
        <p:blipFill>
          <a:blip r:embed="rId3"/>
          <a:srcRect/>
          <a:stretch>
            <a:fillRect/>
          </a:stretch>
        </p:blipFill>
        <p:spPr bwMode="auto">
          <a:xfrm>
            <a:off x="152400" y="139700"/>
            <a:ext cx="8820856" cy="1500188"/>
          </a:xfrm>
          <a:prstGeom prst="rect">
            <a:avLst/>
          </a:prstGeom>
          <a:noFill/>
          <a:ln w="9525">
            <a:noFill/>
            <a:miter lim="800000"/>
            <a:headEnd/>
            <a:tailEnd/>
          </a:ln>
        </p:spPr>
      </p:pic>
      <p:pic>
        <p:nvPicPr>
          <p:cNvPr id="66564" name="Picture 5"/>
          <p:cNvPicPr>
            <a:picLocks noChangeArrowheads="1"/>
          </p:cNvPicPr>
          <p:nvPr/>
        </p:nvPicPr>
        <p:blipFill>
          <a:blip r:embed="rId4"/>
          <a:srcRect/>
          <a:stretch>
            <a:fillRect/>
          </a:stretch>
        </p:blipFill>
        <p:spPr bwMode="auto">
          <a:xfrm>
            <a:off x="7961489" y="184153"/>
            <a:ext cx="968022" cy="995363"/>
          </a:xfrm>
          <a:prstGeom prst="rect">
            <a:avLst/>
          </a:prstGeom>
          <a:noFill/>
          <a:ln w="9525">
            <a:noFill/>
            <a:miter lim="800000"/>
            <a:headEnd/>
            <a:tailEnd/>
          </a:ln>
        </p:spPr>
      </p:pic>
      <p:sp>
        <p:nvSpPr>
          <p:cNvPr id="66565" name="Rectangle 6"/>
          <p:cNvSpPr>
            <a:spLocks noGrp="1" noChangeArrowheads="1"/>
          </p:cNvSpPr>
          <p:nvPr>
            <p:ph type="title"/>
          </p:nvPr>
        </p:nvSpPr>
        <p:spPr bwMode="auto">
          <a:xfrm>
            <a:off x="173567" y="250828"/>
            <a:ext cx="7597422" cy="1349375"/>
          </a:xfrm>
          <a:noFill/>
          <a:ln w="12700">
            <a:miter lim="800000"/>
            <a:headEnd/>
            <a:tailEnd/>
          </a:ln>
        </p:spPr>
        <p:txBody>
          <a:bodyPr vert="horz" wrap="square" lIns="91440" tIns="45720" rIns="40631" bIns="45720" numCol="1" anchor="t" anchorCtr="0" compatLnSpc="1">
            <a:prstTxWarp prst="textNoShape">
              <a:avLst/>
            </a:prstTxWarp>
          </a:bodyPr>
          <a:lstStyle/>
          <a:p>
            <a:pPr marL="222250" eaLnBrk="1" hangingPunct="1"/>
            <a:r>
              <a:rPr lang="en-US" altLang="en-US" smtClean="0">
                <a:ea typeface="ヒラギノ角ゴ ProN W3"/>
                <a:cs typeface="ヒラギノ角ゴ ProN W3"/>
              </a:rPr>
              <a:t>Step 1 – </a:t>
            </a:r>
            <a:r>
              <a:rPr lang="en-US" smtClean="0">
                <a:solidFill>
                  <a:srgbClr val="595959"/>
                </a:solidFill>
                <a:ea typeface="ＭＳ Ｐゴシック" pitchFamily="34" charset="-128"/>
              </a:rPr>
              <a:t>As-needed  low dose ICS-Formoterol</a:t>
            </a:r>
            <a:r>
              <a:rPr lang="en-US" altLang="en-US" smtClean="0">
                <a:ea typeface="ヒラギノ角ゴ ProN W3"/>
                <a:cs typeface="ヒラギノ角ゴ ProN W3"/>
              </a:rPr>
              <a:t> </a:t>
            </a:r>
          </a:p>
        </p:txBody>
      </p:sp>
      <p:sp>
        <p:nvSpPr>
          <p:cNvPr id="66566" name="Rectangle 7"/>
          <p:cNvSpPr>
            <a:spLocks/>
          </p:cNvSpPr>
          <p:nvPr/>
        </p:nvSpPr>
        <p:spPr bwMode="auto">
          <a:xfrm>
            <a:off x="177801" y="6650041"/>
            <a:ext cx="2319867" cy="276225"/>
          </a:xfrm>
          <a:prstGeom prst="rect">
            <a:avLst/>
          </a:prstGeom>
          <a:noFill/>
          <a:ln w="12700">
            <a:noFill/>
            <a:miter lim="800000"/>
            <a:headEnd/>
            <a:tailEnd/>
          </a:ln>
        </p:spPr>
        <p:txBody>
          <a:bodyPr lIns="0" tIns="0" rIns="40631" bIns="0"/>
          <a:lstStyle/>
          <a:p>
            <a:pPr marL="36513"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1" u="none" strike="noStrike" kern="1200" cap="none" spc="0" normalizeH="0" baseline="0" noProof="0">
                <a:ln>
                  <a:noFill/>
                </a:ln>
                <a:solidFill>
                  <a:srgbClr val="FFFFFF"/>
                </a:solidFill>
                <a:effectLst/>
                <a:uLnTx/>
                <a:uFillTx/>
                <a:latin typeface="Arial Italic" pitchFamily="34" charset="0"/>
                <a:ea typeface="ＭＳ Ｐゴシック" pitchFamily="34" charset="-128"/>
                <a:cs typeface="+mn-cs"/>
                <a:sym typeface="Arial Italic" pitchFamily="34" charset="0"/>
              </a:rPr>
              <a:t>GINA 2016, Box 3-5, Step 1 (4/8)</a:t>
            </a:r>
          </a:p>
        </p:txBody>
      </p:sp>
      <p:sp>
        <p:nvSpPr>
          <p:cNvPr id="66567" name="Rectangle 8"/>
          <p:cNvSpPr>
            <a:spLocks/>
          </p:cNvSpPr>
          <p:nvPr/>
        </p:nvSpPr>
        <p:spPr bwMode="auto">
          <a:xfrm>
            <a:off x="-309034" y="3027363"/>
            <a:ext cx="1487312" cy="893762"/>
          </a:xfrm>
          <a:prstGeom prst="rect">
            <a:avLst/>
          </a:prstGeom>
          <a:noFill/>
          <a:ln w="12700">
            <a:noFill/>
            <a:miter lim="800000"/>
            <a:headEnd/>
            <a:tailEnd/>
          </a:ln>
        </p:spPr>
        <p:txBody>
          <a:bodyPr lIns="0" tIns="0" rIns="0" bIns="0"/>
          <a:lstStyle/>
          <a:p>
            <a:pPr marL="0" marR="0" lvl="0" indent="0" algn="r" defTabSz="914400" rtl="0" eaLnBrk="1" fontAlgn="auto" latinLnBrk="0" hangingPunct="1">
              <a:lnSpc>
                <a:spcPct val="110000"/>
              </a:lnSpc>
              <a:spcBef>
                <a:spcPts val="0"/>
              </a:spcBef>
              <a:spcAft>
                <a:spcPts val="0"/>
              </a:spcAft>
              <a:buClrTx/>
              <a:buSzTx/>
              <a:buFontTx/>
              <a:buNone/>
              <a:tabLst/>
              <a:defRPr/>
            </a:pPr>
            <a:r>
              <a:rPr kumimoji="0" lang="en-US" altLang="en-US" sz="900" b="1" i="0" u="none" strike="noStrike" kern="1200" cap="none" spc="0" normalizeH="0" baseline="0" noProof="0">
                <a:ln>
                  <a:noFill/>
                </a:ln>
                <a:solidFill>
                  <a:srgbClr val="134679"/>
                </a:solidFill>
                <a:effectLst/>
                <a:uLnTx/>
                <a:uFillTx/>
                <a:latin typeface="Arial Bold" pitchFamily="34" charset="0"/>
                <a:ea typeface="ＭＳ Ｐゴシック" pitchFamily="34" charset="-128"/>
                <a:cs typeface="+mn-cs"/>
                <a:sym typeface="Arial Bold" pitchFamily="34" charset="0"/>
              </a:rPr>
              <a:t>PREFERRED </a:t>
            </a:r>
            <a:br>
              <a:rPr kumimoji="0" lang="en-US" altLang="en-US" sz="900" b="1" i="0" u="none" strike="noStrike" kern="1200" cap="none" spc="0" normalizeH="0" baseline="0" noProof="0">
                <a:ln>
                  <a:noFill/>
                </a:ln>
                <a:solidFill>
                  <a:srgbClr val="134679"/>
                </a:solidFill>
                <a:effectLst/>
                <a:uLnTx/>
                <a:uFillTx/>
                <a:latin typeface="Arial Bold" pitchFamily="34" charset="0"/>
                <a:ea typeface="ＭＳ Ｐゴシック" pitchFamily="34" charset="-128"/>
                <a:cs typeface="+mn-cs"/>
                <a:sym typeface="Arial Bold" pitchFamily="34" charset="0"/>
              </a:rPr>
            </a:br>
            <a:r>
              <a:rPr kumimoji="0" lang="en-US" altLang="en-US" sz="900" b="1" i="0" u="none" strike="noStrike" kern="1200" cap="none" spc="0" normalizeH="0" baseline="0" noProof="0">
                <a:ln>
                  <a:noFill/>
                </a:ln>
                <a:solidFill>
                  <a:srgbClr val="134679"/>
                </a:solidFill>
                <a:effectLst/>
                <a:uLnTx/>
                <a:uFillTx/>
                <a:latin typeface="Arial Bold" pitchFamily="34" charset="0"/>
                <a:ea typeface="ＭＳ Ｐゴシック" pitchFamily="34" charset="-128"/>
                <a:cs typeface="+mn-cs"/>
                <a:sym typeface="Arial Bold" pitchFamily="34" charset="0"/>
              </a:rPr>
              <a:t>CONTROLLER </a:t>
            </a:r>
            <a:br>
              <a:rPr kumimoji="0" lang="en-US" altLang="en-US" sz="900" b="1" i="0" u="none" strike="noStrike" kern="1200" cap="none" spc="0" normalizeH="0" baseline="0" noProof="0">
                <a:ln>
                  <a:noFill/>
                </a:ln>
                <a:solidFill>
                  <a:srgbClr val="134679"/>
                </a:solidFill>
                <a:effectLst/>
                <a:uLnTx/>
                <a:uFillTx/>
                <a:latin typeface="Arial Bold" pitchFamily="34" charset="0"/>
                <a:ea typeface="ＭＳ Ｐゴシック" pitchFamily="34" charset="-128"/>
                <a:cs typeface="+mn-cs"/>
                <a:sym typeface="Arial Bold" pitchFamily="34" charset="0"/>
              </a:rPr>
            </a:br>
            <a:r>
              <a:rPr kumimoji="0" lang="en-US" altLang="en-US" sz="900" b="1" i="0" u="none" strike="noStrike" kern="1200" cap="none" spc="0" normalizeH="0" baseline="0" noProof="0">
                <a:ln>
                  <a:noFill/>
                </a:ln>
                <a:solidFill>
                  <a:srgbClr val="134679"/>
                </a:solidFill>
                <a:effectLst/>
                <a:uLnTx/>
                <a:uFillTx/>
                <a:latin typeface="Arial Bold" pitchFamily="34" charset="0"/>
                <a:ea typeface="ＭＳ Ｐゴシック" pitchFamily="34" charset="-128"/>
                <a:cs typeface="+mn-cs"/>
                <a:sym typeface="Arial Bold" pitchFamily="34" charset="0"/>
              </a:rPr>
              <a:t>CHOICE</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en-US" sz="900" b="1"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66568" name="Rectangle 9"/>
          <p:cNvSpPr>
            <a:spLocks/>
          </p:cNvSpPr>
          <p:nvPr/>
        </p:nvSpPr>
        <p:spPr bwMode="auto">
          <a:xfrm>
            <a:off x="128413" y="4403725"/>
            <a:ext cx="1041400" cy="558800"/>
          </a:xfrm>
          <a:prstGeom prst="rect">
            <a:avLst/>
          </a:prstGeom>
          <a:noFill/>
          <a:ln w="12700">
            <a:noFill/>
            <a:miter lim="800000"/>
            <a:headEnd/>
            <a:tailEnd/>
          </a:ln>
        </p:spPr>
        <p:txBody>
          <a:bodyPr lIns="0" tIns="0" rIns="0" bIns="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Italic" pitchFamily="34" charset="0"/>
                <a:ea typeface="ＭＳ Ｐゴシック" pitchFamily="34" charset="-128"/>
                <a:cs typeface="+mn-cs"/>
                <a:sym typeface="Arial Italic" pitchFamily="34" charset="0"/>
              </a:rPr>
              <a:t>Other </a:t>
            </a:r>
            <a:br>
              <a:rPr kumimoji="0" lang="en-US" altLang="en-US" sz="900" b="0" i="0" u="none" strike="noStrike" kern="1200" cap="none" spc="0" normalizeH="0" baseline="0" noProof="0">
                <a:ln>
                  <a:noFill/>
                </a:ln>
                <a:solidFill>
                  <a:srgbClr val="000000"/>
                </a:solidFill>
                <a:effectLst/>
                <a:uLnTx/>
                <a:uFillTx/>
                <a:latin typeface="Arial Italic" pitchFamily="34" charset="0"/>
                <a:ea typeface="ＭＳ Ｐゴシック" pitchFamily="34" charset="-128"/>
                <a:cs typeface="+mn-cs"/>
                <a:sym typeface="Arial Italic" pitchFamily="34" charset="0"/>
              </a:rPr>
            </a:br>
            <a:r>
              <a:rPr kumimoji="0" lang="en-US" altLang="en-US" sz="900" b="0" i="0" u="none" strike="noStrike" kern="1200" cap="none" spc="0" normalizeH="0" baseline="0" noProof="0">
                <a:ln>
                  <a:noFill/>
                </a:ln>
                <a:solidFill>
                  <a:srgbClr val="000000"/>
                </a:solidFill>
                <a:effectLst/>
                <a:uLnTx/>
                <a:uFillTx/>
                <a:latin typeface="Arial Italic" pitchFamily="34" charset="0"/>
                <a:ea typeface="ＭＳ Ｐゴシック" pitchFamily="34" charset="-128"/>
                <a:cs typeface="+mn-cs"/>
                <a:sym typeface="Arial Italic" pitchFamily="34" charset="0"/>
              </a:rPr>
              <a:t>controller </a:t>
            </a:r>
            <a:br>
              <a:rPr kumimoji="0" lang="en-US" altLang="en-US" sz="900" b="0" i="0" u="none" strike="noStrike" kern="1200" cap="none" spc="0" normalizeH="0" baseline="0" noProof="0">
                <a:ln>
                  <a:noFill/>
                </a:ln>
                <a:solidFill>
                  <a:srgbClr val="000000"/>
                </a:solidFill>
                <a:effectLst/>
                <a:uLnTx/>
                <a:uFillTx/>
                <a:latin typeface="Arial Italic" pitchFamily="34" charset="0"/>
                <a:ea typeface="ＭＳ Ｐゴシック" pitchFamily="34" charset="-128"/>
                <a:cs typeface="+mn-cs"/>
                <a:sym typeface="Arial Italic" pitchFamily="34" charset="0"/>
              </a:rPr>
            </a:br>
            <a:r>
              <a:rPr kumimoji="0" lang="en-US" altLang="en-US" sz="900" b="0" i="0" u="none" strike="noStrike" kern="1200" cap="none" spc="0" normalizeH="0" baseline="0" noProof="0">
                <a:ln>
                  <a:noFill/>
                </a:ln>
                <a:solidFill>
                  <a:srgbClr val="000000"/>
                </a:solidFill>
                <a:effectLst/>
                <a:uLnTx/>
                <a:uFillTx/>
                <a:latin typeface="Arial Italic" pitchFamily="34" charset="0"/>
                <a:ea typeface="ＭＳ Ｐゴシック" pitchFamily="34" charset="-128"/>
                <a:cs typeface="+mn-cs"/>
                <a:sym typeface="Arial Italic" pitchFamily="34" charset="0"/>
              </a:rPr>
              <a:t>options</a:t>
            </a:r>
          </a:p>
        </p:txBody>
      </p:sp>
      <p:sp>
        <p:nvSpPr>
          <p:cNvPr id="66569" name="Rectangle 10"/>
          <p:cNvSpPr>
            <a:spLocks/>
          </p:cNvSpPr>
          <p:nvPr/>
        </p:nvSpPr>
        <p:spPr bwMode="auto">
          <a:xfrm>
            <a:off x="213079" y="5087938"/>
            <a:ext cx="952500" cy="241300"/>
          </a:xfrm>
          <a:prstGeom prst="rect">
            <a:avLst/>
          </a:prstGeom>
          <a:noFill/>
          <a:ln w="12700">
            <a:noFill/>
            <a:miter lim="800000"/>
            <a:headEnd/>
            <a:tailEnd/>
          </a:ln>
        </p:spPr>
        <p:txBody>
          <a:bodyPr lIns="0" tIns="0" rIns="0" bIns="0"/>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altLang="en-US" sz="900" b="1" i="0" u="none" strike="noStrike" kern="1200" cap="none" spc="0" normalizeH="0" baseline="0" noProof="0">
                <a:ln>
                  <a:noFill/>
                </a:ln>
                <a:solidFill>
                  <a:srgbClr val="134679"/>
                </a:solidFill>
                <a:effectLst/>
                <a:uLnTx/>
                <a:uFillTx/>
                <a:latin typeface="Arial Bold" pitchFamily="34" charset="0"/>
                <a:ea typeface="ＭＳ Ｐゴシック" pitchFamily="34" charset="-128"/>
                <a:cs typeface="+mn-cs"/>
                <a:sym typeface="Arial Bold" pitchFamily="34" charset="0"/>
              </a:rPr>
              <a:t>RELIEVER</a:t>
            </a:r>
          </a:p>
        </p:txBody>
      </p:sp>
      <p:sp>
        <p:nvSpPr>
          <p:cNvPr id="66570" name="Rectangle 11"/>
          <p:cNvSpPr>
            <a:spLocks/>
          </p:cNvSpPr>
          <p:nvPr/>
        </p:nvSpPr>
        <p:spPr bwMode="auto">
          <a:xfrm>
            <a:off x="1285524" y="2995613"/>
            <a:ext cx="826911" cy="381000"/>
          </a:xfrm>
          <a:prstGeom prst="rect">
            <a:avLst/>
          </a:prstGeom>
          <a:noFill/>
          <a:ln w="12700">
            <a:noFill/>
            <a:miter lim="800000"/>
            <a:headEnd/>
            <a:tailEnd/>
          </a:ln>
        </p:spPr>
        <p:txBody>
          <a:bodyPr lIns="0" tIns="0" rIns="0" bIns="0"/>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en-US" sz="1300" b="1" i="0" u="none" strike="noStrike" kern="1200" cap="none" spc="0" normalizeH="0" baseline="0" noProof="0">
                <a:ln>
                  <a:noFill/>
                </a:ln>
                <a:solidFill>
                  <a:srgbClr val="000000"/>
                </a:solidFill>
                <a:effectLst/>
                <a:uLnTx/>
                <a:uFillTx/>
                <a:latin typeface="Arial"/>
                <a:ea typeface="ＭＳ Ｐゴシック" pitchFamily="34" charset="-128"/>
                <a:cs typeface="+mn-cs"/>
                <a:sym typeface="Arial Bold" pitchFamily="34" charset="0"/>
              </a:rPr>
              <a:t>STEP 1</a:t>
            </a:r>
          </a:p>
        </p:txBody>
      </p:sp>
      <p:sp>
        <p:nvSpPr>
          <p:cNvPr id="66571" name="Rectangle 12"/>
          <p:cNvSpPr>
            <a:spLocks/>
          </p:cNvSpPr>
          <p:nvPr/>
        </p:nvSpPr>
        <p:spPr bwMode="auto">
          <a:xfrm>
            <a:off x="2132191" y="2992438"/>
            <a:ext cx="3835400" cy="419100"/>
          </a:xfrm>
          <a:prstGeom prst="rect">
            <a:avLst/>
          </a:prstGeom>
          <a:noFill/>
          <a:ln w="12700">
            <a:noFill/>
            <a:miter lim="800000"/>
            <a:headEnd/>
            <a:tailEnd/>
          </a:ln>
        </p:spPr>
        <p:txBody>
          <a:bodyPr lIns="0" tIns="0" rIns="0" bIns="0"/>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en-US" sz="1300" b="1" i="0" u="none" strike="noStrike" kern="1200" cap="none" spc="0" normalizeH="0" baseline="0" noProof="0">
                <a:ln>
                  <a:noFill/>
                </a:ln>
                <a:solidFill>
                  <a:srgbClr val="000000"/>
                </a:solidFill>
                <a:effectLst/>
                <a:uLnTx/>
                <a:uFillTx/>
                <a:latin typeface="Arial"/>
                <a:ea typeface="ＭＳ Ｐゴシック" pitchFamily="34" charset="-128"/>
                <a:cs typeface="+mn-cs"/>
                <a:sym typeface="Arial Bold" pitchFamily="34" charset="0"/>
              </a:rPr>
              <a:t>STEP 2</a:t>
            </a:r>
          </a:p>
        </p:txBody>
      </p:sp>
      <p:sp>
        <p:nvSpPr>
          <p:cNvPr id="66572" name="Rectangle 13"/>
          <p:cNvSpPr>
            <a:spLocks/>
          </p:cNvSpPr>
          <p:nvPr/>
        </p:nvSpPr>
        <p:spPr bwMode="auto">
          <a:xfrm>
            <a:off x="5921022" y="2900363"/>
            <a:ext cx="1181100" cy="317500"/>
          </a:xfrm>
          <a:prstGeom prst="rect">
            <a:avLst/>
          </a:prstGeom>
          <a:noFill/>
          <a:ln w="12700">
            <a:noFill/>
            <a:miter lim="800000"/>
            <a:headEnd/>
            <a:tailEnd/>
          </a:ln>
        </p:spPr>
        <p:txBody>
          <a:bodyPr lIns="0" tIns="0" rIns="0" bIns="0"/>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en-US" sz="1300" b="1" i="0" u="none" strike="noStrike" kern="1200" cap="none" spc="0" normalizeH="0" baseline="0" noProof="0">
                <a:ln>
                  <a:noFill/>
                </a:ln>
                <a:solidFill>
                  <a:srgbClr val="000000"/>
                </a:solidFill>
                <a:effectLst/>
                <a:uLnTx/>
                <a:uFillTx/>
                <a:latin typeface="Arial"/>
                <a:ea typeface="ＭＳ Ｐゴシック" pitchFamily="34" charset="-128"/>
                <a:cs typeface="+mn-cs"/>
                <a:sym typeface="Arial Bold" pitchFamily="34" charset="0"/>
              </a:rPr>
              <a:t>STEP 3</a:t>
            </a:r>
          </a:p>
        </p:txBody>
      </p:sp>
      <p:sp>
        <p:nvSpPr>
          <p:cNvPr id="66573" name="Rectangle 14"/>
          <p:cNvSpPr>
            <a:spLocks/>
          </p:cNvSpPr>
          <p:nvPr/>
        </p:nvSpPr>
        <p:spPr bwMode="auto">
          <a:xfrm>
            <a:off x="7085189" y="2557463"/>
            <a:ext cx="952500" cy="317500"/>
          </a:xfrm>
          <a:prstGeom prst="rect">
            <a:avLst/>
          </a:prstGeom>
          <a:noFill/>
          <a:ln w="12700">
            <a:noFill/>
            <a:miter lim="800000"/>
            <a:headEnd/>
            <a:tailEnd/>
          </a:ln>
        </p:spPr>
        <p:txBody>
          <a:bodyPr lIns="0" tIns="0" rIns="0" bIns="0"/>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en-US" sz="1300" b="1" i="0" u="none" strike="noStrike" kern="1200" cap="none" spc="0" normalizeH="0" baseline="0" noProof="0">
                <a:ln>
                  <a:noFill/>
                </a:ln>
                <a:solidFill>
                  <a:srgbClr val="000000"/>
                </a:solidFill>
                <a:effectLst/>
                <a:uLnTx/>
                <a:uFillTx/>
                <a:latin typeface="Arial"/>
                <a:ea typeface="ＭＳ Ｐゴシック" pitchFamily="34" charset="-128"/>
                <a:cs typeface="+mn-cs"/>
                <a:sym typeface="Arial Bold" pitchFamily="34" charset="0"/>
              </a:rPr>
              <a:t>STEP 4</a:t>
            </a:r>
          </a:p>
        </p:txBody>
      </p:sp>
      <p:sp>
        <p:nvSpPr>
          <p:cNvPr id="66574" name="Rectangle 15"/>
          <p:cNvSpPr>
            <a:spLocks/>
          </p:cNvSpPr>
          <p:nvPr/>
        </p:nvSpPr>
        <p:spPr bwMode="auto">
          <a:xfrm>
            <a:off x="8026400" y="2139950"/>
            <a:ext cx="762000" cy="317500"/>
          </a:xfrm>
          <a:prstGeom prst="rect">
            <a:avLst/>
          </a:prstGeom>
          <a:noFill/>
          <a:ln w="12700">
            <a:noFill/>
            <a:miter lim="800000"/>
            <a:headEnd/>
            <a:tailEnd/>
          </a:ln>
        </p:spPr>
        <p:txBody>
          <a:bodyPr lIns="0" tIns="0" rIns="0" bIns="0"/>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en-US" sz="1300" b="1" i="0" u="none" strike="noStrike" kern="1200" cap="none" spc="0" normalizeH="0" baseline="0" noProof="0">
                <a:ln>
                  <a:noFill/>
                </a:ln>
                <a:solidFill>
                  <a:srgbClr val="000000"/>
                </a:solidFill>
                <a:effectLst/>
                <a:uLnTx/>
                <a:uFillTx/>
                <a:latin typeface="Arial"/>
                <a:ea typeface="ＭＳ Ｐゴシック" pitchFamily="34" charset="-128"/>
                <a:cs typeface="+mn-cs"/>
                <a:sym typeface="Arial Bold" pitchFamily="34" charset="0"/>
              </a:rPr>
              <a:t>STEP 5</a:t>
            </a:r>
          </a:p>
        </p:txBody>
      </p:sp>
      <p:sp>
        <p:nvSpPr>
          <p:cNvPr id="66575" name="Rectangle 16"/>
          <p:cNvSpPr>
            <a:spLocks/>
          </p:cNvSpPr>
          <p:nvPr/>
        </p:nvSpPr>
        <p:spPr bwMode="auto">
          <a:xfrm>
            <a:off x="2092678" y="3922713"/>
            <a:ext cx="3822700" cy="419100"/>
          </a:xfrm>
          <a:prstGeom prst="rect">
            <a:avLst/>
          </a:prstGeom>
          <a:noFill/>
          <a:ln w="12700">
            <a:noFill/>
            <a:miter lim="800000"/>
            <a:headEnd/>
            <a:tailEnd/>
          </a:ln>
        </p:spPr>
        <p:txBody>
          <a:bodyPr lIns="0" tIns="0" rIns="0" bIns="0"/>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Arial"/>
                <a:ea typeface="ＭＳ Ｐゴシック" pitchFamily="34" charset="-128"/>
                <a:cs typeface="+mn-cs"/>
              </a:rPr>
              <a:t>Low dose ICS</a:t>
            </a:r>
          </a:p>
        </p:txBody>
      </p:sp>
      <p:sp>
        <p:nvSpPr>
          <p:cNvPr id="66576" name="Rectangle 17"/>
          <p:cNvSpPr>
            <a:spLocks/>
          </p:cNvSpPr>
          <p:nvPr/>
        </p:nvSpPr>
        <p:spPr bwMode="auto">
          <a:xfrm>
            <a:off x="1279879" y="4452941"/>
            <a:ext cx="809978" cy="428625"/>
          </a:xfrm>
          <a:prstGeom prst="rect">
            <a:avLst/>
          </a:prstGeom>
          <a:noFill/>
          <a:ln w="12700">
            <a:noFill/>
            <a:miter lim="800000"/>
            <a:headEnd/>
            <a:tailEnd/>
          </a:ln>
        </p:spPr>
        <p:txBody>
          <a:bodyPr lIns="0" tIns="0" rIns="0" bIns="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595959"/>
                </a:solidFill>
                <a:effectLst/>
                <a:uLnTx/>
                <a:uFillTx/>
                <a:latin typeface="Arial"/>
                <a:ea typeface="ＭＳ Ｐゴシック" pitchFamily="34" charset="-128"/>
                <a:cs typeface="Arial" pitchFamily="34" charset="0"/>
                <a:sym typeface="Arial Italic" pitchFamily="34" charset="0"/>
              </a:rPr>
              <a:t>Consider low dose ICS </a:t>
            </a:r>
          </a:p>
        </p:txBody>
      </p:sp>
      <p:sp>
        <p:nvSpPr>
          <p:cNvPr id="66577" name="Rectangle 18"/>
          <p:cNvSpPr>
            <a:spLocks/>
          </p:cNvSpPr>
          <p:nvPr/>
        </p:nvSpPr>
        <p:spPr bwMode="auto">
          <a:xfrm>
            <a:off x="2089856" y="4464050"/>
            <a:ext cx="3835400" cy="431800"/>
          </a:xfrm>
          <a:prstGeom prst="rect">
            <a:avLst/>
          </a:prstGeom>
          <a:noFill/>
          <a:ln w="12700">
            <a:noFill/>
            <a:miter lim="800000"/>
            <a:headEnd/>
            <a:tailEnd/>
          </a:ln>
        </p:spPr>
        <p:txBody>
          <a:bodyPr lIns="0" tIns="0" rIns="0" bIns="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595959"/>
                </a:solidFill>
                <a:effectLst/>
                <a:uLnTx/>
                <a:uFillTx/>
                <a:latin typeface="Arial"/>
                <a:ea typeface="ＭＳ Ｐゴシック" pitchFamily="34" charset="-128"/>
                <a:cs typeface="Arial" pitchFamily="34" charset="0"/>
                <a:sym typeface="Arial Italic" pitchFamily="34" charset="0"/>
              </a:rPr>
              <a:t>Leukotriene receptor antagonists (LT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595959"/>
                </a:solidFill>
                <a:effectLst/>
                <a:uLnTx/>
                <a:uFillTx/>
                <a:latin typeface="Arial"/>
                <a:ea typeface="ＭＳ Ｐゴシック" pitchFamily="34" charset="-128"/>
                <a:cs typeface="Arial" pitchFamily="34" charset="0"/>
                <a:sym typeface="Arial Italic" pitchFamily="34" charset="0"/>
              </a:rPr>
              <a:t>Low dose theophylline*</a:t>
            </a:r>
          </a:p>
        </p:txBody>
      </p:sp>
      <p:sp>
        <p:nvSpPr>
          <p:cNvPr id="66578" name="Rectangle 19"/>
          <p:cNvSpPr>
            <a:spLocks/>
          </p:cNvSpPr>
          <p:nvPr/>
        </p:nvSpPr>
        <p:spPr bwMode="auto">
          <a:xfrm>
            <a:off x="5921024" y="4451353"/>
            <a:ext cx="1155700" cy="561975"/>
          </a:xfrm>
          <a:prstGeom prst="rect">
            <a:avLst/>
          </a:prstGeom>
          <a:noFill/>
          <a:ln w="12700">
            <a:noFill/>
            <a:miter lim="800000"/>
            <a:headEnd/>
            <a:tailEnd/>
          </a:ln>
        </p:spPr>
        <p:txBody>
          <a:bodyPr lIns="0" tIns="0" rIns="0" bIns="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595959"/>
                </a:solidFill>
                <a:effectLst/>
                <a:uLnTx/>
                <a:uFillTx/>
                <a:latin typeface="Arial"/>
                <a:ea typeface="ＭＳ Ｐゴシック" pitchFamily="34" charset="-128"/>
                <a:cs typeface="Arial" pitchFamily="34" charset="0"/>
                <a:sym typeface="Arial Italic" pitchFamily="34" charset="0"/>
              </a:rPr>
              <a:t>Med/high dose I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595959"/>
                </a:solidFill>
                <a:effectLst/>
                <a:uLnTx/>
                <a:uFillTx/>
                <a:latin typeface="Arial"/>
                <a:ea typeface="ＭＳ Ｐゴシック" pitchFamily="34" charset="-128"/>
                <a:cs typeface="Arial" pitchFamily="34" charset="0"/>
                <a:sym typeface="Arial Italic" pitchFamily="34" charset="0"/>
              </a:rPr>
              <a:t>Low dose ICS+LT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595959"/>
                </a:solidFill>
                <a:effectLst/>
                <a:uLnTx/>
                <a:uFillTx/>
                <a:latin typeface="Arial"/>
                <a:ea typeface="ＭＳ Ｐゴシック" pitchFamily="34" charset="-128"/>
                <a:cs typeface="Arial" pitchFamily="34" charset="0"/>
                <a:sym typeface="Arial Italic" pitchFamily="34" charset="0"/>
              </a:rPr>
              <a:t>(or + theoph*)</a:t>
            </a:r>
          </a:p>
        </p:txBody>
      </p:sp>
      <p:sp>
        <p:nvSpPr>
          <p:cNvPr id="66579" name="Rectangle 22"/>
          <p:cNvSpPr>
            <a:spLocks/>
          </p:cNvSpPr>
          <p:nvPr/>
        </p:nvSpPr>
        <p:spPr bwMode="auto">
          <a:xfrm>
            <a:off x="1267178" y="4945063"/>
            <a:ext cx="4660900" cy="431800"/>
          </a:xfrm>
          <a:prstGeom prst="rect">
            <a:avLst/>
          </a:prstGeom>
          <a:noFill/>
          <a:ln w="12700">
            <a:noFill/>
            <a:miter lim="800000"/>
            <a:headEnd/>
            <a:tailEnd/>
          </a:ln>
        </p:spPr>
        <p:txBody>
          <a:bodyPr lIns="0" tIns="0" rIns="0" bIns="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300" b="0" i="0" u="none" strike="noStrike" kern="1200" cap="none" spc="0" normalizeH="0" baseline="0" noProof="0">
                <a:ln>
                  <a:noFill/>
                </a:ln>
                <a:solidFill>
                  <a:srgbClr val="595959"/>
                </a:solidFill>
                <a:effectLst/>
                <a:uLnTx/>
                <a:uFillTx/>
                <a:latin typeface="Arial"/>
                <a:ea typeface="ＭＳ Ｐゴシック" pitchFamily="34" charset="-128"/>
                <a:cs typeface="+mn-cs"/>
              </a:rPr>
              <a:t>As-needed  low dose ICS-Formoterol</a:t>
            </a:r>
          </a:p>
        </p:txBody>
      </p:sp>
      <p:sp>
        <p:nvSpPr>
          <p:cNvPr id="66580" name="Rectangle 23"/>
          <p:cNvSpPr>
            <a:spLocks/>
          </p:cNvSpPr>
          <p:nvPr/>
        </p:nvSpPr>
        <p:spPr bwMode="auto">
          <a:xfrm>
            <a:off x="5916790" y="4941888"/>
            <a:ext cx="2857500" cy="508000"/>
          </a:xfrm>
          <a:prstGeom prst="rect">
            <a:avLst/>
          </a:prstGeom>
          <a:noFill/>
          <a:ln w="12700">
            <a:noFill/>
            <a:miter lim="800000"/>
            <a:headEnd/>
            <a:tailEnd/>
          </a:ln>
        </p:spPr>
        <p:txBody>
          <a:bodyPr lIns="0" tIns="0" rIns="0" bIns="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00" b="0" i="0" u="none" strike="noStrike" kern="1200" cap="none" spc="0" normalizeH="0" baseline="0" noProof="0">
                <a:ln>
                  <a:noFill/>
                </a:ln>
                <a:solidFill>
                  <a:srgbClr val="595959"/>
                </a:solidFill>
                <a:effectLst/>
                <a:uLnTx/>
                <a:uFillTx/>
                <a:latin typeface="Arial"/>
                <a:ea typeface="ＭＳ Ｐゴシック" pitchFamily="34" charset="-128"/>
                <a:cs typeface="+mn-cs"/>
              </a:rPr>
              <a:t>As-needed SABA or </a:t>
            </a:r>
            <a:br>
              <a:rPr kumimoji="0" lang="en-US" sz="1300" b="0" i="0" u="none" strike="noStrike" kern="1200" cap="none" spc="0" normalizeH="0" baseline="0" noProof="0">
                <a:ln>
                  <a:noFill/>
                </a:ln>
                <a:solidFill>
                  <a:srgbClr val="595959"/>
                </a:solidFill>
                <a:effectLst/>
                <a:uLnTx/>
                <a:uFillTx/>
                <a:latin typeface="Arial"/>
                <a:ea typeface="ＭＳ Ｐゴシック" pitchFamily="34" charset="-128"/>
                <a:cs typeface="+mn-cs"/>
              </a:rPr>
            </a:br>
            <a:r>
              <a:rPr kumimoji="0" lang="en-US" sz="1300" b="0" i="0" u="none" strike="noStrike" kern="1200" cap="none" spc="0" normalizeH="0" baseline="0" noProof="0">
                <a:ln>
                  <a:noFill/>
                </a:ln>
                <a:solidFill>
                  <a:srgbClr val="595959"/>
                </a:solidFill>
                <a:effectLst/>
                <a:uLnTx/>
                <a:uFillTx/>
                <a:latin typeface="Arial"/>
                <a:ea typeface="ＭＳ Ｐゴシック" pitchFamily="34" charset="-128"/>
                <a:cs typeface="+mn-cs"/>
              </a:rPr>
              <a:t>low dose ICS/formoterol</a:t>
            </a:r>
            <a:r>
              <a:rPr kumimoji="0" lang="en-US" sz="1300" b="0" i="0" u="none" strike="noStrike" kern="1200" cap="none" spc="0" normalizeH="0" baseline="30000" noProof="0">
                <a:ln>
                  <a:noFill/>
                </a:ln>
                <a:solidFill>
                  <a:srgbClr val="595959"/>
                </a:solidFill>
                <a:effectLst/>
                <a:uLnTx/>
                <a:uFillTx/>
                <a:latin typeface="Arial"/>
                <a:ea typeface="ＭＳ Ｐゴシック" pitchFamily="34" charset="-128"/>
                <a:cs typeface="+mn-cs"/>
              </a:rPr>
              <a:t>#</a:t>
            </a:r>
          </a:p>
        </p:txBody>
      </p:sp>
      <p:sp>
        <p:nvSpPr>
          <p:cNvPr id="66581" name="Rectangle 24"/>
          <p:cNvSpPr>
            <a:spLocks/>
          </p:cNvSpPr>
          <p:nvPr/>
        </p:nvSpPr>
        <p:spPr bwMode="auto">
          <a:xfrm>
            <a:off x="5919613" y="3732213"/>
            <a:ext cx="1157111" cy="588962"/>
          </a:xfrm>
          <a:prstGeom prst="rect">
            <a:avLst/>
          </a:prstGeom>
          <a:noFill/>
          <a:ln w="12700">
            <a:noFill/>
            <a:miter lim="800000"/>
            <a:headEnd/>
            <a:tailEnd/>
          </a:ln>
        </p:spPr>
        <p:txBody>
          <a:bodyPr lIns="0" tIns="0" rIns="0" bIns="0"/>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a:ea typeface="ＭＳ Ｐゴシック" pitchFamily="34" charset="-128"/>
                <a:cs typeface="+mn-cs"/>
              </a:rPr>
              <a:t>Low dose </a:t>
            </a:r>
            <a:br>
              <a:rPr kumimoji="0" lang="en-US" altLang="en-US" sz="1300" b="0" i="0" u="none" strike="noStrike" kern="1200" cap="none" spc="0" normalizeH="0" baseline="0" noProof="0">
                <a:ln>
                  <a:noFill/>
                </a:ln>
                <a:solidFill>
                  <a:srgbClr val="000000"/>
                </a:solidFill>
                <a:effectLst/>
                <a:uLnTx/>
                <a:uFillTx/>
                <a:latin typeface="Arial"/>
                <a:ea typeface="ＭＳ Ｐゴシック" pitchFamily="34" charset="-128"/>
                <a:cs typeface="+mn-cs"/>
              </a:rPr>
            </a:br>
            <a:r>
              <a:rPr kumimoji="0" lang="en-US" altLang="en-US" sz="1300" b="0" i="0" u="none" strike="noStrike" kern="1200" cap="none" spc="0" normalizeH="0" baseline="0" noProof="0">
                <a:ln>
                  <a:noFill/>
                </a:ln>
                <a:solidFill>
                  <a:srgbClr val="000000"/>
                </a:solidFill>
                <a:effectLst/>
                <a:uLnTx/>
                <a:uFillTx/>
                <a:latin typeface="Arial"/>
                <a:ea typeface="ＭＳ Ｐゴシック" pitchFamily="34" charset="-128"/>
                <a:cs typeface="+mn-cs"/>
              </a:rPr>
              <a:t>ICS/LABA**</a:t>
            </a:r>
          </a:p>
        </p:txBody>
      </p:sp>
      <p:sp>
        <p:nvSpPr>
          <p:cNvPr id="66582" name="Rectangle 25"/>
          <p:cNvSpPr>
            <a:spLocks/>
          </p:cNvSpPr>
          <p:nvPr/>
        </p:nvSpPr>
        <p:spPr bwMode="auto">
          <a:xfrm>
            <a:off x="7076723" y="3419475"/>
            <a:ext cx="935566" cy="414338"/>
          </a:xfrm>
          <a:prstGeom prst="rect">
            <a:avLst/>
          </a:prstGeom>
          <a:noFill/>
          <a:ln w="12700">
            <a:noFill/>
            <a:miter lim="800000"/>
            <a:headEnd/>
            <a:tailEnd/>
          </a:ln>
        </p:spPr>
        <p:txBody>
          <a:bodyPr lIns="0" tIns="0" rIns="0" bIns="0"/>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a:ea typeface="ＭＳ Ｐゴシック" pitchFamily="34" charset="-128"/>
                <a:cs typeface="+mn-cs"/>
              </a:rPr>
              <a:t>Medium dose </a:t>
            </a:r>
            <a:br>
              <a:rPr kumimoji="0" lang="en-US" altLang="en-US" sz="1300" b="0" i="0" u="none" strike="noStrike" kern="1200" cap="none" spc="0" normalizeH="0" baseline="0" noProof="0">
                <a:ln>
                  <a:noFill/>
                </a:ln>
                <a:solidFill>
                  <a:srgbClr val="000000"/>
                </a:solidFill>
                <a:effectLst/>
                <a:uLnTx/>
                <a:uFillTx/>
                <a:latin typeface="Arial"/>
                <a:ea typeface="ＭＳ Ｐゴシック" pitchFamily="34" charset="-128"/>
                <a:cs typeface="+mn-cs"/>
              </a:rPr>
            </a:br>
            <a:r>
              <a:rPr kumimoji="0" lang="en-US" altLang="en-US" sz="1300" b="0" i="0" u="none" strike="noStrike" kern="1200" cap="none" spc="0" normalizeH="0" baseline="0" noProof="0">
                <a:ln>
                  <a:noFill/>
                </a:ln>
                <a:solidFill>
                  <a:srgbClr val="000000"/>
                </a:solidFill>
                <a:effectLst/>
                <a:uLnTx/>
                <a:uFillTx/>
                <a:latin typeface="Arial"/>
                <a:ea typeface="ＭＳ Ｐゴシック" pitchFamily="34" charset="-128"/>
                <a:cs typeface="+mn-cs"/>
              </a:rPr>
              <a:t>ICS/LABA</a:t>
            </a:r>
          </a:p>
        </p:txBody>
      </p:sp>
      <p:sp>
        <p:nvSpPr>
          <p:cNvPr id="66583" name="Rectangle 6"/>
          <p:cNvSpPr>
            <a:spLocks/>
          </p:cNvSpPr>
          <p:nvPr/>
        </p:nvSpPr>
        <p:spPr bwMode="auto">
          <a:xfrm>
            <a:off x="1291167" y="5892800"/>
            <a:ext cx="6604000" cy="406400"/>
          </a:xfrm>
          <a:prstGeom prst="rect">
            <a:avLst/>
          </a:prstGeom>
          <a:noFill/>
          <a:ln w="12700">
            <a:noFill/>
            <a:miter lim="800000"/>
            <a:headEnd/>
            <a:tailEnd/>
          </a:ln>
        </p:spPr>
        <p:txBody>
          <a:bodyPr lIns="0" tIns="0" rIns="40631" bIns="0"/>
          <a:lstStyle/>
          <a:p>
            <a:pPr marL="36513"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a:ln>
                  <a:noFill/>
                </a:ln>
                <a:solidFill>
                  <a:srgbClr val="134679"/>
                </a:solidFill>
                <a:effectLst/>
                <a:uLnTx/>
                <a:uFillTx/>
                <a:latin typeface="Arial"/>
                <a:ea typeface="ＭＳ Ｐゴシック" pitchFamily="34" charset="-128"/>
                <a:cs typeface="+mn-cs"/>
              </a:rPr>
              <a:t>*Not for children &lt;12 years</a:t>
            </a:r>
          </a:p>
          <a:p>
            <a:pPr marL="36513"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a:ln>
                  <a:noFill/>
                </a:ln>
                <a:solidFill>
                  <a:srgbClr val="134679"/>
                </a:solidFill>
                <a:effectLst/>
                <a:uLnTx/>
                <a:uFillTx/>
                <a:latin typeface="Arial"/>
                <a:ea typeface="ＭＳ Ｐゴシック" pitchFamily="34" charset="-128"/>
                <a:cs typeface="+mn-cs"/>
              </a:rPr>
              <a:t>**For children 6-11 years, the preferred Step 3 treatment is medium dose ICS</a:t>
            </a:r>
          </a:p>
          <a:p>
            <a:pPr marL="36513"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a:ln>
                  <a:noFill/>
                </a:ln>
                <a:solidFill>
                  <a:srgbClr val="134679"/>
                </a:solidFill>
                <a:effectLst/>
                <a:uLnTx/>
                <a:uFillTx/>
                <a:latin typeface="Arial"/>
                <a:ea typeface="ＭＳ Ｐゴシック" pitchFamily="34" charset="-128"/>
                <a:cs typeface="+mn-cs"/>
              </a:rPr>
              <a:t>#For patients prescribed BDP/formoterol or BUD/ formoterol maintenance and reliever therapy</a:t>
            </a:r>
          </a:p>
          <a:p>
            <a:pPr marL="36513" marR="0" lvl="0" indent="0" algn="l" defTabSz="914400" rtl="0" eaLnBrk="1" fontAlgn="auto" latinLnBrk="0" hangingPunct="1">
              <a:lnSpc>
                <a:spcPct val="100000"/>
              </a:lnSpc>
              <a:spcBef>
                <a:spcPts val="0"/>
              </a:spcBef>
              <a:spcAft>
                <a:spcPts val="0"/>
              </a:spcAft>
              <a:buClrTx/>
              <a:buSzTx/>
              <a:buFontTx/>
              <a:buNone/>
              <a:tabLst/>
              <a:defRPr/>
            </a:pPr>
            <a:r>
              <a:rPr kumimoji="0" lang="en-AU" altLang="en-US" sz="1100" b="0" i="0" u="none" strike="noStrike" kern="1200" cap="none" spc="0" normalizeH="0" baseline="0" noProof="0">
                <a:ln>
                  <a:noFill/>
                </a:ln>
                <a:solidFill>
                  <a:srgbClr val="134679"/>
                </a:solidFill>
                <a:effectLst/>
                <a:uLnTx/>
                <a:uFillTx/>
                <a:latin typeface="Arial"/>
                <a:ea typeface="ＭＳ Ｐゴシック" pitchFamily="34" charset="-128"/>
                <a:cs typeface="+mn-cs"/>
                <a:sym typeface="Wingdings 2" pitchFamily="18" charset="2"/>
              </a:rPr>
              <a:t></a:t>
            </a:r>
            <a:r>
              <a:rPr kumimoji="0" lang="en-AU" altLang="en-US" sz="1100" b="0" i="0" u="none" strike="noStrike" kern="1200" cap="none" spc="0" normalizeH="0" baseline="0" noProof="0">
                <a:ln>
                  <a:noFill/>
                </a:ln>
                <a:solidFill>
                  <a:srgbClr val="134679"/>
                </a:solidFill>
                <a:effectLst/>
                <a:uLnTx/>
                <a:uFillTx/>
                <a:latin typeface="Arial"/>
                <a:ea typeface="ＭＳ Ｐゴシック" pitchFamily="34" charset="-128"/>
                <a:cs typeface="+mn-cs"/>
              </a:rPr>
              <a:t> Tiotropium by mist inhaler is an add-on treatment for patients ≥12 years with a history of exacerbations</a:t>
            </a:r>
            <a:endParaRPr kumimoji="0" lang="en-US" altLang="en-US" sz="1100" b="0" i="0" u="none" strike="noStrike" kern="1200" cap="none" spc="0" normalizeH="0" baseline="0" noProof="0">
              <a:ln>
                <a:noFill/>
              </a:ln>
              <a:solidFill>
                <a:srgbClr val="134679"/>
              </a:solidFill>
              <a:effectLst/>
              <a:uLnTx/>
              <a:uFillTx/>
              <a:latin typeface="Arial"/>
              <a:ea typeface="ＭＳ Ｐゴシック" pitchFamily="34" charset="-128"/>
              <a:cs typeface="+mn-cs"/>
            </a:endParaRPr>
          </a:p>
          <a:p>
            <a:pPr marL="36513"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100" b="0" i="0" u="none" strike="noStrike" kern="1200" cap="none" spc="0" normalizeH="0" baseline="0" noProof="0">
              <a:ln>
                <a:noFill/>
              </a:ln>
              <a:solidFill>
                <a:srgbClr val="134679"/>
              </a:solidFill>
              <a:effectLst/>
              <a:uLnTx/>
              <a:uFillTx/>
              <a:latin typeface="Arial"/>
              <a:ea typeface="ＭＳ Ｐゴシック" pitchFamily="34" charset="-128"/>
              <a:cs typeface="+mn-cs"/>
            </a:endParaRPr>
          </a:p>
        </p:txBody>
      </p:sp>
      <p:sp>
        <p:nvSpPr>
          <p:cNvPr id="27" name="Rectangle 20"/>
          <p:cNvSpPr>
            <a:spLocks/>
          </p:cNvSpPr>
          <p:nvPr/>
        </p:nvSpPr>
        <p:spPr bwMode="auto">
          <a:xfrm>
            <a:off x="7164211" y="4402141"/>
            <a:ext cx="936978" cy="566737"/>
          </a:xfrm>
          <a:prstGeom prst="rect">
            <a:avLst/>
          </a:prstGeom>
          <a:noFill/>
          <a:ln>
            <a:noFill/>
          </a:ln>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0" cap="none" spc="0" normalizeH="0" baseline="0" noProof="0">
                <a:ln>
                  <a:noFill/>
                </a:ln>
                <a:solidFill>
                  <a:prstClr val="black">
                    <a:lumMod val="65000"/>
                    <a:lumOff val="35000"/>
                  </a:prstClr>
                </a:solidFill>
                <a:effectLst/>
                <a:uLnTx/>
                <a:uFillTx/>
                <a:latin typeface="Arial"/>
                <a:ea typeface="ＭＳ Ｐゴシック" charset="0"/>
                <a:cs typeface="Arial"/>
                <a:sym typeface="Arial Italic" charset="0"/>
              </a:rPr>
              <a:t>Add tiotropium*</a:t>
            </a:r>
            <a:r>
              <a:rPr kumimoji="0" lang="en-US" sz="900" b="0" i="0" u="none" strike="noStrike" kern="0" cap="none" spc="0" normalizeH="0" baseline="0" noProof="0">
                <a:ln>
                  <a:noFill/>
                </a:ln>
                <a:solidFill>
                  <a:prstClr val="black">
                    <a:lumMod val="65000"/>
                    <a:lumOff val="35000"/>
                  </a:prstClr>
                </a:solidFill>
                <a:effectLst/>
                <a:uLnTx/>
                <a:uFillTx/>
                <a:latin typeface="Arial"/>
                <a:ea typeface="ＭＳ Ｐゴシック" charset="0"/>
                <a:cs typeface="Arial"/>
                <a:sym typeface="Wingdings 2"/>
              </a:rPr>
              <a:t></a:t>
            </a:r>
            <a:endParaRPr kumimoji="0" lang="en-US" sz="900" b="0" i="0" u="none" strike="noStrike" kern="0" cap="none" spc="0" normalizeH="0" baseline="0" noProof="0" dirty="0">
              <a:ln>
                <a:noFill/>
              </a:ln>
              <a:solidFill>
                <a:prstClr val="black">
                  <a:lumMod val="65000"/>
                  <a:lumOff val="35000"/>
                </a:prstClr>
              </a:solidFill>
              <a:effectLst/>
              <a:uLnTx/>
              <a:uFillTx/>
              <a:latin typeface="Arial"/>
              <a:ea typeface="ＭＳ Ｐゴシック" charset="0"/>
              <a:cs typeface="Arial"/>
              <a:sym typeface="Arial Italic"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0" cap="none" spc="0" normalizeH="0" baseline="0" noProof="0" dirty="0">
                <a:ln>
                  <a:noFill/>
                </a:ln>
                <a:solidFill>
                  <a:prstClr val="black">
                    <a:lumMod val="65000"/>
                    <a:lumOff val="35000"/>
                  </a:prstClr>
                </a:solidFill>
                <a:effectLst/>
                <a:uLnTx/>
                <a:uFillTx/>
                <a:latin typeface="Arial"/>
                <a:ea typeface="ＭＳ Ｐゴシック" charset="0"/>
                <a:cs typeface="Arial"/>
                <a:sym typeface="Arial Italic" charset="0"/>
              </a:rPr>
              <a:t>High dose ICS </a:t>
            </a:r>
            <a:br>
              <a:rPr kumimoji="0" lang="en-US" sz="900" b="0" i="1" u="none" strike="noStrike" kern="0" cap="none" spc="0" normalizeH="0" baseline="0" noProof="0" dirty="0">
                <a:ln>
                  <a:noFill/>
                </a:ln>
                <a:solidFill>
                  <a:prstClr val="black">
                    <a:lumMod val="65000"/>
                    <a:lumOff val="35000"/>
                  </a:prstClr>
                </a:solidFill>
                <a:effectLst/>
                <a:uLnTx/>
                <a:uFillTx/>
                <a:latin typeface="Arial"/>
                <a:ea typeface="ＭＳ Ｐゴシック" charset="0"/>
                <a:cs typeface="Arial"/>
                <a:sym typeface="Arial Italic" charset="0"/>
              </a:rPr>
            </a:br>
            <a:r>
              <a:rPr kumimoji="0" lang="en-US" sz="900" b="0" i="1" u="none" strike="noStrike" kern="0" cap="none" spc="0" normalizeH="0" baseline="0" noProof="0" dirty="0">
                <a:ln>
                  <a:noFill/>
                </a:ln>
                <a:solidFill>
                  <a:prstClr val="black">
                    <a:lumMod val="65000"/>
                    <a:lumOff val="35000"/>
                  </a:prstClr>
                </a:solidFill>
                <a:effectLst/>
                <a:uLnTx/>
                <a:uFillTx/>
                <a:latin typeface="Arial"/>
                <a:ea typeface="ＭＳ Ｐゴシック" charset="0"/>
                <a:cs typeface="Arial"/>
                <a:sym typeface="Arial Italic" charset="0"/>
              </a:rPr>
              <a:t>+ LTRA </a:t>
            </a:r>
            <a:br>
              <a:rPr kumimoji="0" lang="en-US" sz="900" b="0" i="1" u="none" strike="noStrike" kern="0" cap="none" spc="0" normalizeH="0" baseline="0" noProof="0" dirty="0">
                <a:ln>
                  <a:noFill/>
                </a:ln>
                <a:solidFill>
                  <a:prstClr val="black">
                    <a:lumMod val="65000"/>
                    <a:lumOff val="35000"/>
                  </a:prstClr>
                </a:solidFill>
                <a:effectLst/>
                <a:uLnTx/>
                <a:uFillTx/>
                <a:latin typeface="Arial"/>
                <a:ea typeface="ＭＳ Ｐゴシック" charset="0"/>
                <a:cs typeface="Arial"/>
                <a:sym typeface="Arial Italic" charset="0"/>
              </a:rPr>
            </a:br>
            <a:r>
              <a:rPr kumimoji="0" lang="en-US" sz="900" b="0" i="1" u="none" strike="noStrike" kern="0" cap="none" spc="0" normalizeH="0" baseline="0" noProof="0" dirty="0">
                <a:ln>
                  <a:noFill/>
                </a:ln>
                <a:solidFill>
                  <a:prstClr val="black">
                    <a:lumMod val="65000"/>
                    <a:lumOff val="35000"/>
                  </a:prstClr>
                </a:solidFill>
                <a:effectLst/>
                <a:uLnTx/>
                <a:uFillTx/>
                <a:latin typeface="Arial"/>
                <a:ea typeface="ＭＳ Ｐゴシック" charset="0"/>
                <a:cs typeface="Arial"/>
                <a:sym typeface="Arial Italic" charset="0"/>
              </a:rPr>
              <a:t>(or + </a:t>
            </a:r>
            <a:r>
              <a:rPr kumimoji="0" lang="en-US" sz="900" b="0" i="1" u="none" strike="noStrike" kern="0" cap="none" spc="0" normalizeH="0" baseline="0" noProof="0" dirty="0" err="1">
                <a:ln>
                  <a:noFill/>
                </a:ln>
                <a:solidFill>
                  <a:prstClr val="black">
                    <a:lumMod val="65000"/>
                    <a:lumOff val="35000"/>
                  </a:prstClr>
                </a:solidFill>
                <a:effectLst/>
                <a:uLnTx/>
                <a:uFillTx/>
                <a:latin typeface="Arial"/>
                <a:ea typeface="ＭＳ Ｐゴシック" charset="0"/>
                <a:cs typeface="Arial"/>
                <a:sym typeface="Arial Italic" charset="0"/>
              </a:rPr>
              <a:t>theoph</a:t>
            </a:r>
            <a:r>
              <a:rPr kumimoji="0" lang="en-US" sz="900" b="0" i="1" u="none" strike="noStrike" kern="0" cap="none" spc="0" normalizeH="0" baseline="0" noProof="0" dirty="0">
                <a:ln>
                  <a:noFill/>
                </a:ln>
                <a:solidFill>
                  <a:prstClr val="black">
                    <a:lumMod val="65000"/>
                    <a:lumOff val="35000"/>
                  </a:prstClr>
                </a:solidFill>
                <a:effectLst/>
                <a:uLnTx/>
                <a:uFillTx/>
                <a:latin typeface="Arial"/>
                <a:ea typeface="ＭＳ Ｐゴシック" charset="0"/>
                <a:cs typeface="Arial"/>
                <a:sym typeface="Arial Italic" charset="0"/>
              </a:rPr>
              <a:t>*)</a:t>
            </a:r>
          </a:p>
        </p:txBody>
      </p:sp>
      <p:sp>
        <p:nvSpPr>
          <p:cNvPr id="28" name="Rectangle 21"/>
          <p:cNvSpPr>
            <a:spLocks/>
          </p:cNvSpPr>
          <p:nvPr/>
        </p:nvSpPr>
        <p:spPr bwMode="auto">
          <a:xfrm>
            <a:off x="8171745" y="4414838"/>
            <a:ext cx="688622" cy="436562"/>
          </a:xfrm>
          <a:prstGeom prst="rect">
            <a:avLst/>
          </a:prstGeom>
          <a:noFill/>
          <a:ln>
            <a:noFill/>
          </a:ln>
          <a:extLst/>
        </p:spPr>
        <p:txBody>
          <a:bodyPr lIns="0" tIns="0" rIns="0" bIns="0"/>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1" u="none" strike="noStrike" kern="0" cap="none" spc="0" normalizeH="0" baseline="0" noProof="0">
                <a:ln>
                  <a:noFill/>
                </a:ln>
                <a:solidFill>
                  <a:prstClr val="black">
                    <a:lumMod val="65000"/>
                    <a:lumOff val="35000"/>
                  </a:prstClr>
                </a:solidFill>
                <a:effectLst/>
                <a:uLnTx/>
                <a:uFillTx/>
                <a:latin typeface="Arial"/>
                <a:ea typeface="ＭＳ Ｐゴシック" charset="0"/>
                <a:cs typeface="Arial"/>
                <a:sym typeface="Arial Italic" charset="0"/>
              </a:rPr>
              <a:t>Add </a:t>
            </a:r>
            <a:r>
              <a:rPr kumimoji="0" lang="en-US" sz="900" b="0" i="1" u="none" strike="noStrike" kern="0" cap="none" spc="0" normalizeH="0" baseline="0" noProof="0" dirty="0">
                <a:ln>
                  <a:noFill/>
                </a:ln>
                <a:solidFill>
                  <a:prstClr val="black">
                    <a:lumMod val="65000"/>
                    <a:lumOff val="35000"/>
                  </a:prstClr>
                </a:solidFill>
                <a:effectLst/>
                <a:uLnTx/>
                <a:uFillTx/>
                <a:latin typeface="Arial"/>
                <a:ea typeface="ＭＳ Ｐゴシック" charset="0"/>
                <a:cs typeface="Arial"/>
                <a:sym typeface="Arial Italic" charset="0"/>
              </a:rPr>
              <a:t>low </a:t>
            </a:r>
            <a:br>
              <a:rPr kumimoji="0" lang="en-US" sz="900" b="0" i="1" u="none" strike="noStrike" kern="0" cap="none" spc="0" normalizeH="0" baseline="0" noProof="0" dirty="0">
                <a:ln>
                  <a:noFill/>
                </a:ln>
                <a:solidFill>
                  <a:prstClr val="black">
                    <a:lumMod val="65000"/>
                    <a:lumOff val="35000"/>
                  </a:prstClr>
                </a:solidFill>
                <a:effectLst/>
                <a:uLnTx/>
                <a:uFillTx/>
                <a:latin typeface="Arial"/>
                <a:ea typeface="ＭＳ Ｐゴシック" charset="0"/>
                <a:cs typeface="Arial"/>
                <a:sym typeface="Arial Italic" charset="0"/>
              </a:rPr>
            </a:br>
            <a:r>
              <a:rPr kumimoji="0" lang="en-US" sz="900" b="0" i="1" u="none" strike="noStrike" kern="0" cap="none" spc="0" normalizeH="0" baseline="0" noProof="0" dirty="0">
                <a:ln>
                  <a:noFill/>
                </a:ln>
                <a:solidFill>
                  <a:prstClr val="black">
                    <a:lumMod val="65000"/>
                    <a:lumOff val="35000"/>
                  </a:prstClr>
                </a:solidFill>
                <a:effectLst/>
                <a:uLnTx/>
                <a:uFillTx/>
                <a:latin typeface="Arial"/>
                <a:ea typeface="ＭＳ Ｐゴシック" charset="0"/>
                <a:cs typeface="Arial"/>
                <a:sym typeface="Arial Italic" charset="0"/>
              </a:rPr>
              <a:t>dose OCS</a:t>
            </a:r>
          </a:p>
        </p:txBody>
      </p:sp>
      <p:sp>
        <p:nvSpPr>
          <p:cNvPr id="29" name="Rectangle 34"/>
          <p:cNvSpPr>
            <a:spLocks/>
          </p:cNvSpPr>
          <p:nvPr/>
        </p:nvSpPr>
        <p:spPr bwMode="auto">
          <a:xfrm>
            <a:off x="8012289" y="2940050"/>
            <a:ext cx="848078" cy="717550"/>
          </a:xfrm>
          <a:prstGeom prst="rect">
            <a:avLst/>
          </a:prstGeom>
          <a:noFill/>
          <a:ln>
            <a:noFill/>
          </a:ln>
          <a:extLst/>
        </p:spPr>
        <p:txBody>
          <a:bodyPr lIns="0" tIns="0" rIns="0" bIns="0"/>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0" i="0" u="none" strike="noStrike" kern="700" cap="none" spc="0" normalizeH="0" baseline="0" noProof="0">
                <a:ln>
                  <a:noFill/>
                </a:ln>
                <a:solidFill>
                  <a:prstClr val="black"/>
                </a:solidFill>
                <a:effectLst/>
                <a:uLnTx/>
                <a:uFillTx/>
                <a:latin typeface="Arial"/>
                <a:ea typeface="+mn-ea"/>
                <a:cs typeface="Arial"/>
              </a:rPr>
              <a:t>Refer for </a:t>
            </a:r>
            <a:br>
              <a:rPr kumimoji="0" lang="en-US" sz="1050" b="0" i="0" u="none" strike="noStrike" kern="700" cap="none" spc="0" normalizeH="0" baseline="0" noProof="0">
                <a:ln>
                  <a:noFill/>
                </a:ln>
                <a:solidFill>
                  <a:prstClr val="black"/>
                </a:solidFill>
                <a:effectLst/>
                <a:uLnTx/>
                <a:uFillTx/>
                <a:latin typeface="Arial"/>
                <a:ea typeface="+mn-ea"/>
                <a:cs typeface="Arial"/>
              </a:rPr>
            </a:br>
            <a:r>
              <a:rPr kumimoji="0" lang="en-US" sz="1050" b="0" i="0" u="none" strike="noStrike" kern="700" cap="none" spc="0" normalizeH="0" baseline="0" noProof="0">
                <a:ln>
                  <a:noFill/>
                </a:ln>
                <a:solidFill>
                  <a:prstClr val="black"/>
                </a:solidFill>
                <a:effectLst/>
                <a:uLnTx/>
                <a:uFillTx/>
                <a:latin typeface="Arial"/>
                <a:ea typeface="+mn-ea"/>
                <a:cs typeface="Arial"/>
              </a:rPr>
              <a:t>add-on treatment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700" cap="none" spc="0" normalizeH="0" baseline="0" noProof="0">
                <a:ln>
                  <a:noFill/>
                </a:ln>
                <a:solidFill>
                  <a:prstClr val="black"/>
                </a:solidFill>
                <a:effectLst/>
                <a:uLnTx/>
                <a:uFillTx/>
                <a:latin typeface="Arial"/>
                <a:ea typeface="+mn-ea"/>
                <a:cs typeface="Arial"/>
              </a:rPr>
              <a:t>e.g.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700" cap="none" spc="0" normalizeH="0" baseline="0" noProof="0">
                <a:ln>
                  <a:noFill/>
                </a:ln>
                <a:solidFill>
                  <a:prstClr val="black"/>
                </a:solidFill>
                <a:effectLst/>
                <a:uLnTx/>
                <a:uFillTx/>
                <a:latin typeface="Arial"/>
                <a:ea typeface="+mn-ea"/>
                <a:cs typeface="Arial"/>
              </a:rPr>
              <a:t>tiotropium,*</a:t>
            </a:r>
            <a:r>
              <a:rPr kumimoji="0" lang="en-US" sz="900" b="0" i="0" u="none" strike="noStrike" kern="700" cap="none" spc="0" normalizeH="0" baseline="30000" noProof="0">
                <a:ln>
                  <a:noFill/>
                </a:ln>
                <a:solidFill>
                  <a:prstClr val="black"/>
                </a:solidFill>
                <a:effectLst/>
                <a:uLnTx/>
                <a:uFillTx/>
                <a:latin typeface="Arial"/>
                <a:ea typeface="+mn-ea"/>
                <a:cs typeface="Arial"/>
                <a:sym typeface="Wingdings 2"/>
              </a:rPr>
              <a:t></a:t>
            </a:r>
            <a:r>
              <a:rPr kumimoji="0" lang="en-US" sz="900" b="0" i="0" u="none" strike="noStrike" kern="700" cap="none" spc="0" normalizeH="0" baseline="0" noProof="0">
                <a:ln>
                  <a:noFill/>
                </a:ln>
                <a:solidFill>
                  <a:prstClr val="black"/>
                </a:solidFill>
                <a:effectLst/>
                <a:uLnTx/>
                <a:uFillTx/>
                <a:latin typeface="Arial"/>
                <a:ea typeface="+mn-ea"/>
                <a:cs typeface="Arial"/>
              </a:rPr>
              <a:t> omalizumab, mepolizumab*</a:t>
            </a:r>
          </a:p>
        </p:txBody>
      </p:sp>
    </p:spTree>
    <p:extLst>
      <p:ext uri="{BB962C8B-B14F-4D97-AF65-F5344CB8AC3E}">
        <p14:creationId xmlns:p14="http://schemas.microsoft.com/office/powerpoint/2010/main" val="743224507"/>
      </p:ext>
    </p:extLst>
  </p:cSld>
  <p:clrMapOvr>
    <a:masterClrMapping/>
  </p:clrMapOvr>
  <p:transition spd="slow"/>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sz="6000" dirty="0" smtClean="0">
                <a:solidFill>
                  <a:srgbClr val="FF0000"/>
                </a:solidFill>
              </a:rPr>
              <a:t>case scenario 3 </a:t>
            </a:r>
            <a:endParaRPr lang="en-US" sz="6000" dirty="0">
              <a:solidFill>
                <a:srgbClr val="FF0000"/>
              </a:solidFill>
            </a:endParaRPr>
          </a:p>
        </p:txBody>
      </p:sp>
    </p:spTree>
    <p:extLst>
      <p:ext uri="{BB962C8B-B14F-4D97-AF65-F5344CB8AC3E}">
        <p14:creationId xmlns:p14="http://schemas.microsoft.com/office/powerpoint/2010/main" val="55427951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0" y="838200"/>
            <a:ext cx="8229600" cy="4525963"/>
          </a:xfrm>
        </p:spPr>
        <p:txBody>
          <a:bodyPr>
            <a:normAutofit/>
          </a:bodyPr>
          <a:lstStyle/>
          <a:p>
            <a:r>
              <a:rPr lang="en-US" sz="2800" b="1" i="0" dirty="0" smtClean="0">
                <a:solidFill>
                  <a:schemeClr val="accent4"/>
                </a:solidFill>
                <a:effectLst/>
                <a:latin typeface="Candara" panose="020E0502030303020204" pitchFamily="34" charset="0"/>
              </a:rPr>
              <a:t>A 36-year-old female presented with 4 months of cough, fatigue, diffuse chest pain with </a:t>
            </a:r>
            <a:r>
              <a:rPr lang="en-US" sz="2800" b="1" i="0" dirty="0" smtClean="0">
                <a:solidFill>
                  <a:srgbClr val="00B0F0"/>
                </a:solidFill>
                <a:effectLst/>
                <a:latin typeface="Candara" panose="020E0502030303020204" pitchFamily="34" charset="0"/>
              </a:rPr>
              <a:t>dyspnea on exertion</a:t>
            </a:r>
            <a:r>
              <a:rPr lang="en-US" sz="2800" b="1" i="0" dirty="0" smtClean="0">
                <a:solidFill>
                  <a:schemeClr val="accent4"/>
                </a:solidFill>
                <a:effectLst/>
                <a:latin typeface="Candara" panose="020E0502030303020204" pitchFamily="34" charset="0"/>
              </a:rPr>
              <a:t>. </a:t>
            </a:r>
          </a:p>
          <a:p>
            <a:endParaRPr lang="en-US" sz="2800" b="1" dirty="0" smtClean="0">
              <a:solidFill>
                <a:schemeClr val="accent4"/>
              </a:solidFill>
              <a:latin typeface="Candara" panose="020E0502030303020204" pitchFamily="34" charset="0"/>
            </a:endParaRPr>
          </a:p>
          <a:p>
            <a:r>
              <a:rPr lang="en-US" sz="2800" b="1" i="0" dirty="0" smtClean="0">
                <a:solidFill>
                  <a:schemeClr val="accent4"/>
                </a:solidFill>
                <a:effectLst/>
                <a:latin typeface="Candara" panose="020E0502030303020204" pitchFamily="34" charset="0"/>
              </a:rPr>
              <a:t>Physical examination:</a:t>
            </a:r>
          </a:p>
          <a:p>
            <a:pPr lvl="1"/>
            <a:r>
              <a:rPr lang="en-US" sz="2400" b="1" dirty="0" smtClean="0">
                <a:solidFill>
                  <a:schemeClr val="accent4"/>
                </a:solidFill>
                <a:latin typeface="Candara" panose="020E0502030303020204" pitchFamily="34" charset="0"/>
              </a:rPr>
              <a:t>Mild weight </a:t>
            </a:r>
            <a:r>
              <a:rPr lang="en-US" sz="2400" b="1" dirty="0">
                <a:solidFill>
                  <a:schemeClr val="accent4"/>
                </a:solidFill>
                <a:latin typeface="Candara" panose="020E0502030303020204" pitchFamily="34" charset="0"/>
              </a:rPr>
              <a:t>loss</a:t>
            </a:r>
          </a:p>
          <a:p>
            <a:pPr lvl="1"/>
            <a:r>
              <a:rPr lang="en-US" sz="2400" b="1" dirty="0">
                <a:solidFill>
                  <a:schemeClr val="accent4"/>
                </a:solidFill>
                <a:latin typeface="Candara" panose="020E0502030303020204" pitchFamily="34" charset="0"/>
              </a:rPr>
              <a:t>Pain and swelling in joints, such as the </a:t>
            </a:r>
            <a:r>
              <a:rPr lang="en-US" sz="2400" b="1" dirty="0" smtClean="0">
                <a:solidFill>
                  <a:schemeClr val="accent4"/>
                </a:solidFill>
                <a:latin typeface="Candara" panose="020E0502030303020204" pitchFamily="34" charset="0"/>
              </a:rPr>
              <a:t>ankles</a:t>
            </a:r>
          </a:p>
          <a:p>
            <a:pPr lvl="1"/>
            <a:r>
              <a:rPr lang="en-US" sz="2400" b="1" dirty="0" smtClean="0">
                <a:solidFill>
                  <a:schemeClr val="accent4"/>
                </a:solidFill>
                <a:latin typeface="Candara" panose="020E0502030303020204" pitchFamily="34" charset="0"/>
              </a:rPr>
              <a:t>Diffuse bibasilar fine crackles</a:t>
            </a:r>
          </a:p>
          <a:p>
            <a:pPr lvl="1"/>
            <a:endParaRPr lang="en-US" sz="2800" b="1" dirty="0" smtClean="0">
              <a:solidFill>
                <a:schemeClr val="accent4"/>
              </a:solidFill>
              <a:latin typeface="Candara" panose="020E0502030303020204" pitchFamily="34" charset="0"/>
            </a:endParaRPr>
          </a:p>
          <a:p>
            <a:r>
              <a:rPr lang="en-US" sz="2800" b="1" i="0" dirty="0" smtClean="0">
                <a:solidFill>
                  <a:schemeClr val="accent4"/>
                </a:solidFill>
                <a:effectLst/>
                <a:latin typeface="Candara" panose="020E0502030303020204" pitchFamily="34" charset="0"/>
              </a:rPr>
              <a:t>Chest radiograph done. </a:t>
            </a:r>
            <a:endParaRPr lang="en-US" sz="2800" b="1" dirty="0">
              <a:solidFill>
                <a:schemeClr val="accent4"/>
              </a:solidFill>
              <a:latin typeface="Candara" panose="020E0502030303020204" pitchFamily="34" charset="0"/>
            </a:endParaRPr>
          </a:p>
        </p:txBody>
      </p:sp>
    </p:spTree>
    <p:extLst>
      <p:ext uri="{BB962C8B-B14F-4D97-AF65-F5344CB8AC3E}">
        <p14:creationId xmlns:p14="http://schemas.microsoft.com/office/powerpoint/2010/main" val="282351057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27708"/>
            <a:ext cx="9144000" cy="6906492"/>
          </a:xfrm>
        </p:spPr>
      </p:pic>
    </p:spTree>
    <p:extLst>
      <p:ext uri="{BB962C8B-B14F-4D97-AF65-F5344CB8AC3E}">
        <p14:creationId xmlns:p14="http://schemas.microsoft.com/office/powerpoint/2010/main" val="37018726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Grp="1" noChangeAspect="1" noChangeArrowheads="1"/>
          </p:cNvPicPr>
          <p:nvPr>
            <p:ph idx="1"/>
          </p:nvPr>
        </p:nvPicPr>
        <p:blipFill>
          <a:blip r:embed="rId2"/>
          <a:stretch>
            <a:fillRect/>
          </a:stretch>
        </p:blipFill>
        <p:spPr bwMode="auto">
          <a:xfrm>
            <a:off x="0" y="0"/>
            <a:ext cx="9144000" cy="6858000"/>
          </a:xfrm>
          <a:prstGeom prst="rect">
            <a:avLst/>
          </a:prstGeom>
          <a:ln w="889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285077527"/>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8" name="Picture 7">
            <a:extLst>
              <a:ext uri="{FF2B5EF4-FFF2-40B4-BE49-F238E27FC236}">
                <a16:creationId xmlns:a16="http://schemas.microsoft.com/office/drawing/2014/main" id="{9AC0748A-51D1-7187-31BF-38D9FA10B25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927789" y="231205"/>
            <a:ext cx="7288420" cy="6395589"/>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spTree>
    <p:extLst>
      <p:ext uri="{BB962C8B-B14F-4D97-AF65-F5344CB8AC3E}">
        <p14:creationId xmlns:p14="http://schemas.microsoft.com/office/powerpoint/2010/main" val="208911548"/>
      </p:ext>
    </p:extLst>
  </p:cSld>
  <p:clrMapOvr>
    <a:masterClrMapping/>
  </p:clrMapOvr>
  <p:transition>
    <p:dissolve/>
    <p:sndAc>
      <p:stSnd>
        <p:snd r:embed="rId2" name="chimes.wav"/>
      </p:stSnd>
    </p:sndAc>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descr="Figure 7A"/>
          <p:cNvPicPr>
            <a:picLocks noChangeAspect="1" noChangeArrowheads="1"/>
          </p:cNvPicPr>
          <p:nvPr/>
        </p:nvPicPr>
        <p:blipFill>
          <a:blip r:embed="rId2"/>
          <a:srcRect/>
          <a:stretch>
            <a:fillRect/>
          </a:stretch>
        </p:blipFill>
        <p:spPr bwMode="auto">
          <a:xfrm>
            <a:off x="1219200" y="228600"/>
            <a:ext cx="6934200" cy="5486400"/>
          </a:xfrm>
          <a:prstGeom prst="rect">
            <a:avLst/>
          </a:prstGeom>
          <a:noFill/>
          <a:ln w="9525">
            <a:noFill/>
            <a:miter lim="800000"/>
            <a:headEnd/>
            <a:tailEnd/>
          </a:ln>
        </p:spPr>
      </p:pic>
      <p:sp>
        <p:nvSpPr>
          <p:cNvPr id="21507" name="Rectangle 3"/>
          <p:cNvSpPr>
            <a:spLocks noChangeArrowheads="1"/>
          </p:cNvSpPr>
          <p:nvPr/>
        </p:nvSpPr>
        <p:spPr bwMode="auto">
          <a:xfrm>
            <a:off x="1295400" y="5791200"/>
            <a:ext cx="6705600" cy="915988"/>
          </a:xfrm>
          <a:prstGeom prst="rect">
            <a:avLst/>
          </a:prstGeom>
          <a:noFill/>
          <a:ln w="9525">
            <a:noFill/>
            <a:miter lim="800000"/>
            <a:headEnd/>
            <a:tailEnd/>
          </a:ln>
          <a:effec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Times New Roman" pitchFamily="18" charset="0"/>
                <a:ea typeface="+mn-ea"/>
                <a:cs typeface="Times New Roman" pitchFamily="18" charset="0"/>
              </a:rPr>
              <a:t>Chest radiograph shows airspace consolidation confined mainly to the peripheral lung (photographic negative shadow of pulmonary edema).</a:t>
            </a:r>
          </a:p>
        </p:txBody>
      </p:sp>
    </p:spTree>
    <p:extLst>
      <p:ext uri="{BB962C8B-B14F-4D97-AF65-F5344CB8AC3E}">
        <p14:creationId xmlns:p14="http://schemas.microsoft.com/office/powerpoint/2010/main" val="3329926120"/>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447800"/>
            <a:ext cx="9144000" cy="5410200"/>
          </a:xfrm>
        </p:spPr>
      </p:pic>
      <p:sp>
        <p:nvSpPr>
          <p:cNvPr id="3" name="Title 2"/>
          <p:cNvSpPr>
            <a:spLocks noGrp="1"/>
          </p:cNvSpPr>
          <p:nvPr>
            <p:ph type="title"/>
          </p:nvPr>
        </p:nvSpPr>
        <p:spPr/>
        <p:txBody>
          <a:bodyPr/>
          <a:lstStyle/>
          <a:p>
            <a:r>
              <a:rPr lang="en-US" dirty="0" smtClean="0"/>
              <a:t>What about your diagnosis</a:t>
            </a:r>
            <a:endParaRPr lang="en-US" dirty="0"/>
          </a:p>
        </p:txBody>
      </p:sp>
    </p:spTree>
    <p:extLst>
      <p:ext uri="{BB962C8B-B14F-4D97-AF65-F5344CB8AC3E}">
        <p14:creationId xmlns:p14="http://schemas.microsoft.com/office/powerpoint/2010/main" val="126131879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481328"/>
            <a:ext cx="8610600" cy="4525963"/>
          </a:xfrm>
        </p:spPr>
        <p:txBody>
          <a:bodyPr>
            <a:normAutofit/>
          </a:bodyPr>
          <a:lstStyle/>
          <a:p>
            <a:pPr marL="109728" indent="0" algn="justLow">
              <a:buNone/>
            </a:pPr>
            <a:endParaRPr lang="en-US" sz="2800" b="1" dirty="0" smtClean="0">
              <a:solidFill>
                <a:schemeClr val="accent4"/>
              </a:solidFill>
              <a:latin typeface="Cambria"/>
            </a:endParaRPr>
          </a:p>
          <a:p>
            <a:pPr marL="109728" indent="0" algn="justLow">
              <a:buNone/>
            </a:pPr>
            <a:endParaRPr lang="en-US" sz="2800" b="1" dirty="0">
              <a:solidFill>
                <a:schemeClr val="accent4"/>
              </a:solidFill>
              <a:latin typeface="Cambria"/>
            </a:endParaRPr>
          </a:p>
          <a:p>
            <a:pPr marL="109728" indent="0" algn="justLow">
              <a:buNone/>
            </a:pPr>
            <a:r>
              <a:rPr lang="en-US" sz="4800" b="1" dirty="0" smtClean="0">
                <a:solidFill>
                  <a:srgbClr val="FF0000"/>
                </a:solidFill>
                <a:latin typeface="Cambria"/>
              </a:rPr>
              <a:t>What is t</a:t>
            </a:r>
            <a:r>
              <a:rPr lang="en-US" sz="4800" b="1" i="0" dirty="0" smtClean="0">
                <a:solidFill>
                  <a:srgbClr val="FF0000"/>
                </a:solidFill>
                <a:effectLst/>
                <a:latin typeface="Cambria"/>
              </a:rPr>
              <a:t>he</a:t>
            </a:r>
          </a:p>
          <a:p>
            <a:pPr marL="109728" indent="0" algn="justLow">
              <a:buNone/>
            </a:pPr>
            <a:r>
              <a:rPr lang="en-US" sz="4800" b="1" i="0" dirty="0" smtClean="0">
                <a:solidFill>
                  <a:srgbClr val="FF0000"/>
                </a:solidFill>
                <a:effectLst/>
                <a:latin typeface="Cambria"/>
              </a:rPr>
              <a:t> differential diagnosis ?</a:t>
            </a:r>
          </a:p>
        </p:txBody>
      </p:sp>
    </p:spTree>
    <p:extLst>
      <p:ext uri="{BB962C8B-B14F-4D97-AF65-F5344CB8AC3E}">
        <p14:creationId xmlns:p14="http://schemas.microsoft.com/office/powerpoint/2010/main" val="114817463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481328"/>
            <a:ext cx="8610600" cy="4525963"/>
          </a:xfrm>
        </p:spPr>
        <p:txBody>
          <a:bodyPr>
            <a:normAutofit/>
          </a:bodyPr>
          <a:lstStyle/>
          <a:p>
            <a:pPr algn="justLow"/>
            <a:r>
              <a:rPr lang="en-US" sz="2800" b="1" i="0" dirty="0" smtClean="0">
                <a:solidFill>
                  <a:srgbClr val="212121"/>
                </a:solidFill>
                <a:effectLst/>
                <a:latin typeface="Cambria"/>
              </a:rPr>
              <a:t> </a:t>
            </a:r>
            <a:r>
              <a:rPr lang="en-US" sz="3600" b="1" dirty="0">
                <a:solidFill>
                  <a:schemeClr val="accent4"/>
                </a:solidFill>
                <a:latin typeface="Cambria"/>
              </a:rPr>
              <a:t>T</a:t>
            </a:r>
            <a:r>
              <a:rPr lang="en-US" sz="3600" b="1" i="0" dirty="0" smtClean="0">
                <a:solidFill>
                  <a:schemeClr val="accent4"/>
                </a:solidFill>
                <a:effectLst/>
                <a:latin typeface="Cambria"/>
              </a:rPr>
              <a:t>he differential included:</a:t>
            </a:r>
          </a:p>
          <a:p>
            <a:pPr lvl="3" algn="justLow">
              <a:buFont typeface="Wingdings" pitchFamily="2" charset="2"/>
              <a:buChar char="q"/>
            </a:pPr>
            <a:r>
              <a:rPr lang="en-US" sz="2400" b="1" dirty="0" smtClean="0">
                <a:solidFill>
                  <a:srgbClr val="FF0000"/>
                </a:solidFill>
                <a:latin typeface="Cambria"/>
              </a:rPr>
              <a:t>   </a:t>
            </a:r>
            <a:r>
              <a:rPr lang="en-US" sz="3200" b="1" dirty="0">
                <a:solidFill>
                  <a:srgbClr val="FF0000"/>
                </a:solidFill>
                <a:latin typeface="Cambria"/>
              </a:rPr>
              <a:t>Pulmonary sarcoidosis. </a:t>
            </a:r>
          </a:p>
          <a:p>
            <a:pPr lvl="3" algn="justLow">
              <a:buFont typeface="Wingdings" pitchFamily="2" charset="2"/>
              <a:buChar char="q"/>
            </a:pPr>
            <a:r>
              <a:rPr lang="en-US" sz="3200" b="1" dirty="0" smtClean="0">
                <a:solidFill>
                  <a:srgbClr val="FF0000"/>
                </a:solidFill>
                <a:latin typeface="Cambria"/>
              </a:rPr>
              <a:t>  L</a:t>
            </a:r>
            <a:r>
              <a:rPr lang="en-US" sz="3200" b="1" i="0" dirty="0" smtClean="0">
                <a:solidFill>
                  <a:srgbClr val="FF0000"/>
                </a:solidFill>
                <a:effectLst/>
                <a:latin typeface="Cambria"/>
              </a:rPr>
              <a:t>ymphoma, </a:t>
            </a:r>
          </a:p>
          <a:p>
            <a:pPr lvl="3" algn="justLow">
              <a:buFont typeface="Wingdings" pitchFamily="2" charset="2"/>
              <a:buChar char="q"/>
            </a:pPr>
            <a:r>
              <a:rPr lang="en-US" sz="3200" b="1" dirty="0" smtClean="0">
                <a:solidFill>
                  <a:srgbClr val="FF0000"/>
                </a:solidFill>
                <a:latin typeface="Cambria"/>
              </a:rPr>
              <a:t>  T</a:t>
            </a:r>
            <a:r>
              <a:rPr lang="en-US" sz="3200" b="1" i="0" dirty="0" smtClean="0">
                <a:solidFill>
                  <a:srgbClr val="FF0000"/>
                </a:solidFill>
                <a:effectLst/>
                <a:latin typeface="Cambria"/>
              </a:rPr>
              <a:t>uberculosis, </a:t>
            </a:r>
          </a:p>
          <a:p>
            <a:pPr lvl="3" algn="justLow">
              <a:buFont typeface="Wingdings" pitchFamily="2" charset="2"/>
              <a:buChar char="q"/>
            </a:pPr>
            <a:r>
              <a:rPr lang="en-US" sz="3200" b="1" dirty="0" smtClean="0">
                <a:solidFill>
                  <a:srgbClr val="FF0000"/>
                </a:solidFill>
                <a:latin typeface="Cambria"/>
              </a:rPr>
              <a:t>  F</a:t>
            </a:r>
            <a:r>
              <a:rPr lang="en-US" sz="3200" b="1" i="0" dirty="0" smtClean="0">
                <a:solidFill>
                  <a:srgbClr val="FF0000"/>
                </a:solidFill>
                <a:effectLst/>
                <a:latin typeface="Cambria"/>
              </a:rPr>
              <a:t>ungal infections, and </a:t>
            </a:r>
          </a:p>
          <a:p>
            <a:pPr marL="393192" lvl="1" indent="0" algn="justLow">
              <a:buNone/>
            </a:pPr>
            <a:endParaRPr lang="en-US" sz="2800" b="1" dirty="0">
              <a:solidFill>
                <a:srgbClr val="FF0000"/>
              </a:solidFill>
              <a:latin typeface="Cambria"/>
            </a:endParaRPr>
          </a:p>
          <a:p>
            <a:pPr marL="393192" lvl="1" indent="0" algn="justLow">
              <a:buNone/>
            </a:pPr>
            <a:endParaRPr lang="en-US" sz="2800" b="1" dirty="0">
              <a:solidFill>
                <a:schemeClr val="accent4"/>
              </a:solidFill>
              <a:latin typeface="Cambria"/>
            </a:endParaRPr>
          </a:p>
        </p:txBody>
      </p:sp>
    </p:spTree>
    <p:extLst>
      <p:ext uri="{BB962C8B-B14F-4D97-AF65-F5344CB8AC3E}">
        <p14:creationId xmlns:p14="http://schemas.microsoft.com/office/powerpoint/2010/main" val="51827764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447800"/>
            <a:ext cx="9144000" cy="5410200"/>
          </a:xfrm>
        </p:spPr>
      </p:pic>
      <p:sp>
        <p:nvSpPr>
          <p:cNvPr id="3" name="Title 2"/>
          <p:cNvSpPr>
            <a:spLocks noGrp="1"/>
          </p:cNvSpPr>
          <p:nvPr>
            <p:ph type="title"/>
          </p:nvPr>
        </p:nvSpPr>
        <p:spPr/>
        <p:txBody>
          <a:bodyPr/>
          <a:lstStyle/>
          <a:p>
            <a:r>
              <a:rPr lang="en-US" dirty="0" smtClean="0"/>
              <a:t>What next step for diagnosis</a:t>
            </a:r>
            <a:endParaRPr lang="en-US" dirty="0"/>
          </a:p>
        </p:txBody>
      </p:sp>
    </p:spTree>
    <p:extLst>
      <p:ext uri="{BB962C8B-B14F-4D97-AF65-F5344CB8AC3E}">
        <p14:creationId xmlns:p14="http://schemas.microsoft.com/office/powerpoint/2010/main" val="352285806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buNone/>
            </a:pPr>
            <a:r>
              <a:rPr lang="en-US" sz="2800" b="1" dirty="0" smtClean="0">
                <a:solidFill>
                  <a:srgbClr val="C00000"/>
                </a:solidFill>
                <a:latin typeface="Arial Narrow" pitchFamily="34" charset="0"/>
                <a:cs typeface="Arial" pitchFamily="34" charset="0"/>
              </a:rPr>
              <a:t>Blood tests ?</a:t>
            </a:r>
          </a:p>
          <a:p>
            <a:pPr>
              <a:buNone/>
            </a:pPr>
            <a:endParaRPr lang="en-US" sz="2800" b="1" dirty="0" smtClean="0">
              <a:solidFill>
                <a:srgbClr val="C00000"/>
              </a:solidFill>
              <a:latin typeface="Arial Narrow" pitchFamily="34" charset="0"/>
              <a:cs typeface="Arial" pitchFamily="34" charset="0"/>
            </a:endParaRPr>
          </a:p>
          <a:p>
            <a:pPr>
              <a:buNone/>
            </a:pPr>
            <a:r>
              <a:rPr lang="en-US" sz="2800" b="1" dirty="0" smtClean="0">
                <a:solidFill>
                  <a:srgbClr val="C00000"/>
                </a:solidFill>
                <a:latin typeface="Arial Narrow" pitchFamily="34" charset="0"/>
                <a:cs typeface="Arial" pitchFamily="34" charset="0"/>
              </a:rPr>
              <a:t>Computerized tomography</a:t>
            </a:r>
            <a:r>
              <a:rPr lang="en-US" sz="2800" b="1" dirty="0" smtClean="0">
                <a:latin typeface="Arial" pitchFamily="34" charset="0"/>
                <a:cs typeface="Arial" pitchFamily="34" charset="0"/>
              </a:rPr>
              <a:t> </a:t>
            </a:r>
            <a:r>
              <a:rPr lang="en-US" sz="2800" dirty="0" smtClean="0">
                <a:solidFill>
                  <a:srgbClr val="000099"/>
                </a:solidFill>
                <a:latin typeface="Arial" pitchFamily="34" charset="0"/>
                <a:cs typeface="Arial" pitchFamily="34" charset="0"/>
              </a:rPr>
              <a:t>(CT) scan </a:t>
            </a:r>
            <a:endParaRPr lang="en-US" sz="2800" dirty="0" smtClean="0">
              <a:latin typeface="Arial" pitchFamily="34" charset="0"/>
              <a:cs typeface="Arial" pitchFamily="34" charset="0"/>
            </a:endParaRPr>
          </a:p>
          <a:p>
            <a:pPr>
              <a:buNone/>
            </a:pPr>
            <a:endParaRPr lang="en-US" sz="2800" b="1" dirty="0" smtClean="0">
              <a:solidFill>
                <a:srgbClr val="C00000"/>
              </a:solidFill>
              <a:latin typeface="Arial Narrow" pitchFamily="34" charset="0"/>
              <a:cs typeface="Arial" pitchFamily="34" charset="0"/>
            </a:endParaRPr>
          </a:p>
          <a:p>
            <a:pPr>
              <a:buNone/>
            </a:pPr>
            <a:r>
              <a:rPr lang="en-US" sz="2800" b="1" dirty="0" smtClean="0">
                <a:solidFill>
                  <a:srgbClr val="C00000"/>
                </a:solidFill>
                <a:latin typeface="Arial Narrow" pitchFamily="34" charset="0"/>
                <a:cs typeface="Arial" pitchFamily="34" charset="0"/>
              </a:rPr>
              <a:t>Lung (pulmonary) function tests </a:t>
            </a:r>
          </a:p>
          <a:p>
            <a:pPr>
              <a:buNone/>
            </a:pPr>
            <a:endParaRPr lang="en-US" dirty="0"/>
          </a:p>
        </p:txBody>
      </p:sp>
    </p:spTree>
    <p:extLst>
      <p:ext uri="{BB962C8B-B14F-4D97-AF65-F5344CB8AC3E}">
        <p14:creationId xmlns:p14="http://schemas.microsoft.com/office/powerpoint/2010/main" val="311019070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81328"/>
            <a:ext cx="8534400" cy="4525963"/>
          </a:xfrm>
        </p:spPr>
        <p:txBody>
          <a:bodyPr/>
          <a:lstStyle/>
          <a:p>
            <a:r>
              <a:rPr lang="en-US" b="1" dirty="0">
                <a:solidFill>
                  <a:schemeClr val="accent4"/>
                </a:solidFill>
                <a:latin typeface="Cambria"/>
              </a:rPr>
              <a:t>B</a:t>
            </a:r>
            <a:r>
              <a:rPr lang="en-US" b="1" i="0" dirty="0" smtClean="0">
                <a:solidFill>
                  <a:schemeClr val="accent4"/>
                </a:solidFill>
                <a:effectLst/>
                <a:latin typeface="Cambria"/>
              </a:rPr>
              <a:t>ronchoscopy with </a:t>
            </a:r>
            <a:r>
              <a:rPr lang="en-US" b="1" i="0" dirty="0" smtClean="0">
                <a:solidFill>
                  <a:srgbClr val="00B0F0"/>
                </a:solidFill>
                <a:effectLst/>
                <a:latin typeface="Cambria"/>
              </a:rPr>
              <a:t>transbronchial biopsies </a:t>
            </a:r>
            <a:r>
              <a:rPr lang="en-US" b="1" i="0" dirty="0" smtClean="0">
                <a:solidFill>
                  <a:schemeClr val="accent4"/>
                </a:solidFill>
                <a:effectLst/>
                <a:latin typeface="Cambria"/>
              </a:rPr>
              <a:t>was done.</a:t>
            </a:r>
          </a:p>
          <a:p>
            <a:endParaRPr lang="en-US" b="1" dirty="0" smtClean="0">
              <a:solidFill>
                <a:schemeClr val="accent4"/>
              </a:solidFill>
              <a:latin typeface="Cambria"/>
            </a:endParaRPr>
          </a:p>
          <a:p>
            <a:r>
              <a:rPr lang="en-US" b="1" i="0" dirty="0" smtClean="0">
                <a:solidFill>
                  <a:srgbClr val="FF0000"/>
                </a:solidFill>
                <a:effectLst/>
                <a:latin typeface="Cambria"/>
              </a:rPr>
              <a:t>Histopathology revealed ?</a:t>
            </a:r>
          </a:p>
          <a:p>
            <a:pPr marL="109728" indent="0">
              <a:buNone/>
            </a:pPr>
            <a:endParaRPr lang="en-US" b="1" i="0" dirty="0" smtClean="0">
              <a:solidFill>
                <a:srgbClr val="FF0000"/>
              </a:solidFill>
              <a:effectLst/>
              <a:latin typeface="Cambria"/>
            </a:endParaRPr>
          </a:p>
          <a:p>
            <a:r>
              <a:rPr lang="en-US" b="1" dirty="0" smtClean="0">
                <a:solidFill>
                  <a:srgbClr val="FF0000"/>
                </a:solidFill>
                <a:latin typeface="Cambria"/>
              </a:rPr>
              <a:t>Other diagnostic procedures ?</a:t>
            </a:r>
            <a:endParaRPr lang="en-US" b="1" i="0" dirty="0" smtClean="0">
              <a:solidFill>
                <a:srgbClr val="FF0000"/>
              </a:solidFill>
              <a:effectLst/>
              <a:latin typeface="Cambria"/>
            </a:endParaRPr>
          </a:p>
          <a:p>
            <a:endParaRPr lang="en-US" dirty="0"/>
          </a:p>
        </p:txBody>
      </p:sp>
    </p:spTree>
    <p:extLst>
      <p:ext uri="{BB962C8B-B14F-4D97-AF65-F5344CB8AC3E}">
        <p14:creationId xmlns:p14="http://schemas.microsoft.com/office/powerpoint/2010/main" val="202228092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152400" y="533400"/>
            <a:ext cx="4495800" cy="4495801"/>
          </a:xfrm>
        </p:spPr>
      </p:pic>
      <p:pic>
        <p:nvPicPr>
          <p:cNvPr id="1026" name="Picture 2" descr="C:\Users\DR-Waled\Desktop\Microscopic-appearance-of-caseous-necrosis-A-well-formed-granuloma-containing_Q640.jpg"/>
          <p:cNvPicPr>
            <a:picLocks noChangeAspect="1" noChangeArrowheads="1"/>
          </p:cNvPicPr>
          <p:nvPr/>
        </p:nvPicPr>
        <p:blipFill>
          <a:blip r:embed="rId3"/>
          <a:srcRect/>
          <a:stretch>
            <a:fillRect/>
          </a:stretch>
        </p:blipFill>
        <p:spPr bwMode="auto">
          <a:xfrm>
            <a:off x="4800600" y="533400"/>
            <a:ext cx="4191000" cy="4495800"/>
          </a:xfrm>
          <a:prstGeom prst="rect">
            <a:avLst/>
          </a:prstGeom>
          <a:noFill/>
        </p:spPr>
      </p:pic>
    </p:spTree>
    <p:extLst>
      <p:ext uri="{BB962C8B-B14F-4D97-AF65-F5344CB8AC3E}">
        <p14:creationId xmlns:p14="http://schemas.microsoft.com/office/powerpoint/2010/main" val="107390674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295400"/>
            <a:ext cx="8153400" cy="5334000"/>
          </a:xfrm>
        </p:spPr>
        <p:txBody>
          <a:bodyPr>
            <a:normAutofit/>
          </a:bodyPr>
          <a:lstStyle/>
          <a:p>
            <a:pPr marL="68580" indent="0">
              <a:buNone/>
            </a:pPr>
            <a:r>
              <a:rPr lang="en-US" b="1" dirty="0">
                <a:solidFill>
                  <a:srgbClr val="000099"/>
                </a:solidFill>
                <a:latin typeface="Times New Roman" pitchFamily="18" charset="0"/>
                <a:cs typeface="Times New Roman" pitchFamily="18" charset="0"/>
              </a:rPr>
              <a:t>F</a:t>
            </a:r>
            <a:r>
              <a:rPr lang="en-US" b="1" dirty="0" smtClean="0">
                <a:solidFill>
                  <a:srgbClr val="000099"/>
                </a:solidFill>
                <a:latin typeface="Times New Roman" pitchFamily="18" charset="0"/>
                <a:cs typeface="Times New Roman" pitchFamily="18" charset="0"/>
              </a:rPr>
              <a:t>our stages: </a:t>
            </a:r>
          </a:p>
          <a:p>
            <a:pPr marL="1097280" lvl="2" indent="-457200">
              <a:buFont typeface="+mj-lt"/>
              <a:buAutoNum type="arabicPeriod"/>
            </a:pPr>
            <a:r>
              <a:rPr lang="en-US" sz="2800" b="1" dirty="0" smtClean="0">
                <a:solidFill>
                  <a:srgbClr val="00B050"/>
                </a:solidFill>
                <a:latin typeface="Candara" panose="020E0502030303020204" pitchFamily="34" charset="0"/>
                <a:cs typeface="Times New Roman" pitchFamily="18" charset="0"/>
              </a:rPr>
              <a:t>Bilateral hilar lymphadenopathy</a:t>
            </a:r>
          </a:p>
          <a:p>
            <a:pPr marL="1097280" lvl="2" indent="-457200">
              <a:buFont typeface="+mj-lt"/>
              <a:buAutoNum type="arabicPeriod"/>
            </a:pPr>
            <a:r>
              <a:rPr lang="en-US" sz="2800" b="1" dirty="0" smtClean="0">
                <a:solidFill>
                  <a:srgbClr val="00B050"/>
                </a:solidFill>
                <a:latin typeface="Candara" panose="020E0502030303020204" pitchFamily="34" charset="0"/>
                <a:cs typeface="Times New Roman" pitchFamily="18" charset="0"/>
              </a:rPr>
              <a:t>Bilateral hilar lymphadenopathy and reticulonodular infiltrates</a:t>
            </a:r>
          </a:p>
          <a:p>
            <a:pPr marL="1097280" lvl="2" indent="-457200">
              <a:buFont typeface="+mj-lt"/>
              <a:buAutoNum type="arabicPeriod"/>
            </a:pPr>
            <a:r>
              <a:rPr lang="en-US" sz="2800" b="1" dirty="0" smtClean="0">
                <a:solidFill>
                  <a:srgbClr val="00B050"/>
                </a:solidFill>
                <a:latin typeface="Candara" panose="020E0502030303020204" pitchFamily="34" charset="0"/>
                <a:cs typeface="Times New Roman" pitchFamily="18" charset="0"/>
              </a:rPr>
              <a:t>Bilateral pulmonary infiltrates</a:t>
            </a:r>
          </a:p>
          <a:p>
            <a:pPr marL="1097280" lvl="2" indent="-457200">
              <a:buFont typeface="+mj-lt"/>
              <a:buAutoNum type="arabicPeriod"/>
            </a:pPr>
            <a:r>
              <a:rPr lang="en-US" sz="2800" b="1" dirty="0" smtClean="0">
                <a:solidFill>
                  <a:srgbClr val="00B050"/>
                </a:solidFill>
                <a:latin typeface="Candara" panose="020E0502030303020204" pitchFamily="34" charset="0"/>
                <a:cs typeface="Times New Roman" pitchFamily="18" charset="0"/>
              </a:rPr>
              <a:t>Fibrocystic Sarcoidosis typically with fibrosis and cystic changes.</a:t>
            </a:r>
          </a:p>
          <a:p>
            <a:pPr marL="1097280" lvl="2" indent="-457200">
              <a:buNone/>
            </a:pPr>
            <a:endParaRPr lang="en-US" sz="2100" dirty="0" smtClean="0">
              <a:solidFill>
                <a:srgbClr val="00B050"/>
              </a:solidFill>
              <a:latin typeface="Times New Roman" pitchFamily="18" charset="0"/>
              <a:cs typeface="Times New Roman" pitchFamily="18" charset="0"/>
            </a:endParaRPr>
          </a:p>
          <a:p>
            <a:endParaRPr lang="en-US"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1600" y="0"/>
            <a:ext cx="2640013" cy="74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3"/>
          <p:cNvSpPr>
            <a:spLocks noGrp="1"/>
          </p:cNvSpPr>
          <p:nvPr>
            <p:ph type="title"/>
          </p:nvPr>
        </p:nvSpPr>
        <p:spPr>
          <a:xfrm>
            <a:off x="762000" y="350838"/>
            <a:ext cx="6705600" cy="792162"/>
          </a:xfrm>
        </p:spPr>
        <p:style>
          <a:lnRef idx="1">
            <a:schemeClr val="accent1"/>
          </a:lnRef>
          <a:fillRef idx="2">
            <a:schemeClr val="accent1"/>
          </a:fillRef>
          <a:effectRef idx="1">
            <a:schemeClr val="accent1"/>
          </a:effectRef>
          <a:fontRef idx="minor">
            <a:schemeClr val="dk1"/>
          </a:fontRef>
        </p:style>
        <p:txBody>
          <a:bodyPr>
            <a:normAutofit/>
          </a:bodyPr>
          <a:lstStyle/>
          <a:p>
            <a:r>
              <a:rPr lang="en-US" sz="4400" dirty="0">
                <a:solidFill>
                  <a:srgbClr val="C00000"/>
                </a:solidFill>
                <a:latin typeface="Arial Narrow" pitchFamily="34" charset="0"/>
                <a:cs typeface="Arial" pitchFamily="34" charset="0"/>
              </a:rPr>
              <a:t>Chest X-ray </a:t>
            </a:r>
            <a:endParaRPr lang="en-US" dirty="0"/>
          </a:p>
        </p:txBody>
      </p:sp>
    </p:spTree>
    <p:extLst>
      <p:ext uri="{BB962C8B-B14F-4D97-AF65-F5344CB8AC3E}">
        <p14:creationId xmlns:p14="http://schemas.microsoft.com/office/powerpoint/2010/main" val="29728505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Grp="1" noChangeAspect="1" noChangeArrowheads="1"/>
          </p:cNvPicPr>
          <p:nvPr>
            <p:ph idx="1"/>
          </p:nvPr>
        </p:nvPicPr>
        <p:blipFill>
          <a:blip r:embed="rId2"/>
          <a:stretch>
            <a:fillRect/>
          </a:stretch>
        </p:blipFill>
        <p:spPr bwMode="auto">
          <a:xfrm>
            <a:off x="0" y="0"/>
            <a:ext cx="9144000" cy="6858000"/>
          </a:xfrm>
          <a:prstGeom prst="rect">
            <a:avLst/>
          </a:prstGeom>
          <a:ln w="889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1266167679"/>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457200"/>
            <a:ext cx="2995110" cy="722864"/>
          </a:xfrm>
        </p:spPr>
        <p:txBody>
          <a:bodyPr>
            <a:normAutofit/>
          </a:bodyPr>
          <a:lstStyle/>
          <a:p>
            <a:r>
              <a:rPr lang="en-US" sz="3600" b="1" dirty="0"/>
              <a:t>Treatment</a:t>
            </a:r>
            <a:r>
              <a:rPr lang="en-US" sz="3600" b="1" dirty="0" smtClean="0"/>
              <a:t>:</a:t>
            </a:r>
            <a:endParaRPr lang="en-US" sz="3600" b="1" dirty="0"/>
          </a:p>
        </p:txBody>
      </p:sp>
      <p:sp>
        <p:nvSpPr>
          <p:cNvPr id="3" name="Content Placeholder 2"/>
          <p:cNvSpPr>
            <a:spLocks noGrp="1"/>
          </p:cNvSpPr>
          <p:nvPr>
            <p:ph idx="1"/>
          </p:nvPr>
        </p:nvSpPr>
        <p:spPr>
          <a:xfrm>
            <a:off x="609600" y="1219200"/>
            <a:ext cx="8001000" cy="5257800"/>
          </a:xfrm>
        </p:spPr>
        <p:txBody>
          <a:bodyPr>
            <a:normAutofit/>
          </a:bodyPr>
          <a:lstStyle/>
          <a:p>
            <a:pPr algn="just">
              <a:buNone/>
            </a:pPr>
            <a:r>
              <a:rPr lang="en-US" sz="3000" b="1" dirty="0">
                <a:solidFill>
                  <a:srgbClr val="C00000"/>
                </a:solidFill>
                <a:latin typeface="Arial Narrow" pitchFamily="34" charset="0"/>
                <a:cs typeface="Arial" pitchFamily="34" charset="0"/>
              </a:rPr>
              <a:t>Corticosteroids</a:t>
            </a:r>
            <a:r>
              <a:rPr lang="en-US" sz="3000" b="1" dirty="0" smtClean="0">
                <a:solidFill>
                  <a:srgbClr val="C00000"/>
                </a:solidFill>
                <a:latin typeface="Arial Narrow" pitchFamily="34" charset="0"/>
                <a:cs typeface="Arial" pitchFamily="34" charset="0"/>
              </a:rPr>
              <a:t>. </a:t>
            </a:r>
            <a:endParaRPr lang="ar-SA" sz="3000" b="1" dirty="0" smtClean="0">
              <a:solidFill>
                <a:srgbClr val="C00000"/>
              </a:solidFill>
              <a:latin typeface="Arial Narrow" pitchFamily="34" charset="0"/>
              <a:cs typeface="Arial" pitchFamily="34" charset="0"/>
            </a:endParaRPr>
          </a:p>
          <a:p>
            <a:pPr marL="68580" indent="0" algn="just"/>
            <a:r>
              <a:rPr lang="en-US" dirty="0" smtClean="0">
                <a:solidFill>
                  <a:srgbClr val="000099"/>
                </a:solidFill>
                <a:latin typeface="Times New Roman" pitchFamily="18" charset="0"/>
                <a:ea typeface="Microsoft YaHei UI" pitchFamily="34" charset="-122"/>
                <a:cs typeface="Times New Roman" pitchFamily="18" charset="0"/>
              </a:rPr>
              <a:t>These </a:t>
            </a:r>
            <a:r>
              <a:rPr lang="en-US" dirty="0">
                <a:solidFill>
                  <a:srgbClr val="000099"/>
                </a:solidFill>
                <a:latin typeface="Times New Roman" pitchFamily="18" charset="0"/>
                <a:ea typeface="Microsoft YaHei UI" pitchFamily="34" charset="-122"/>
                <a:cs typeface="Times New Roman" pitchFamily="18" charset="0"/>
              </a:rPr>
              <a:t>powerful anti-inflammatory drugs are usually </a:t>
            </a:r>
            <a:r>
              <a:rPr lang="en-US" dirty="0">
                <a:solidFill>
                  <a:srgbClr val="00B050"/>
                </a:solidFill>
                <a:latin typeface="Times New Roman" pitchFamily="18" charset="0"/>
                <a:ea typeface="Microsoft YaHei UI" pitchFamily="34" charset="-122"/>
                <a:cs typeface="Times New Roman" pitchFamily="18" charset="0"/>
              </a:rPr>
              <a:t>the first line</a:t>
            </a:r>
            <a:r>
              <a:rPr lang="en-US" dirty="0">
                <a:solidFill>
                  <a:srgbClr val="000099"/>
                </a:solidFill>
                <a:latin typeface="Times New Roman" pitchFamily="18" charset="0"/>
                <a:ea typeface="Microsoft YaHei UI" pitchFamily="34" charset="-122"/>
                <a:cs typeface="Times New Roman" pitchFamily="18" charset="0"/>
              </a:rPr>
              <a:t> treatment for Sarcoidosis. </a:t>
            </a:r>
            <a:endParaRPr lang="en-US" dirty="0" smtClean="0">
              <a:solidFill>
                <a:srgbClr val="000099"/>
              </a:solidFill>
              <a:latin typeface="Times New Roman" pitchFamily="18" charset="0"/>
              <a:ea typeface="Microsoft YaHei UI" pitchFamily="34" charset="-122"/>
              <a:cs typeface="Times New Roman" pitchFamily="18" charset="0"/>
            </a:endParaRPr>
          </a:p>
          <a:p>
            <a:pPr marL="68580" indent="0" algn="just"/>
            <a:r>
              <a:rPr lang="en-US" dirty="0" smtClean="0">
                <a:solidFill>
                  <a:srgbClr val="000099"/>
                </a:solidFill>
                <a:latin typeface="Times New Roman" pitchFamily="18" charset="0"/>
                <a:ea typeface="Microsoft YaHei UI" pitchFamily="34" charset="-122"/>
                <a:cs typeface="Times New Roman" pitchFamily="18" charset="0"/>
              </a:rPr>
              <a:t>In </a:t>
            </a:r>
            <a:r>
              <a:rPr lang="en-US" dirty="0">
                <a:solidFill>
                  <a:srgbClr val="000099"/>
                </a:solidFill>
                <a:latin typeface="Times New Roman" pitchFamily="18" charset="0"/>
                <a:ea typeface="Microsoft YaHei UI" pitchFamily="34" charset="-122"/>
                <a:cs typeface="Times New Roman" pitchFamily="18" charset="0"/>
              </a:rPr>
              <a:t>some cases, corticosteroids can be applied directly to an affected area — via a cream to a skin lesion or drops to the eyes</a:t>
            </a:r>
            <a:r>
              <a:rPr lang="en-US" dirty="0" smtClean="0">
                <a:solidFill>
                  <a:srgbClr val="000099"/>
                </a:solidFill>
                <a:latin typeface="Times New Roman" pitchFamily="18" charset="0"/>
                <a:ea typeface="Microsoft YaHei UI" pitchFamily="34" charset="-122"/>
                <a:cs typeface="Times New Roman" pitchFamily="18" charset="0"/>
              </a:rPr>
              <a:t>.</a:t>
            </a:r>
          </a:p>
          <a:p>
            <a:pPr marL="68580" indent="0" algn="just">
              <a:buNone/>
            </a:pPr>
            <a:endParaRPr lang="en-US" dirty="0">
              <a:solidFill>
                <a:srgbClr val="000099"/>
              </a:solidFill>
              <a:latin typeface="Times New Roman" pitchFamily="18" charset="0"/>
              <a:ea typeface="Microsoft YaHei UI" pitchFamily="34" charset="-122"/>
              <a:cs typeface="Times New Roman" pitchFamily="18" charset="0"/>
            </a:endParaRPr>
          </a:p>
          <a:p>
            <a:pPr algn="just">
              <a:buNone/>
            </a:pPr>
            <a:r>
              <a:rPr lang="en-US" sz="2800" b="1" dirty="0">
                <a:solidFill>
                  <a:srgbClr val="C00000"/>
                </a:solidFill>
                <a:latin typeface="Arial Narrow" pitchFamily="34" charset="0"/>
                <a:cs typeface="Arial" pitchFamily="34" charset="0"/>
              </a:rPr>
              <a:t>Medications that suppress the immune system</a:t>
            </a:r>
            <a:r>
              <a:rPr lang="en-US" sz="2800" dirty="0">
                <a:latin typeface="Arial Narrow" pitchFamily="34" charset="0"/>
                <a:ea typeface="Microsoft YaHei UI" pitchFamily="34" charset="-122"/>
              </a:rPr>
              <a:t>. </a:t>
            </a:r>
            <a:endParaRPr lang="ar-SA" sz="2800" dirty="0" smtClean="0">
              <a:latin typeface="Arial Narrow" pitchFamily="34" charset="0"/>
              <a:ea typeface="Microsoft YaHei UI" pitchFamily="34" charset="-122"/>
            </a:endParaRPr>
          </a:p>
          <a:p>
            <a:pPr marL="68580" indent="0" algn="just"/>
            <a:r>
              <a:rPr lang="en-US" dirty="0" smtClean="0">
                <a:solidFill>
                  <a:srgbClr val="000099"/>
                </a:solidFill>
                <a:latin typeface="Times New Roman" pitchFamily="18" charset="0"/>
                <a:ea typeface="Microsoft YaHei UI" pitchFamily="34" charset="-122"/>
                <a:cs typeface="Times New Roman" pitchFamily="18" charset="0"/>
              </a:rPr>
              <a:t>Medications </a:t>
            </a:r>
            <a:r>
              <a:rPr lang="en-US" dirty="0">
                <a:solidFill>
                  <a:srgbClr val="000099"/>
                </a:solidFill>
                <a:latin typeface="Times New Roman" pitchFamily="18" charset="0"/>
                <a:ea typeface="Microsoft YaHei UI" pitchFamily="34" charset="-122"/>
                <a:cs typeface="Times New Roman" pitchFamily="18" charset="0"/>
              </a:rPr>
              <a:t>such as methotrexate) and </a:t>
            </a:r>
            <a:r>
              <a:rPr lang="en-US" dirty="0" smtClean="0">
                <a:solidFill>
                  <a:srgbClr val="000099"/>
                </a:solidFill>
                <a:latin typeface="Times New Roman" pitchFamily="18" charset="0"/>
                <a:ea typeface="Microsoft YaHei UI" pitchFamily="34" charset="-122"/>
                <a:cs typeface="Times New Roman" pitchFamily="18" charset="0"/>
              </a:rPr>
              <a:t>azathioprine, Hydroxychloroquine (</a:t>
            </a:r>
            <a:r>
              <a:rPr lang="en-US" dirty="0">
                <a:solidFill>
                  <a:srgbClr val="000099"/>
                </a:solidFill>
                <a:latin typeface="Times New Roman" pitchFamily="18" charset="0"/>
                <a:ea typeface="Microsoft YaHei UI" pitchFamily="34" charset="-122"/>
                <a:cs typeface="Times New Roman" pitchFamily="18" charset="0"/>
              </a:rPr>
              <a:t>Plaquenil) may be helpful for skin lesions and elevated blood-calcium levels.</a:t>
            </a:r>
          </a:p>
          <a:p>
            <a:endParaRPr lang="en-US"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05400" y="0"/>
            <a:ext cx="2640013" cy="74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4240353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06413" y="1611086"/>
            <a:ext cx="7315200" cy="2770182"/>
          </a:xfrm>
          <a:prstGeom prst="rect">
            <a:avLst/>
          </a:prstGeom>
        </p:spPr>
        <p:txBody>
          <a:bodyPr wrap="square">
            <a:spAutoFit/>
          </a:bodyPr>
          <a:lstStyle/>
          <a:p>
            <a:pPr marL="342900" marR="0" lvl="0" indent="-274320" algn="l" defTabSz="914400" rtl="0" eaLnBrk="1" fontAlgn="auto" latinLnBrk="0" hangingPunct="1">
              <a:lnSpc>
                <a:spcPct val="150000"/>
              </a:lnSpc>
              <a:spcBef>
                <a:spcPct val="20000"/>
              </a:spcBef>
              <a:spcAft>
                <a:spcPts val="0"/>
              </a:spcAft>
              <a:buClr>
                <a:srgbClr val="94C600"/>
              </a:buClr>
              <a:buSzPct val="76000"/>
              <a:buFont typeface="Wingdings 2" pitchFamily="18" charset="2"/>
              <a:buChar char=""/>
              <a:tabLst/>
              <a:defRPr/>
            </a:pPr>
            <a:r>
              <a:rPr kumimoji="0" lang="en-US" sz="2800" b="1" i="0" u="none" strike="noStrike" kern="1200" cap="none" spc="0" normalizeH="0" baseline="0" noProof="0" dirty="0">
                <a:ln>
                  <a:noFill/>
                </a:ln>
                <a:solidFill>
                  <a:srgbClr val="C00000"/>
                </a:solidFill>
                <a:effectLst/>
                <a:uLnTx/>
                <a:uFillTx/>
                <a:latin typeface="Arial Narrow" pitchFamily="34" charset="0"/>
                <a:ea typeface="+mn-ea"/>
                <a:cs typeface="Arial" pitchFamily="34" charset="0"/>
              </a:rPr>
              <a:t>Tumor necrosis factor-alpha (TNF-alpha) inhibitors</a:t>
            </a:r>
          </a:p>
          <a:p>
            <a:pPr marL="342900" marR="0" lvl="0" indent="-274320" algn="l" defTabSz="914400" rtl="0" eaLnBrk="1" fontAlgn="auto" latinLnBrk="0" hangingPunct="1">
              <a:lnSpc>
                <a:spcPct val="150000"/>
              </a:lnSpc>
              <a:spcBef>
                <a:spcPct val="20000"/>
              </a:spcBef>
              <a:spcAft>
                <a:spcPts val="0"/>
              </a:spcAft>
              <a:buClr>
                <a:srgbClr val="94C600"/>
              </a:buClr>
              <a:buSzPct val="76000"/>
              <a:buFont typeface="Wingdings 2" pitchFamily="18" charset="2"/>
              <a:buChar char=""/>
              <a:tabLst/>
              <a:defRPr/>
            </a:pPr>
            <a:r>
              <a:rPr kumimoji="0" lang="en-US" sz="2800" b="1" i="0" u="none" strike="noStrike" kern="1200" cap="none" spc="0" normalizeH="0" baseline="0" noProof="0" dirty="0">
                <a:ln>
                  <a:noFill/>
                </a:ln>
                <a:solidFill>
                  <a:srgbClr val="C00000"/>
                </a:solidFill>
                <a:effectLst/>
                <a:uLnTx/>
                <a:uFillTx/>
                <a:latin typeface="Arial Narrow" pitchFamily="34" charset="0"/>
                <a:ea typeface="+mn-ea"/>
                <a:cs typeface="Arial" pitchFamily="34" charset="0"/>
              </a:rPr>
              <a:t>Oxygen therapy</a:t>
            </a:r>
          </a:p>
          <a:p>
            <a:pPr marL="342900" marR="0" lvl="0" indent="-274320" algn="l" defTabSz="914400" rtl="0" eaLnBrk="1" fontAlgn="auto" latinLnBrk="0" hangingPunct="1">
              <a:lnSpc>
                <a:spcPct val="150000"/>
              </a:lnSpc>
              <a:spcBef>
                <a:spcPct val="20000"/>
              </a:spcBef>
              <a:spcAft>
                <a:spcPts val="0"/>
              </a:spcAft>
              <a:buClr>
                <a:srgbClr val="94C600"/>
              </a:buClr>
              <a:buSzPct val="76000"/>
              <a:buFont typeface="Wingdings 2" pitchFamily="18" charset="2"/>
              <a:buChar char=""/>
              <a:tabLst/>
              <a:defRPr/>
            </a:pPr>
            <a:r>
              <a:rPr kumimoji="0" lang="en-US" sz="2800" b="1" i="0" u="none" strike="noStrike" kern="1200" cap="none" spc="0" normalizeH="0" baseline="0" noProof="0" dirty="0">
                <a:ln>
                  <a:noFill/>
                </a:ln>
                <a:solidFill>
                  <a:srgbClr val="C00000"/>
                </a:solidFill>
                <a:effectLst/>
                <a:uLnTx/>
                <a:uFillTx/>
                <a:latin typeface="Arial Narrow" pitchFamily="34" charset="0"/>
                <a:ea typeface="+mn-ea"/>
                <a:cs typeface="Arial" pitchFamily="34" charset="0"/>
              </a:rPr>
              <a:t>Lung transplantation</a:t>
            </a:r>
            <a:endParaRPr kumimoji="0" lang="en-US" sz="3200" b="1" i="0" u="none" strike="noStrike" kern="1200" cap="none" spc="0" normalizeH="0" baseline="0" noProof="0" dirty="0">
              <a:ln>
                <a:noFill/>
              </a:ln>
              <a:solidFill>
                <a:srgbClr val="C00000"/>
              </a:solidFill>
              <a:effectLst/>
              <a:uLnTx/>
              <a:uFillTx/>
              <a:latin typeface="Arial Narrow" pitchFamily="34" charset="0"/>
              <a:ea typeface="+mn-ea"/>
              <a:cs typeface="Arial" pitchFamily="34" charset="0"/>
            </a:endParaRPr>
          </a:p>
        </p:txBody>
      </p:sp>
      <p:sp>
        <p:nvSpPr>
          <p:cNvPr id="5" name="Title 1"/>
          <p:cNvSpPr>
            <a:spLocks noGrp="1"/>
          </p:cNvSpPr>
          <p:nvPr>
            <p:ph type="title"/>
          </p:nvPr>
        </p:nvSpPr>
        <p:spPr>
          <a:xfrm>
            <a:off x="685800" y="533400"/>
            <a:ext cx="3581400" cy="722864"/>
          </a:xfrm>
        </p:spPr>
        <p:txBody>
          <a:bodyPr>
            <a:noAutofit/>
          </a:bodyPr>
          <a:lstStyle/>
          <a:p>
            <a:r>
              <a:rPr lang="en-US" sz="3600" b="1" dirty="0"/>
              <a:t>Treatment</a:t>
            </a:r>
            <a:r>
              <a:rPr lang="en-US" sz="3600" b="1" dirty="0" smtClean="0"/>
              <a:t>:</a:t>
            </a:r>
            <a:endParaRPr lang="en-US" sz="3600" b="1"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1600" y="0"/>
            <a:ext cx="2640013" cy="74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9328489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81000" y="761999"/>
            <a:ext cx="4572000" cy="5410201"/>
          </a:xfrm>
        </p:spPr>
        <p:txBody>
          <a:bodyPr>
            <a:normAutofit/>
          </a:bodyPr>
          <a:lstStyle/>
          <a:p>
            <a:pPr marL="280988" lvl="0" indent="-280988" algn="ctr">
              <a:buNone/>
            </a:pPr>
            <a:endParaRPr lang="en-US" sz="6000" b="1" dirty="0" smtClean="0">
              <a:solidFill>
                <a:srgbClr val="FF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endParaRPr>
          </a:p>
          <a:p>
            <a:pPr marL="280988" indent="-280988" algn="ctr">
              <a:buNone/>
            </a:pPr>
            <a:r>
              <a:rPr lang="en-US" sz="7800" b="1" dirty="0" smtClean="0">
                <a:solidFill>
                  <a:srgbClr val="FF0000"/>
                </a:solidFill>
                <a:effectLst>
                  <a:outerShdw blurRad="38100" dist="38100" dir="2700000" algn="tl">
                    <a:srgbClr val="000000">
                      <a:alpha val="43137"/>
                    </a:srgbClr>
                  </a:outerShdw>
                </a:effectLst>
                <a:latin typeface="Corbel" pitchFamily="34" charset="0"/>
                <a:ea typeface="Times New Roman" pitchFamily="18" charset="0"/>
                <a:cs typeface="Calibri" pitchFamily="34" charset="0"/>
              </a:rPr>
              <a:t>Case  Scenario 4</a:t>
            </a:r>
          </a:p>
          <a:p>
            <a:pPr marL="280988" indent="-280988" algn="just">
              <a:buNone/>
            </a:pPr>
            <a:endParaRPr lang="en-US" sz="2200" b="1" dirty="0">
              <a:solidFill>
                <a:srgbClr val="000099"/>
              </a:solidFill>
              <a:effectLst>
                <a:outerShdw blurRad="38100" dist="38100" dir="2700000" algn="tl">
                  <a:srgbClr val="000000">
                    <a:alpha val="43137"/>
                  </a:srgbClr>
                </a:outerShdw>
              </a:effectLst>
              <a:latin typeface="Times New Roman" pitchFamily="18" charset="0"/>
              <a:cs typeface="Times New Roman" pitchFamily="18" charset="0"/>
            </a:endParaRPr>
          </a:p>
        </p:txBody>
      </p:sp>
      <p:pic>
        <p:nvPicPr>
          <p:cNvPr id="3" name="Graphic 13" descr="Stethoscope"/>
          <p:cNvPicPr>
            <a:picLocks noChangeAspect="1"/>
          </p:cNvPicPr>
          <p:nvPr/>
        </p:nvPicPr>
        <p:blipFill>
          <a:blip r:embed="rId2"/>
          <a:srcRect/>
          <a:stretch>
            <a:fillRect/>
          </a:stretch>
        </p:blipFill>
        <p:spPr bwMode="auto">
          <a:xfrm>
            <a:off x="5029200" y="771521"/>
            <a:ext cx="3810000" cy="5476879"/>
          </a:xfrm>
          <a:prstGeom prst="rect">
            <a:avLst/>
          </a:prstGeom>
          <a:ln>
            <a:headEnd/>
            <a:tailEnd/>
          </a:ln>
        </p:spPr>
        <p:style>
          <a:lnRef idx="1">
            <a:schemeClr val="accent1"/>
          </a:lnRef>
          <a:fillRef idx="2">
            <a:schemeClr val="accent1"/>
          </a:fillRef>
          <a:effectRef idx="1">
            <a:schemeClr val="accent1"/>
          </a:effectRef>
          <a:fontRef idx="minor">
            <a:schemeClr val="dk1"/>
          </a:fontRef>
        </p:style>
      </p:pic>
    </p:spTree>
    <p:extLst>
      <p:ext uri="{BB962C8B-B14F-4D97-AF65-F5344CB8AC3E}">
        <p14:creationId xmlns:p14="http://schemas.microsoft.com/office/powerpoint/2010/main" val="12157971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762000" y="384048"/>
            <a:ext cx="7470648" cy="682752"/>
          </a:xfrm>
        </p:spPr>
        <p:style>
          <a:lnRef idx="3">
            <a:schemeClr val="lt1"/>
          </a:lnRef>
          <a:fillRef idx="1">
            <a:schemeClr val="accent5"/>
          </a:fillRef>
          <a:effectRef idx="1">
            <a:schemeClr val="accent5"/>
          </a:effectRef>
          <a:fontRef idx="minor">
            <a:schemeClr val="lt1"/>
          </a:fontRef>
        </p:style>
        <p:txBody>
          <a:bodyPr>
            <a:noAutofit/>
          </a:bodyPr>
          <a:lstStyle/>
          <a:p>
            <a:r>
              <a:rPr lang="en-US" sz="4000" b="1" dirty="0" smtClean="0">
                <a:solidFill>
                  <a:srgbClr val="C00000"/>
                </a:solidFill>
                <a:effectLst>
                  <a:outerShdw blurRad="38100" dist="38100" dir="2700000" algn="tl">
                    <a:srgbClr val="000000">
                      <a:alpha val="43137"/>
                    </a:srgbClr>
                  </a:outerShdw>
                </a:effectLst>
              </a:rPr>
              <a:t>History </a:t>
            </a:r>
            <a:endParaRPr lang="ar-EG" sz="4000" b="1" dirty="0">
              <a:solidFill>
                <a:srgbClr val="C00000"/>
              </a:solidFill>
              <a:effectLst>
                <a:outerShdw blurRad="38100" dist="38100" dir="2700000" algn="tl">
                  <a:srgbClr val="000000">
                    <a:alpha val="43137"/>
                  </a:srgbClr>
                </a:outerShdw>
              </a:effectLst>
            </a:endParaRPr>
          </a:p>
        </p:txBody>
      </p:sp>
      <p:sp>
        <p:nvSpPr>
          <p:cNvPr id="2" name="Content Placeholder 1"/>
          <p:cNvSpPr>
            <a:spLocks noGrp="1"/>
          </p:cNvSpPr>
          <p:nvPr>
            <p:ph sz="quarter" idx="1"/>
          </p:nvPr>
        </p:nvSpPr>
        <p:spPr/>
        <p:txBody>
          <a:bodyPr>
            <a:normAutofit/>
          </a:bodyPr>
          <a:lstStyle/>
          <a:p>
            <a:pPr>
              <a:lnSpc>
                <a:spcPct val="150000"/>
              </a:lnSpc>
            </a:pPr>
            <a:r>
              <a:rPr lang="en-US" sz="2400" b="1" dirty="0" smtClean="0">
                <a:solidFill>
                  <a:srgbClr val="002060"/>
                </a:solidFill>
                <a:latin typeface="Candara" pitchFamily="34" charset="0"/>
                <a:cs typeface="Times New Roman" pitchFamily="18" charset="0"/>
              </a:rPr>
              <a:t>A 63-year-old male  , taxi driver presented to the emergency department with </a:t>
            </a:r>
            <a:r>
              <a:rPr lang="en-US" sz="2400" b="1" dirty="0">
                <a:solidFill>
                  <a:srgbClr val="002060"/>
                </a:solidFill>
                <a:latin typeface="Candara" pitchFamily="34" charset="0"/>
                <a:cs typeface="Times New Roman" pitchFamily="18" charset="0"/>
              </a:rPr>
              <a:t>complaint of frank hemoptysis for the past 3 days. </a:t>
            </a:r>
            <a:r>
              <a:rPr lang="en-US" sz="2400" b="1" dirty="0" smtClean="0">
                <a:solidFill>
                  <a:srgbClr val="002060"/>
                </a:solidFill>
                <a:latin typeface="Candara" pitchFamily="34" charset="0"/>
                <a:cs typeface="Times New Roman" pitchFamily="18" charset="0"/>
              </a:rPr>
              <a:t>He </a:t>
            </a:r>
            <a:r>
              <a:rPr lang="en-US" sz="2400" b="1" dirty="0">
                <a:solidFill>
                  <a:srgbClr val="002060"/>
                </a:solidFill>
                <a:latin typeface="Candara" pitchFamily="34" charset="0"/>
                <a:cs typeface="Times New Roman" pitchFamily="18" charset="0"/>
              </a:rPr>
              <a:t>states he complaining of cough and expectoration of yellowish sputum and shortness of breath with loss of </a:t>
            </a:r>
            <a:r>
              <a:rPr lang="en-US" sz="2400" b="1" dirty="0" smtClean="0">
                <a:solidFill>
                  <a:srgbClr val="002060"/>
                </a:solidFill>
                <a:latin typeface="Candara" pitchFamily="34" charset="0"/>
                <a:cs typeface="Times New Roman" pitchFamily="18" charset="0"/>
              </a:rPr>
              <a:t>weight for the last 2 months. He </a:t>
            </a:r>
            <a:r>
              <a:rPr lang="en-US" sz="2400" b="1" dirty="0">
                <a:solidFill>
                  <a:srgbClr val="002060"/>
                </a:solidFill>
                <a:latin typeface="Candara" pitchFamily="34" charset="0"/>
                <a:cs typeface="Times New Roman" pitchFamily="18" charset="0"/>
              </a:rPr>
              <a:t>also </a:t>
            </a:r>
            <a:r>
              <a:rPr lang="en-US" sz="2400" b="1" dirty="0" smtClean="0">
                <a:solidFill>
                  <a:srgbClr val="002060"/>
                </a:solidFill>
                <a:latin typeface="Candara" pitchFamily="34" charset="0"/>
                <a:cs typeface="Times New Roman" pitchFamily="18" charset="0"/>
              </a:rPr>
              <a:t>complains of </a:t>
            </a:r>
            <a:r>
              <a:rPr lang="en-US" sz="2400" b="1" dirty="0">
                <a:solidFill>
                  <a:srgbClr val="002060"/>
                </a:solidFill>
                <a:latin typeface="Candara" pitchFamily="34" charset="0"/>
                <a:cs typeface="Times New Roman" pitchFamily="18" charset="0"/>
              </a:rPr>
              <a:t>waking up in the middle of the night “drenched in sweat” for the </a:t>
            </a:r>
            <a:r>
              <a:rPr lang="en-US" sz="2400" b="1" dirty="0" smtClean="0">
                <a:solidFill>
                  <a:srgbClr val="002060"/>
                </a:solidFill>
                <a:latin typeface="Candara" pitchFamily="34" charset="0"/>
                <a:cs typeface="Times New Roman" pitchFamily="18" charset="0"/>
              </a:rPr>
              <a:t>past </a:t>
            </a:r>
            <a:r>
              <a:rPr lang="en-US" sz="2400" b="1" dirty="0">
                <a:solidFill>
                  <a:srgbClr val="002060"/>
                </a:solidFill>
                <a:latin typeface="Candara" pitchFamily="34" charset="0"/>
                <a:cs typeface="Times New Roman" pitchFamily="18" charset="0"/>
              </a:rPr>
              <a:t>few weeks.</a:t>
            </a:r>
            <a:endParaRPr lang="ar-EG" sz="2400" b="1" dirty="0">
              <a:solidFill>
                <a:srgbClr val="002060"/>
              </a:solidFill>
              <a:latin typeface="Candara" pitchFamily="34" charset="0"/>
            </a:endParaRPr>
          </a:p>
        </p:txBody>
      </p:sp>
    </p:spTree>
    <p:extLst>
      <p:ext uri="{BB962C8B-B14F-4D97-AF65-F5344CB8AC3E}">
        <p14:creationId xmlns:p14="http://schemas.microsoft.com/office/powerpoint/2010/main" val="3748818062"/>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p:cNvSpPr>
            <a:spLocks noGrp="1"/>
          </p:cNvSpPr>
          <p:nvPr>
            <p:ph sz="quarter" idx="1"/>
          </p:nvPr>
        </p:nvSpPr>
        <p:spPr/>
        <p:txBody>
          <a:bodyPr>
            <a:normAutofit/>
          </a:bodyPr>
          <a:lstStyle/>
          <a:p>
            <a:pPr rtl="0">
              <a:lnSpc>
                <a:spcPct val="150000"/>
              </a:lnSpc>
            </a:pPr>
            <a:r>
              <a:rPr lang="en-US" sz="2400" b="1" dirty="0">
                <a:solidFill>
                  <a:srgbClr val="002060"/>
                </a:solidFill>
                <a:latin typeface="Candara" pitchFamily="34" charset="0"/>
                <a:cs typeface="Times New Roman" pitchFamily="18" charset="0"/>
              </a:rPr>
              <a:t> His chart </a:t>
            </a:r>
            <a:r>
              <a:rPr lang="en-US" sz="2400" b="1" dirty="0" smtClean="0">
                <a:solidFill>
                  <a:srgbClr val="002060"/>
                </a:solidFill>
                <a:latin typeface="Candara" pitchFamily="34" charset="0"/>
                <a:cs typeface="Times New Roman" pitchFamily="18" charset="0"/>
              </a:rPr>
              <a:t>indicates that </a:t>
            </a:r>
            <a:r>
              <a:rPr lang="en-US" sz="2400" b="1" dirty="0">
                <a:solidFill>
                  <a:srgbClr val="002060"/>
                </a:solidFill>
                <a:latin typeface="Candara" pitchFamily="34" charset="0"/>
                <a:cs typeface="Times New Roman" pitchFamily="18" charset="0"/>
              </a:rPr>
              <a:t>he was in the emergency department last week with similar symptoms and was diagnosed with community-acquired pneumonia and discharged with azithromycin. He is </a:t>
            </a:r>
            <a:r>
              <a:rPr lang="en-US" sz="2400" b="1" dirty="0" smtClean="0">
                <a:solidFill>
                  <a:srgbClr val="002060"/>
                </a:solidFill>
                <a:latin typeface="Candara" pitchFamily="34" charset="0"/>
                <a:cs typeface="Times New Roman" pitchFamily="18" charset="0"/>
              </a:rPr>
              <a:t>smoker 20 cigarettes/day </a:t>
            </a:r>
            <a:r>
              <a:rPr lang="en-US" sz="2400" b="1" dirty="0">
                <a:solidFill>
                  <a:srgbClr val="002060"/>
                </a:solidFill>
                <a:latin typeface="Candara" pitchFamily="34" charset="0"/>
                <a:cs typeface="Times New Roman" pitchFamily="18" charset="0"/>
              </a:rPr>
              <a:t>for  40 years  </a:t>
            </a:r>
            <a:r>
              <a:rPr lang="en-US" sz="2400" b="1" dirty="0" smtClean="0">
                <a:solidFill>
                  <a:srgbClr val="002060"/>
                </a:solidFill>
                <a:latin typeface="Candara" pitchFamily="34" charset="0"/>
                <a:cs typeface="Times New Roman" pitchFamily="18" charset="0"/>
              </a:rPr>
              <a:t>. He  </a:t>
            </a:r>
            <a:r>
              <a:rPr lang="en-US" sz="2400" b="1" dirty="0">
                <a:solidFill>
                  <a:srgbClr val="002060"/>
                </a:solidFill>
                <a:latin typeface="Candara" pitchFamily="34" charset="0"/>
                <a:cs typeface="Times New Roman" pitchFamily="18" charset="0"/>
              </a:rPr>
              <a:t>is </a:t>
            </a:r>
            <a:r>
              <a:rPr lang="en-US" sz="2400" b="1" dirty="0" smtClean="0">
                <a:solidFill>
                  <a:srgbClr val="002060"/>
                </a:solidFill>
                <a:latin typeface="Candara" pitchFamily="34" charset="0"/>
                <a:cs typeface="Times New Roman" pitchFamily="18" charset="0"/>
              </a:rPr>
              <a:t>diabetic on insulin </a:t>
            </a:r>
            <a:r>
              <a:rPr lang="en-US" sz="2400" b="1" dirty="0">
                <a:solidFill>
                  <a:srgbClr val="002060"/>
                </a:solidFill>
                <a:effectLst/>
                <a:latin typeface="Candara" pitchFamily="34" charset="0"/>
                <a:ea typeface="Times New Roman" panose="02020603050405020304" pitchFamily="18" charset="0"/>
              </a:rPr>
              <a:t>.</a:t>
            </a:r>
            <a:r>
              <a:rPr lang="en-US" sz="2400" b="1" dirty="0">
                <a:solidFill>
                  <a:srgbClr val="002060"/>
                </a:solidFill>
                <a:latin typeface="Candara" pitchFamily="34" charset="0"/>
              </a:rPr>
              <a:t> </a:t>
            </a:r>
          </a:p>
          <a:p>
            <a:endParaRPr lang="ar-EG" dirty="0"/>
          </a:p>
        </p:txBody>
      </p:sp>
      <p:sp>
        <p:nvSpPr>
          <p:cNvPr id="5" name="Title 2"/>
          <p:cNvSpPr>
            <a:spLocks noGrp="1"/>
          </p:cNvSpPr>
          <p:nvPr>
            <p:ph type="title"/>
          </p:nvPr>
        </p:nvSpPr>
        <p:spPr>
          <a:xfrm>
            <a:off x="762000" y="384048"/>
            <a:ext cx="7470648" cy="682752"/>
          </a:xfrm>
        </p:spPr>
        <p:style>
          <a:lnRef idx="3">
            <a:schemeClr val="lt1"/>
          </a:lnRef>
          <a:fillRef idx="1">
            <a:schemeClr val="accent5"/>
          </a:fillRef>
          <a:effectRef idx="1">
            <a:schemeClr val="accent5"/>
          </a:effectRef>
          <a:fontRef idx="minor">
            <a:schemeClr val="lt1"/>
          </a:fontRef>
        </p:style>
        <p:txBody>
          <a:bodyPr>
            <a:noAutofit/>
          </a:bodyPr>
          <a:lstStyle/>
          <a:p>
            <a:r>
              <a:rPr lang="en-US" sz="4000" b="1" dirty="0" smtClean="0">
                <a:solidFill>
                  <a:srgbClr val="C00000"/>
                </a:solidFill>
                <a:effectLst>
                  <a:outerShdw blurRad="38100" dist="38100" dir="2700000" algn="tl">
                    <a:srgbClr val="000000">
                      <a:alpha val="43137"/>
                    </a:srgbClr>
                  </a:outerShdw>
                </a:effectLst>
              </a:rPr>
              <a:t>History </a:t>
            </a:r>
            <a:endParaRPr lang="ar-EG" sz="40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405516255"/>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C429E8A-DB38-4614-A0A5-8F1319C84181}"/>
              </a:ext>
            </a:extLst>
          </p:cNvPr>
          <p:cNvSpPr>
            <a:spLocks noGrp="1"/>
          </p:cNvSpPr>
          <p:nvPr>
            <p:ph sz="quarter" idx="1"/>
          </p:nvPr>
        </p:nvSpPr>
        <p:spPr/>
        <p:txBody>
          <a:bodyPr/>
          <a:lstStyle/>
          <a:p>
            <a:pPr algn="l">
              <a:buNone/>
            </a:pPr>
            <a:r>
              <a:rPr lang="en-US" sz="2800" b="1" u="sng" dirty="0">
                <a:solidFill>
                  <a:srgbClr val="00B050"/>
                </a:solidFill>
              </a:rPr>
              <a:t>Vitals</a:t>
            </a:r>
            <a:r>
              <a:rPr lang="en-US" sz="2400" b="1" u="sng" dirty="0">
                <a:solidFill>
                  <a:srgbClr val="00B050"/>
                </a:solidFill>
              </a:rPr>
              <a:t>:</a:t>
            </a:r>
            <a:endParaRPr lang="en-US" b="1" u="sng" dirty="0">
              <a:solidFill>
                <a:srgbClr val="00B050"/>
              </a:solidFill>
            </a:endParaRPr>
          </a:p>
          <a:p>
            <a:pPr algn="l" rtl="0">
              <a:lnSpc>
                <a:spcPct val="150000"/>
              </a:lnSpc>
            </a:pPr>
            <a:r>
              <a:rPr lang="en-US" sz="2300" b="1" dirty="0">
                <a:solidFill>
                  <a:srgbClr val="002060"/>
                </a:solidFill>
                <a:latin typeface="Times New Roman" pitchFamily="18" charset="0"/>
                <a:cs typeface="Times New Roman" pitchFamily="18" charset="0"/>
              </a:rPr>
              <a:t>Temperature :38.0ºC</a:t>
            </a:r>
          </a:p>
          <a:p>
            <a:pPr algn="l" rtl="0">
              <a:lnSpc>
                <a:spcPct val="150000"/>
              </a:lnSpc>
            </a:pPr>
            <a:r>
              <a:rPr lang="en-US" sz="2300" b="1" dirty="0">
                <a:solidFill>
                  <a:srgbClr val="002060"/>
                </a:solidFill>
                <a:latin typeface="Times New Roman" pitchFamily="18" charset="0"/>
                <a:cs typeface="Times New Roman" pitchFamily="18" charset="0"/>
              </a:rPr>
              <a:t>Heart Rate: 110 beats per minute.</a:t>
            </a:r>
          </a:p>
          <a:p>
            <a:pPr algn="l" rtl="0">
              <a:lnSpc>
                <a:spcPct val="150000"/>
              </a:lnSpc>
            </a:pPr>
            <a:r>
              <a:rPr lang="en-US" sz="2300" b="1" dirty="0">
                <a:solidFill>
                  <a:srgbClr val="002060"/>
                </a:solidFill>
                <a:latin typeface="Times New Roman" pitchFamily="18" charset="0"/>
                <a:cs typeface="Times New Roman" pitchFamily="18" charset="0"/>
              </a:rPr>
              <a:t>Respiratory Rate: 20 breaths per minute.</a:t>
            </a:r>
          </a:p>
          <a:p>
            <a:pPr algn="l" rtl="0">
              <a:lnSpc>
                <a:spcPct val="150000"/>
              </a:lnSpc>
            </a:pPr>
            <a:r>
              <a:rPr lang="en-US" sz="2300" b="1" dirty="0">
                <a:solidFill>
                  <a:srgbClr val="002060"/>
                </a:solidFill>
                <a:latin typeface="Times New Roman" pitchFamily="18" charset="0"/>
                <a:cs typeface="Times New Roman" pitchFamily="18" charset="0"/>
              </a:rPr>
              <a:t>Blood Pressure: 130/75.</a:t>
            </a:r>
          </a:p>
          <a:p>
            <a:pPr algn="l" rtl="0">
              <a:lnSpc>
                <a:spcPct val="150000"/>
              </a:lnSpc>
            </a:pPr>
            <a:r>
              <a:rPr lang="en-US" sz="2300" b="1" dirty="0">
                <a:solidFill>
                  <a:srgbClr val="002060"/>
                </a:solidFill>
                <a:latin typeface="Times New Roman" pitchFamily="18" charset="0"/>
                <a:cs typeface="Times New Roman" pitchFamily="18" charset="0"/>
              </a:rPr>
              <a:t>Oxygen Saturation: 95% on room air.</a:t>
            </a:r>
          </a:p>
        </p:txBody>
      </p:sp>
      <p:sp>
        <p:nvSpPr>
          <p:cNvPr id="5" name="Rectangle 1">
            <a:extLst>
              <a:ext uri="{FF2B5EF4-FFF2-40B4-BE49-F238E27FC236}">
                <a16:creationId xmlns:a16="http://schemas.microsoft.com/office/drawing/2014/main" id="{12A02882-F23A-4833-A736-4699B3F89A65}"/>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eorgia"/>
              <a:ea typeface="+mn-ea"/>
              <a:cs typeface="+mn-cs"/>
            </a:endParaRPr>
          </a:p>
        </p:txBody>
      </p:sp>
      <p:sp>
        <p:nvSpPr>
          <p:cNvPr id="6" name="Title 2"/>
          <p:cNvSpPr>
            <a:spLocks noGrp="1"/>
          </p:cNvSpPr>
          <p:nvPr>
            <p:ph type="title"/>
          </p:nvPr>
        </p:nvSpPr>
        <p:spPr>
          <a:xfrm>
            <a:off x="762000" y="384048"/>
            <a:ext cx="7470648" cy="682752"/>
          </a:xfrm>
        </p:spPr>
        <p:style>
          <a:lnRef idx="3">
            <a:schemeClr val="lt1"/>
          </a:lnRef>
          <a:fillRef idx="1">
            <a:schemeClr val="accent5"/>
          </a:fillRef>
          <a:effectRef idx="1">
            <a:schemeClr val="accent5"/>
          </a:effectRef>
          <a:fontRef idx="minor">
            <a:schemeClr val="lt1"/>
          </a:fontRef>
        </p:style>
        <p:txBody>
          <a:bodyPr>
            <a:noAutofit/>
          </a:bodyPr>
          <a:lstStyle/>
          <a:p>
            <a:r>
              <a:rPr lang="en-US" sz="4000" b="1" dirty="0" smtClean="0">
                <a:solidFill>
                  <a:srgbClr val="C00000"/>
                </a:solidFill>
                <a:effectLst>
                  <a:outerShdw blurRad="38100" dist="38100" dir="2700000" algn="tl">
                    <a:srgbClr val="000000">
                      <a:alpha val="43137"/>
                    </a:srgbClr>
                  </a:outerShdw>
                </a:effectLst>
              </a:rPr>
              <a:t>Examination  </a:t>
            </a:r>
            <a:endParaRPr lang="ar-EG" sz="40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915083307"/>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A706AF0-F74D-407C-959E-DD2ADDB0C75D}"/>
              </a:ext>
            </a:extLst>
          </p:cNvPr>
          <p:cNvSpPr>
            <a:spLocks noGrp="1"/>
          </p:cNvSpPr>
          <p:nvPr>
            <p:ph sz="quarter" idx="1"/>
          </p:nvPr>
        </p:nvSpPr>
        <p:spPr/>
        <p:txBody>
          <a:bodyPr>
            <a:normAutofit/>
          </a:bodyPr>
          <a:lstStyle/>
          <a:p>
            <a:pPr algn="l">
              <a:buNone/>
            </a:pPr>
            <a:r>
              <a:rPr lang="en-US" sz="2800" b="1" u="sng" dirty="0">
                <a:solidFill>
                  <a:srgbClr val="00B050"/>
                </a:solidFill>
                <a:latin typeface="Candara" pitchFamily="34" charset="0"/>
              </a:rPr>
              <a:t>Local Examination</a:t>
            </a:r>
          </a:p>
          <a:p>
            <a:pPr marL="0" marR="0" algn="l" rtl="0">
              <a:lnSpc>
                <a:spcPct val="150000"/>
              </a:lnSpc>
              <a:spcBef>
                <a:spcPts val="0"/>
              </a:spcBef>
              <a:spcAft>
                <a:spcPts val="800"/>
              </a:spcAft>
            </a:pPr>
            <a:r>
              <a:rPr lang="en-US" sz="2400" b="1" u="sng" dirty="0">
                <a:solidFill>
                  <a:srgbClr val="002060"/>
                </a:solidFill>
                <a:latin typeface="Candara" pitchFamily="34" charset="0"/>
                <a:cs typeface="Times New Roman" pitchFamily="18" charset="0"/>
              </a:rPr>
              <a:t>Inspection</a:t>
            </a:r>
            <a:r>
              <a:rPr lang="en-US" sz="2400" b="1" dirty="0">
                <a:solidFill>
                  <a:srgbClr val="002060"/>
                </a:solidFill>
                <a:latin typeface="Candara" pitchFamily="34" charset="0"/>
                <a:cs typeface="Times New Roman" pitchFamily="18" charset="0"/>
              </a:rPr>
              <a:t>: </a:t>
            </a:r>
            <a:r>
              <a:rPr lang="en-US" sz="2400" b="1" dirty="0" smtClean="0">
                <a:solidFill>
                  <a:srgbClr val="002060"/>
                </a:solidFill>
                <a:latin typeface="Candara" pitchFamily="34" charset="0"/>
                <a:cs typeface="Times New Roman" pitchFamily="18" charset="0"/>
              </a:rPr>
              <a:t>Diminished movement </a:t>
            </a:r>
            <a:r>
              <a:rPr lang="en-US" sz="2400" b="1" dirty="0">
                <a:solidFill>
                  <a:srgbClr val="002060"/>
                </a:solidFill>
                <a:latin typeface="Candara" pitchFamily="34" charset="0"/>
                <a:cs typeface="Times New Roman" pitchFamily="18" charset="0"/>
              </a:rPr>
              <a:t>of the  </a:t>
            </a:r>
            <a:r>
              <a:rPr lang="en-US" sz="2400" b="1" dirty="0" smtClean="0">
                <a:solidFill>
                  <a:srgbClr val="002060"/>
                </a:solidFill>
                <a:latin typeface="Candara" pitchFamily="34" charset="0"/>
                <a:cs typeface="Times New Roman" pitchFamily="18" charset="0"/>
              </a:rPr>
              <a:t>left </a:t>
            </a:r>
            <a:r>
              <a:rPr lang="en-US" sz="2400" b="1" dirty="0">
                <a:solidFill>
                  <a:srgbClr val="002060"/>
                </a:solidFill>
                <a:latin typeface="Candara" pitchFamily="34" charset="0"/>
                <a:cs typeface="Times New Roman" pitchFamily="18" charset="0"/>
              </a:rPr>
              <a:t>side.</a:t>
            </a:r>
          </a:p>
          <a:p>
            <a:pPr marL="0" marR="0" algn="l" rtl="0">
              <a:lnSpc>
                <a:spcPct val="150000"/>
              </a:lnSpc>
              <a:spcBef>
                <a:spcPts val="0"/>
              </a:spcBef>
              <a:spcAft>
                <a:spcPts val="800"/>
              </a:spcAft>
            </a:pPr>
            <a:r>
              <a:rPr lang="en-US" sz="2400" b="1" u="sng" dirty="0">
                <a:solidFill>
                  <a:srgbClr val="002060"/>
                </a:solidFill>
                <a:latin typeface="Candara" pitchFamily="34" charset="0"/>
                <a:cs typeface="Times New Roman" pitchFamily="18" charset="0"/>
              </a:rPr>
              <a:t>Palpation</a:t>
            </a:r>
            <a:r>
              <a:rPr lang="en-US" sz="2400" b="1" dirty="0">
                <a:solidFill>
                  <a:srgbClr val="002060"/>
                </a:solidFill>
                <a:latin typeface="Candara" pitchFamily="34" charset="0"/>
                <a:cs typeface="Times New Roman" pitchFamily="18" charset="0"/>
              </a:rPr>
              <a:t> : </a:t>
            </a:r>
            <a:r>
              <a:rPr lang="en-US" sz="2400" b="1" dirty="0" smtClean="0">
                <a:solidFill>
                  <a:srgbClr val="002060"/>
                </a:solidFill>
                <a:latin typeface="Candara" pitchFamily="34" charset="0"/>
                <a:cs typeface="Times New Roman" pitchFamily="18" charset="0"/>
              </a:rPr>
              <a:t>Diminished expansion </a:t>
            </a:r>
            <a:r>
              <a:rPr lang="en-US" sz="2400" b="1" dirty="0">
                <a:solidFill>
                  <a:srgbClr val="002060"/>
                </a:solidFill>
                <a:latin typeface="Candara" pitchFamily="34" charset="0"/>
                <a:cs typeface="Times New Roman" pitchFamily="18" charset="0"/>
              </a:rPr>
              <a:t>of the </a:t>
            </a:r>
            <a:r>
              <a:rPr lang="en-US" sz="2400" b="1" dirty="0" smtClean="0">
                <a:solidFill>
                  <a:srgbClr val="002060"/>
                </a:solidFill>
                <a:latin typeface="Candara" pitchFamily="34" charset="0"/>
                <a:cs typeface="Times New Roman" pitchFamily="18" charset="0"/>
              </a:rPr>
              <a:t>left  </a:t>
            </a:r>
            <a:r>
              <a:rPr lang="en-US" sz="2400" b="1" dirty="0">
                <a:solidFill>
                  <a:srgbClr val="002060"/>
                </a:solidFill>
                <a:latin typeface="Candara" pitchFamily="34" charset="0"/>
                <a:cs typeface="Times New Roman" pitchFamily="18" charset="0"/>
              </a:rPr>
              <a:t>side.</a:t>
            </a:r>
          </a:p>
          <a:p>
            <a:pPr marL="0" marR="0" algn="l" rtl="0">
              <a:lnSpc>
                <a:spcPct val="150000"/>
              </a:lnSpc>
              <a:spcBef>
                <a:spcPts val="0"/>
              </a:spcBef>
              <a:spcAft>
                <a:spcPts val="800"/>
              </a:spcAft>
            </a:pPr>
            <a:r>
              <a:rPr lang="en-US" sz="2400" b="1" u="sng" dirty="0">
                <a:solidFill>
                  <a:srgbClr val="002060"/>
                </a:solidFill>
                <a:latin typeface="Candara" pitchFamily="34" charset="0"/>
                <a:cs typeface="Times New Roman" pitchFamily="18" charset="0"/>
              </a:rPr>
              <a:t>Percussion:</a:t>
            </a:r>
            <a:r>
              <a:rPr lang="en-US" sz="2400" b="1" dirty="0">
                <a:solidFill>
                  <a:srgbClr val="002060"/>
                </a:solidFill>
                <a:latin typeface="Candara" pitchFamily="34" charset="0"/>
                <a:cs typeface="Times New Roman" pitchFamily="18" charset="0"/>
              </a:rPr>
              <a:t> </a:t>
            </a:r>
            <a:r>
              <a:rPr lang="en-US" sz="2400" b="1" dirty="0" smtClean="0">
                <a:solidFill>
                  <a:srgbClr val="002060"/>
                </a:solidFill>
                <a:latin typeface="Candara" pitchFamily="34" charset="0"/>
                <a:cs typeface="Times New Roman" pitchFamily="18" charset="0"/>
              </a:rPr>
              <a:t>impaired note </a:t>
            </a:r>
            <a:r>
              <a:rPr lang="en-US" sz="2400" b="1" dirty="0">
                <a:solidFill>
                  <a:srgbClr val="002060"/>
                </a:solidFill>
                <a:latin typeface="Candara" pitchFamily="34" charset="0"/>
                <a:cs typeface="Times New Roman" pitchFamily="18" charset="0"/>
              </a:rPr>
              <a:t>of the </a:t>
            </a:r>
            <a:r>
              <a:rPr lang="en-US" sz="2400" b="1" dirty="0" smtClean="0">
                <a:solidFill>
                  <a:srgbClr val="002060"/>
                </a:solidFill>
                <a:latin typeface="Candara" pitchFamily="34" charset="0"/>
                <a:cs typeface="Times New Roman" pitchFamily="18" charset="0"/>
              </a:rPr>
              <a:t>left  </a:t>
            </a:r>
            <a:r>
              <a:rPr lang="en-US" sz="2400" b="1" dirty="0">
                <a:solidFill>
                  <a:srgbClr val="002060"/>
                </a:solidFill>
                <a:latin typeface="Candara" pitchFamily="34" charset="0"/>
                <a:cs typeface="Times New Roman" pitchFamily="18" charset="0"/>
              </a:rPr>
              <a:t>supra mammary </a:t>
            </a:r>
          </a:p>
          <a:p>
            <a:pPr marL="0" marR="0" indent="0" algn="l" rtl="0">
              <a:lnSpc>
                <a:spcPct val="150000"/>
              </a:lnSpc>
              <a:spcBef>
                <a:spcPts val="0"/>
              </a:spcBef>
              <a:spcAft>
                <a:spcPts val="800"/>
              </a:spcAft>
              <a:buNone/>
            </a:pPr>
            <a:r>
              <a:rPr lang="en-US" sz="2400" b="1" dirty="0">
                <a:solidFill>
                  <a:srgbClr val="002060"/>
                </a:solidFill>
                <a:latin typeface="Candara" pitchFamily="34" charset="0"/>
                <a:cs typeface="Times New Roman" pitchFamily="18" charset="0"/>
              </a:rPr>
              <a:t>    </a:t>
            </a:r>
            <a:r>
              <a:rPr lang="en-US" sz="2400" b="1" dirty="0" smtClean="0">
                <a:solidFill>
                  <a:srgbClr val="002060"/>
                </a:solidFill>
                <a:latin typeface="Candara" pitchFamily="34" charset="0"/>
                <a:cs typeface="Times New Roman" pitchFamily="18" charset="0"/>
              </a:rPr>
              <a:t>region.</a:t>
            </a:r>
            <a:endParaRPr lang="en-US" sz="2400" b="1" dirty="0">
              <a:solidFill>
                <a:srgbClr val="002060"/>
              </a:solidFill>
              <a:latin typeface="Candara" pitchFamily="34" charset="0"/>
              <a:cs typeface="Times New Roman" pitchFamily="18" charset="0"/>
            </a:endParaRPr>
          </a:p>
          <a:p>
            <a:pPr algn="l" rtl="0">
              <a:lnSpc>
                <a:spcPct val="150000"/>
              </a:lnSpc>
            </a:pPr>
            <a:r>
              <a:rPr lang="en-US" sz="2400" b="1" u="sng" dirty="0">
                <a:solidFill>
                  <a:srgbClr val="002060"/>
                </a:solidFill>
                <a:latin typeface="Candara" pitchFamily="34" charset="0"/>
                <a:cs typeface="Times New Roman" pitchFamily="18" charset="0"/>
              </a:rPr>
              <a:t>Auscultation</a:t>
            </a:r>
            <a:r>
              <a:rPr lang="en-US" sz="2400" b="1" dirty="0">
                <a:solidFill>
                  <a:srgbClr val="002060"/>
                </a:solidFill>
                <a:latin typeface="Candara" pitchFamily="34" charset="0"/>
                <a:cs typeface="Times New Roman" pitchFamily="18" charset="0"/>
              </a:rPr>
              <a:t>: </a:t>
            </a:r>
            <a:r>
              <a:rPr lang="en-US" sz="2400" b="1" dirty="0" smtClean="0">
                <a:solidFill>
                  <a:srgbClr val="002060"/>
                </a:solidFill>
                <a:latin typeface="Candara" pitchFamily="34" charset="0"/>
                <a:cs typeface="Times New Roman" pitchFamily="18" charset="0"/>
              </a:rPr>
              <a:t> Diminished vesicular </a:t>
            </a:r>
            <a:r>
              <a:rPr lang="en-US" sz="2400" b="1" dirty="0">
                <a:solidFill>
                  <a:srgbClr val="002060"/>
                </a:solidFill>
                <a:latin typeface="Candara" pitchFamily="34" charset="0"/>
                <a:cs typeface="Times New Roman" pitchFamily="18" charset="0"/>
              </a:rPr>
              <a:t>breath sound with </a:t>
            </a:r>
            <a:r>
              <a:rPr lang="en-US" sz="2400" b="1" dirty="0" smtClean="0">
                <a:solidFill>
                  <a:srgbClr val="002060"/>
                </a:solidFill>
                <a:latin typeface="Candara" pitchFamily="34" charset="0"/>
                <a:cs typeface="Times New Roman" pitchFamily="18" charset="0"/>
              </a:rPr>
              <a:t>Crepitations on left supra mammary region.</a:t>
            </a:r>
            <a:endParaRPr lang="en-US" sz="2400" b="1" dirty="0">
              <a:solidFill>
                <a:srgbClr val="002060"/>
              </a:solidFill>
              <a:latin typeface="Candara" pitchFamily="34" charset="0"/>
              <a:cs typeface="Times New Roman" pitchFamily="18" charset="0"/>
            </a:endParaRPr>
          </a:p>
          <a:p>
            <a:pPr algn="l"/>
            <a:endParaRPr lang="en-US" sz="2400" b="1" dirty="0">
              <a:latin typeface="Candara" pitchFamily="34" charset="0"/>
            </a:endParaRPr>
          </a:p>
        </p:txBody>
      </p:sp>
      <p:sp>
        <p:nvSpPr>
          <p:cNvPr id="4" name="Title 2"/>
          <p:cNvSpPr>
            <a:spLocks noGrp="1"/>
          </p:cNvSpPr>
          <p:nvPr>
            <p:ph type="title"/>
          </p:nvPr>
        </p:nvSpPr>
        <p:spPr>
          <a:xfrm>
            <a:off x="762000" y="384048"/>
            <a:ext cx="7470648" cy="682752"/>
          </a:xfrm>
        </p:spPr>
        <p:style>
          <a:lnRef idx="3">
            <a:schemeClr val="lt1"/>
          </a:lnRef>
          <a:fillRef idx="1">
            <a:schemeClr val="accent5"/>
          </a:fillRef>
          <a:effectRef idx="1">
            <a:schemeClr val="accent5"/>
          </a:effectRef>
          <a:fontRef idx="minor">
            <a:schemeClr val="lt1"/>
          </a:fontRef>
        </p:style>
        <p:txBody>
          <a:bodyPr>
            <a:noAutofit/>
          </a:bodyPr>
          <a:lstStyle/>
          <a:p>
            <a:r>
              <a:rPr lang="en-US" sz="4000" b="1" dirty="0" smtClean="0">
                <a:solidFill>
                  <a:srgbClr val="C00000"/>
                </a:solidFill>
                <a:effectLst>
                  <a:outerShdw blurRad="38100" dist="38100" dir="2700000" algn="tl">
                    <a:srgbClr val="000000">
                      <a:alpha val="43137"/>
                    </a:srgbClr>
                  </a:outerShdw>
                </a:effectLst>
              </a:rPr>
              <a:t>Examination  </a:t>
            </a:r>
            <a:endParaRPr lang="ar-EG" sz="40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78916859"/>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8601" y="1447800"/>
            <a:ext cx="7772399" cy="4185137"/>
          </a:xfrm>
        </p:spPr>
      </p:pic>
      <p:sp>
        <p:nvSpPr>
          <p:cNvPr id="2" name="Title 1"/>
          <p:cNvSpPr>
            <a:spLocks noGrp="1"/>
          </p:cNvSpPr>
          <p:nvPr>
            <p:ph type="title"/>
          </p:nvPr>
        </p:nvSpPr>
        <p:spPr/>
        <p:txBody>
          <a:bodyPr/>
          <a:lstStyle/>
          <a:p>
            <a:r>
              <a:rPr lang="en-US" b="1" dirty="0" smtClean="0">
                <a:solidFill>
                  <a:srgbClr val="C00000"/>
                </a:solidFill>
                <a:effectLst>
                  <a:outerShdw blurRad="38100" dist="38100" dir="2700000" algn="tl">
                    <a:srgbClr val="000000">
                      <a:alpha val="43137"/>
                    </a:srgbClr>
                  </a:outerShdw>
                </a:effectLst>
              </a:rPr>
              <a:t>What is your diagnosis</a:t>
            </a:r>
            <a:endParaRPr lang="en-US"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82211859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E6CC93C-E814-4A13-B6A4-B3AF4D9E8EF3}"/>
              </a:ext>
            </a:extLst>
          </p:cNvPr>
          <p:cNvSpPr>
            <a:spLocks noGrp="1"/>
          </p:cNvSpPr>
          <p:nvPr>
            <p:ph sz="quarter" idx="1"/>
          </p:nvPr>
        </p:nvSpPr>
        <p:spPr>
          <a:xfrm>
            <a:off x="792480" y="1676400"/>
            <a:ext cx="8503920" cy="4572000"/>
          </a:xfrm>
        </p:spPr>
        <p:txBody>
          <a:bodyPr>
            <a:normAutofit/>
          </a:bodyPr>
          <a:lstStyle/>
          <a:p>
            <a:pPr algn="l">
              <a:buNone/>
            </a:pPr>
            <a:r>
              <a:rPr lang="en-US" sz="2800" b="1" u="sng" dirty="0" smtClean="0">
                <a:solidFill>
                  <a:srgbClr val="00B050"/>
                </a:solidFill>
                <a:latin typeface="Candara" pitchFamily="34" charset="0"/>
                <a:cs typeface="Arial" pitchFamily="34" charset="0"/>
              </a:rPr>
              <a:t>The Most probable diagnosis is ?</a:t>
            </a:r>
          </a:p>
          <a:p>
            <a:pPr marL="457200" indent="-457200">
              <a:lnSpc>
                <a:spcPct val="150000"/>
              </a:lnSpc>
              <a:buFont typeface="+mj-lt"/>
              <a:buAutoNum type="alphaUcPeriod"/>
            </a:pPr>
            <a:r>
              <a:rPr lang="en-US" sz="2400" b="1" dirty="0" smtClean="0">
                <a:solidFill>
                  <a:srgbClr val="002060"/>
                </a:solidFill>
                <a:latin typeface="Arial" pitchFamily="34" charset="0"/>
                <a:cs typeface="Arial" pitchFamily="34" charset="0"/>
              </a:rPr>
              <a:t>Bronchiectasis</a:t>
            </a:r>
          </a:p>
          <a:p>
            <a:pPr marL="457200" indent="-457200">
              <a:lnSpc>
                <a:spcPct val="150000"/>
              </a:lnSpc>
              <a:buFont typeface="+mj-lt"/>
              <a:buAutoNum type="alphaUcPeriod"/>
            </a:pPr>
            <a:r>
              <a:rPr lang="en-US" sz="2400" b="1" dirty="0" smtClean="0">
                <a:solidFill>
                  <a:srgbClr val="002060"/>
                </a:solidFill>
                <a:latin typeface="Arial" pitchFamily="34" charset="0"/>
                <a:cs typeface="Arial" pitchFamily="34" charset="0"/>
              </a:rPr>
              <a:t>COPD</a:t>
            </a:r>
          </a:p>
          <a:p>
            <a:pPr marL="457200" indent="-457200">
              <a:lnSpc>
                <a:spcPct val="150000"/>
              </a:lnSpc>
              <a:buFont typeface="+mj-lt"/>
              <a:buAutoNum type="alphaUcPeriod"/>
            </a:pPr>
            <a:r>
              <a:rPr lang="en-US" sz="2400" b="1" dirty="0" smtClean="0">
                <a:solidFill>
                  <a:srgbClr val="002060"/>
                </a:solidFill>
                <a:latin typeface="Arial" pitchFamily="34" charset="0"/>
                <a:cs typeface="Arial" pitchFamily="34" charset="0"/>
              </a:rPr>
              <a:t>Pneumonia </a:t>
            </a:r>
          </a:p>
          <a:p>
            <a:pPr marL="457200" indent="-457200">
              <a:lnSpc>
                <a:spcPct val="150000"/>
              </a:lnSpc>
              <a:buFont typeface="+mj-lt"/>
              <a:buAutoNum type="alphaUcPeriod"/>
            </a:pPr>
            <a:r>
              <a:rPr lang="en-US" sz="2400" b="1" dirty="0" smtClean="0">
                <a:solidFill>
                  <a:srgbClr val="002060"/>
                </a:solidFill>
                <a:latin typeface="Arial" pitchFamily="34" charset="0"/>
                <a:cs typeface="Arial" pitchFamily="34" charset="0"/>
              </a:rPr>
              <a:t>Tuberculosis</a:t>
            </a:r>
          </a:p>
          <a:p>
            <a:pPr marL="457200" indent="-457200">
              <a:lnSpc>
                <a:spcPct val="150000"/>
              </a:lnSpc>
              <a:buFont typeface="+mj-lt"/>
              <a:buAutoNum type="alphaUcPeriod"/>
            </a:pPr>
            <a:r>
              <a:rPr lang="en-US" sz="2400" b="1" dirty="0" smtClean="0">
                <a:solidFill>
                  <a:srgbClr val="002060"/>
                </a:solidFill>
                <a:latin typeface="Arial" pitchFamily="34" charset="0"/>
                <a:cs typeface="Arial" pitchFamily="34" charset="0"/>
              </a:rPr>
              <a:t>Lung cancer</a:t>
            </a:r>
          </a:p>
        </p:txBody>
      </p:sp>
      <p:sp>
        <p:nvSpPr>
          <p:cNvPr id="4" name="Title 2"/>
          <p:cNvSpPr>
            <a:spLocks noGrp="1"/>
          </p:cNvSpPr>
          <p:nvPr>
            <p:ph type="title"/>
          </p:nvPr>
        </p:nvSpPr>
        <p:spPr>
          <a:xfrm>
            <a:off x="762000" y="384048"/>
            <a:ext cx="7470648" cy="682752"/>
          </a:xfrm>
        </p:spPr>
        <p:style>
          <a:lnRef idx="3">
            <a:schemeClr val="lt1"/>
          </a:lnRef>
          <a:fillRef idx="1">
            <a:schemeClr val="accent5"/>
          </a:fillRef>
          <a:effectRef idx="1">
            <a:schemeClr val="accent5"/>
          </a:effectRef>
          <a:fontRef idx="minor">
            <a:schemeClr val="lt1"/>
          </a:fontRef>
        </p:style>
        <p:txBody>
          <a:bodyPr>
            <a:noAutofit/>
          </a:bodyPr>
          <a:lstStyle/>
          <a:p>
            <a:r>
              <a:rPr lang="en-US" sz="4000" b="1" dirty="0" smtClean="0">
                <a:solidFill>
                  <a:srgbClr val="C00000"/>
                </a:solidFill>
                <a:effectLst>
                  <a:outerShdw blurRad="38100" dist="38100" dir="2700000" algn="tl">
                    <a:srgbClr val="000000">
                      <a:alpha val="43137"/>
                    </a:srgbClr>
                  </a:outerShdw>
                </a:effectLst>
              </a:rPr>
              <a:t>Diagnosis   </a:t>
            </a:r>
            <a:endParaRPr lang="ar-EG" sz="40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106998123"/>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8601" y="1447800"/>
            <a:ext cx="7772399" cy="4185137"/>
          </a:xfrm>
        </p:spPr>
      </p:pic>
      <p:sp>
        <p:nvSpPr>
          <p:cNvPr id="2" name="Title 1"/>
          <p:cNvSpPr>
            <a:spLocks noGrp="1"/>
          </p:cNvSpPr>
          <p:nvPr>
            <p:ph type="title"/>
          </p:nvPr>
        </p:nvSpPr>
        <p:spPr/>
        <p:txBody>
          <a:bodyPr/>
          <a:lstStyle/>
          <a:p>
            <a:pPr algn="l"/>
            <a:r>
              <a:rPr lang="en-US" b="1" dirty="0" smtClean="0">
                <a:solidFill>
                  <a:srgbClr val="C00000"/>
                </a:solidFill>
                <a:effectLst>
                  <a:outerShdw blurRad="38100" dist="38100" dir="2700000" algn="tl">
                    <a:srgbClr val="000000">
                      <a:alpha val="43137"/>
                    </a:srgbClr>
                  </a:outerShdw>
                </a:effectLst>
              </a:rPr>
              <a:t>What is your differential diagnosis</a:t>
            </a:r>
            <a:endParaRPr lang="en-US"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1114488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image" Target="../media/image3.jpeg"/></Relationships>
</file>

<file path=ppt/theme/_rels/theme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image" Target="../media/image3.jpeg"/></Relationships>
</file>

<file path=ppt/theme/_rels/them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image" Target="../media/image3.jpeg"/></Relationships>
</file>

<file path=ppt/theme/_rels/theme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image" Target="../media/image3.jpeg"/></Relationships>
</file>

<file path=ppt/theme/_rels/theme27.xml.rels><?xml version="1.0" encoding="UTF-8" standalone="yes"?>
<Relationships xmlns="http://schemas.openxmlformats.org/package/2006/relationships"><Relationship Id="rId1" Type="http://schemas.openxmlformats.org/officeDocument/2006/relationships/image" Target="../media/image15.jpeg"/></Relationships>
</file>

<file path=ppt/theme/_rels/theme28.xml.rels><?xml version="1.0" encoding="UTF-8" standalone="yes"?>
<Relationships xmlns="http://schemas.openxmlformats.org/package/2006/relationships"><Relationship Id="rId1" Type="http://schemas.openxmlformats.org/officeDocument/2006/relationships/image" Target="../media/image7.jpeg"/></Relationships>
</file>

<file path=ppt/theme/_rels/them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image" Target="../media/image3.jpeg"/></Relationships>
</file>

<file path=ppt/theme/_rels/theme3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image" Target="../media/image20.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7.jpeg"/></Relationships>
</file>

<file path=ppt/theme/theme1.xml><?xml version="1.0" encoding="utf-8"?>
<a:theme xmlns:a="http://schemas.openxmlformats.org/drawingml/2006/main" name="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Mountain Top">
  <a:themeElements>
    <a:clrScheme name="Mountain Top 5">
      <a:dk1>
        <a:srgbClr val="463416"/>
      </a:dk1>
      <a:lt1>
        <a:srgbClr val="FFFFFF"/>
      </a:lt1>
      <a:dk2>
        <a:srgbClr val="003399"/>
      </a:dk2>
      <a:lt2>
        <a:srgbClr val="E3E3FF"/>
      </a:lt2>
      <a:accent1>
        <a:srgbClr val="3399FF"/>
      </a:accent1>
      <a:accent2>
        <a:srgbClr val="33CCCC"/>
      </a:accent2>
      <a:accent3>
        <a:srgbClr val="AAADCA"/>
      </a:accent3>
      <a:accent4>
        <a:srgbClr val="DADADA"/>
      </a:accent4>
      <a:accent5>
        <a:srgbClr val="ADCAFF"/>
      </a:accent5>
      <a:accent6>
        <a:srgbClr val="2DB9B9"/>
      </a:accent6>
      <a:hlink>
        <a:srgbClr val="00FFCC"/>
      </a:hlink>
      <a:folHlink>
        <a:srgbClr val="808000"/>
      </a:folHlink>
    </a:clrScheme>
    <a:fontScheme name="Mountain Top">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1" eaLnBrk="1" fontAlgn="base" latinLnBrk="0" hangingPunct="1">
          <a:lnSpc>
            <a:spcPct val="100000"/>
          </a:lnSpc>
          <a:spcBef>
            <a:spcPct val="0"/>
          </a:spcBef>
          <a:spcAft>
            <a:spcPct val="0"/>
          </a:spcAft>
          <a:buClrTx/>
          <a:buSzTx/>
          <a:buFontTx/>
          <a:buNone/>
          <a:tabLst/>
          <a:defRPr kumimoji="0" lang="ar-SA" sz="1800" b="0"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1" eaLnBrk="1" fontAlgn="base" latinLnBrk="0" hangingPunct="1">
          <a:lnSpc>
            <a:spcPct val="100000"/>
          </a:lnSpc>
          <a:spcBef>
            <a:spcPct val="0"/>
          </a:spcBef>
          <a:spcAft>
            <a:spcPct val="0"/>
          </a:spcAft>
          <a:buClrTx/>
          <a:buSzTx/>
          <a:buFontTx/>
          <a:buNone/>
          <a:tabLst/>
          <a:defRPr kumimoji="0" lang="ar-SA" sz="1800" b="0" i="0" u="none" strike="noStrike" cap="none" normalizeH="0" baseline="0" smtClean="0">
            <a:ln>
              <a:noFill/>
            </a:ln>
            <a:solidFill>
              <a:schemeClr val="tx1"/>
            </a:solidFill>
            <a:effectLst/>
            <a:latin typeface="Arial" pitchFamily="34" charset="0"/>
            <a:cs typeface="Arial" pitchFamily="34" charset="0"/>
          </a:defRPr>
        </a:defPPr>
      </a:lstStyle>
    </a:lnDef>
  </a:objectDefaults>
  <a:extraClrSchemeLst>
    <a:extraClrScheme>
      <a:clrScheme name="Mountain Top 1">
        <a:dk1>
          <a:srgbClr val="4C3A1C"/>
        </a:dk1>
        <a:lt1>
          <a:srgbClr val="FFFFFF"/>
        </a:lt1>
        <a:dk2>
          <a:srgbClr val="993300"/>
        </a:dk2>
        <a:lt2>
          <a:srgbClr val="CCAA00"/>
        </a:lt2>
        <a:accent1>
          <a:srgbClr val="FF3300"/>
        </a:accent1>
        <a:accent2>
          <a:srgbClr val="9E6600"/>
        </a:accent2>
        <a:accent3>
          <a:srgbClr val="CAADAA"/>
        </a:accent3>
        <a:accent4>
          <a:srgbClr val="DADADA"/>
        </a:accent4>
        <a:accent5>
          <a:srgbClr val="FFADAA"/>
        </a:accent5>
        <a:accent6>
          <a:srgbClr val="8F5C00"/>
        </a:accent6>
        <a:hlink>
          <a:srgbClr val="FFCC00"/>
        </a:hlink>
        <a:folHlink>
          <a:srgbClr val="F7DC97"/>
        </a:folHlink>
      </a:clrScheme>
      <a:clrMap bg1="dk2" tx1="lt1" bg2="dk1" tx2="lt2" accent1="accent1" accent2="accent2" accent3="accent3" accent4="accent4" accent5="accent5" accent6="accent6" hlink="hlink" folHlink="folHlink"/>
    </a:extraClrScheme>
    <a:extraClrScheme>
      <a:clrScheme name="Mountain Top 2">
        <a:dk1>
          <a:srgbClr val="3D0058"/>
        </a:dk1>
        <a:lt1>
          <a:srgbClr val="FFFFFF"/>
        </a:lt1>
        <a:dk2>
          <a:srgbClr val="9188B0"/>
        </a:dk2>
        <a:lt2>
          <a:srgbClr val="DDE0DC"/>
        </a:lt2>
        <a:accent1>
          <a:srgbClr val="FFCC00"/>
        </a:accent1>
        <a:accent2>
          <a:srgbClr val="4C3D78"/>
        </a:accent2>
        <a:accent3>
          <a:srgbClr val="C7C3D4"/>
        </a:accent3>
        <a:accent4>
          <a:srgbClr val="DADADA"/>
        </a:accent4>
        <a:accent5>
          <a:srgbClr val="FFE2AA"/>
        </a:accent5>
        <a:accent6>
          <a:srgbClr val="44366C"/>
        </a:accent6>
        <a:hlink>
          <a:srgbClr val="743D78"/>
        </a:hlink>
        <a:folHlink>
          <a:srgbClr val="CC9900"/>
        </a:folHlink>
      </a:clrScheme>
      <a:clrMap bg1="dk2" tx1="lt1" bg2="dk1" tx2="lt2" accent1="accent1" accent2="accent2" accent3="accent3" accent4="accent4" accent5="accent5" accent6="accent6" hlink="hlink" folHlink="folHlink"/>
    </a:extraClrScheme>
    <a:extraClrScheme>
      <a:clrScheme name="Mountain Top 3">
        <a:dk1>
          <a:srgbClr val="10104C"/>
        </a:dk1>
        <a:lt1>
          <a:srgbClr val="FFFFFF"/>
        </a:lt1>
        <a:dk2>
          <a:srgbClr val="003366"/>
        </a:dk2>
        <a:lt2>
          <a:srgbClr val="C6CCD4"/>
        </a:lt2>
        <a:accent1>
          <a:srgbClr val="33CCFF"/>
        </a:accent1>
        <a:accent2>
          <a:srgbClr val="5B5B8D"/>
        </a:accent2>
        <a:accent3>
          <a:srgbClr val="AAADB8"/>
        </a:accent3>
        <a:accent4>
          <a:srgbClr val="DADADA"/>
        </a:accent4>
        <a:accent5>
          <a:srgbClr val="ADE2FF"/>
        </a:accent5>
        <a:accent6>
          <a:srgbClr val="52527F"/>
        </a:accent6>
        <a:hlink>
          <a:srgbClr val="4529AB"/>
        </a:hlink>
        <a:folHlink>
          <a:srgbClr val="00CC99"/>
        </a:folHlink>
      </a:clrScheme>
      <a:clrMap bg1="dk2" tx1="lt1" bg2="dk1" tx2="lt2" accent1="accent1" accent2="accent2" accent3="accent3" accent4="accent4" accent5="accent5" accent6="accent6" hlink="hlink" folHlink="folHlink"/>
    </a:extraClrScheme>
    <a:extraClrScheme>
      <a:clrScheme name="Mountain Top 4">
        <a:dk1>
          <a:srgbClr val="B0C8CA"/>
        </a:dk1>
        <a:lt1>
          <a:srgbClr val="FFFFFF"/>
        </a:lt1>
        <a:dk2>
          <a:srgbClr val="000099"/>
        </a:dk2>
        <a:lt2>
          <a:srgbClr val="FFFFFF"/>
        </a:lt2>
        <a:accent1>
          <a:srgbClr val="89C4FF"/>
        </a:accent1>
        <a:accent2>
          <a:srgbClr val="00008C"/>
        </a:accent2>
        <a:accent3>
          <a:srgbClr val="AAAACA"/>
        </a:accent3>
        <a:accent4>
          <a:srgbClr val="DADADA"/>
        </a:accent4>
        <a:accent5>
          <a:srgbClr val="C4DEFF"/>
        </a:accent5>
        <a:accent6>
          <a:srgbClr val="00007E"/>
        </a:accent6>
        <a:hlink>
          <a:srgbClr val="6666FF"/>
        </a:hlink>
        <a:folHlink>
          <a:srgbClr val="C0C0C0"/>
        </a:folHlink>
      </a:clrScheme>
      <a:clrMap bg1="dk2" tx1="lt1" bg2="dk1" tx2="lt2" accent1="accent1" accent2="accent2" accent3="accent3" accent4="accent4" accent5="accent5" accent6="accent6" hlink="hlink" folHlink="folHlink"/>
    </a:extraClrScheme>
    <a:extraClrScheme>
      <a:clrScheme name="Mountain Top 5">
        <a:dk1>
          <a:srgbClr val="463416"/>
        </a:dk1>
        <a:lt1>
          <a:srgbClr val="FFFFFF"/>
        </a:lt1>
        <a:dk2>
          <a:srgbClr val="003399"/>
        </a:dk2>
        <a:lt2>
          <a:srgbClr val="E3E3FF"/>
        </a:lt2>
        <a:accent1>
          <a:srgbClr val="3399FF"/>
        </a:accent1>
        <a:accent2>
          <a:srgbClr val="33CCCC"/>
        </a:accent2>
        <a:accent3>
          <a:srgbClr val="AAADCA"/>
        </a:accent3>
        <a:accent4>
          <a:srgbClr val="DADADA"/>
        </a:accent4>
        <a:accent5>
          <a:srgbClr val="ADCAFF"/>
        </a:accent5>
        <a:accent6>
          <a:srgbClr val="2DB9B9"/>
        </a:accent6>
        <a:hlink>
          <a:srgbClr val="00FFCC"/>
        </a:hlink>
        <a:folHlink>
          <a:srgbClr val="808000"/>
        </a:folHlink>
      </a:clrScheme>
      <a:clrMap bg1="dk2" tx1="lt1" bg2="dk1" tx2="lt2" accent1="accent1" accent2="accent2" accent3="accent3" accent4="accent4" accent5="accent5" accent6="accent6" hlink="hlink" folHlink="folHlink"/>
    </a:extraClrScheme>
    <a:extraClrScheme>
      <a:clrScheme name="Mountain Top 6">
        <a:dk1>
          <a:srgbClr val="809296"/>
        </a:dk1>
        <a:lt1>
          <a:srgbClr val="FFFFFF"/>
        </a:lt1>
        <a:dk2>
          <a:srgbClr val="6699FF"/>
        </a:dk2>
        <a:lt2>
          <a:srgbClr val="B3EDFF"/>
        </a:lt2>
        <a:accent1>
          <a:srgbClr val="FF9933"/>
        </a:accent1>
        <a:accent2>
          <a:srgbClr val="FFAA99"/>
        </a:accent2>
        <a:accent3>
          <a:srgbClr val="B8CAFF"/>
        </a:accent3>
        <a:accent4>
          <a:srgbClr val="DADADA"/>
        </a:accent4>
        <a:accent5>
          <a:srgbClr val="FFCAAD"/>
        </a:accent5>
        <a:accent6>
          <a:srgbClr val="E79A8A"/>
        </a:accent6>
        <a:hlink>
          <a:srgbClr val="FFCFAB"/>
        </a:hlink>
        <a:folHlink>
          <a:srgbClr val="CC9900"/>
        </a:folHlink>
      </a:clrScheme>
      <a:clrMap bg1="dk2" tx1="lt1" bg2="dk1" tx2="lt2" accent1="accent1" accent2="accent2" accent3="accent3" accent4="accent4" accent5="accent5" accent6="accent6" hlink="hlink" folHlink="folHlink"/>
    </a:extraClrScheme>
    <a:extraClrScheme>
      <a:clrScheme name="Mountain Top 7">
        <a:dk1>
          <a:srgbClr val="006666"/>
        </a:dk1>
        <a:lt1>
          <a:srgbClr val="FFFFFF"/>
        </a:lt1>
        <a:dk2>
          <a:srgbClr val="85D1E3"/>
        </a:dk2>
        <a:lt2>
          <a:srgbClr val="CCFFFF"/>
        </a:lt2>
        <a:accent1>
          <a:srgbClr val="FFCC00"/>
        </a:accent1>
        <a:accent2>
          <a:srgbClr val="00CC99"/>
        </a:accent2>
        <a:accent3>
          <a:srgbClr val="C2E5EF"/>
        </a:accent3>
        <a:accent4>
          <a:srgbClr val="DADADA"/>
        </a:accent4>
        <a:accent5>
          <a:srgbClr val="FFE2AA"/>
        </a:accent5>
        <a:accent6>
          <a:srgbClr val="00B98A"/>
        </a:accent6>
        <a:hlink>
          <a:srgbClr val="0099FF"/>
        </a:hlink>
        <a:folHlink>
          <a:srgbClr val="6600CC"/>
        </a:folHlink>
      </a:clrScheme>
      <a:clrMap bg1="dk2" tx1="lt1" bg2="dk1" tx2="lt2" accent1="accent1" accent2="accent2" accent3="accent3" accent4="accent4" accent5="accent5" accent6="accent6" hlink="hlink" folHlink="folHlink"/>
    </a:extraClrScheme>
    <a:extraClrScheme>
      <a:clrScheme name="Mountain Top 8">
        <a:dk1>
          <a:srgbClr val="404B3D"/>
        </a:dk1>
        <a:lt1>
          <a:srgbClr val="FFFFFF"/>
        </a:lt1>
        <a:dk2>
          <a:srgbClr val="A7A491"/>
        </a:dk2>
        <a:lt2>
          <a:srgbClr val="CCD0CA"/>
        </a:lt2>
        <a:accent1>
          <a:srgbClr val="33CCCC"/>
        </a:accent1>
        <a:accent2>
          <a:srgbClr val="004E4C"/>
        </a:accent2>
        <a:accent3>
          <a:srgbClr val="D0CFC7"/>
        </a:accent3>
        <a:accent4>
          <a:srgbClr val="DADADA"/>
        </a:accent4>
        <a:accent5>
          <a:srgbClr val="ADE2E2"/>
        </a:accent5>
        <a:accent6>
          <a:srgbClr val="004644"/>
        </a:accent6>
        <a:hlink>
          <a:srgbClr val="477781"/>
        </a:hlink>
        <a:folHlink>
          <a:srgbClr val="85CC74"/>
        </a:folHlink>
      </a:clrScheme>
      <a:clrMap bg1="dk2" tx1="lt1" bg2="dk1" tx2="lt2" accent1="accent1" accent2="accent2" accent3="accent3" accent4="accent4" accent5="accent5" accent6="accent6" hlink="hlink" folHlink="folHlink"/>
    </a:extraClrScheme>
    <a:extraClrScheme>
      <a:clrScheme name="Mountain Top 9">
        <a:dk1>
          <a:srgbClr val="000000"/>
        </a:dk1>
        <a:lt1>
          <a:srgbClr val="FFFFFF"/>
        </a:lt1>
        <a:dk2>
          <a:srgbClr val="FFFFAF"/>
        </a:dk2>
        <a:lt2>
          <a:srgbClr val="676597"/>
        </a:lt2>
        <a:accent1>
          <a:srgbClr val="66CCFF"/>
        </a:accent1>
        <a:accent2>
          <a:srgbClr val="CCECFF"/>
        </a:accent2>
        <a:accent3>
          <a:srgbClr val="FFFFFF"/>
        </a:accent3>
        <a:accent4>
          <a:srgbClr val="000000"/>
        </a:accent4>
        <a:accent5>
          <a:srgbClr val="B8E2FF"/>
        </a:accent5>
        <a:accent6>
          <a:srgbClr val="B9D6E7"/>
        </a:accent6>
        <a:hlink>
          <a:srgbClr val="6600CC"/>
        </a:hlink>
        <a:folHlink>
          <a:srgbClr val="00808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1_Mountain Top">
  <a:themeElements>
    <a:clrScheme name="Mountain Top 5">
      <a:dk1>
        <a:srgbClr val="463416"/>
      </a:dk1>
      <a:lt1>
        <a:srgbClr val="FFFFFF"/>
      </a:lt1>
      <a:dk2>
        <a:srgbClr val="003399"/>
      </a:dk2>
      <a:lt2>
        <a:srgbClr val="E3E3FF"/>
      </a:lt2>
      <a:accent1>
        <a:srgbClr val="3399FF"/>
      </a:accent1>
      <a:accent2>
        <a:srgbClr val="33CCCC"/>
      </a:accent2>
      <a:accent3>
        <a:srgbClr val="AAADCA"/>
      </a:accent3>
      <a:accent4>
        <a:srgbClr val="DADADA"/>
      </a:accent4>
      <a:accent5>
        <a:srgbClr val="ADCAFF"/>
      </a:accent5>
      <a:accent6>
        <a:srgbClr val="2DB9B9"/>
      </a:accent6>
      <a:hlink>
        <a:srgbClr val="00FFCC"/>
      </a:hlink>
      <a:folHlink>
        <a:srgbClr val="808000"/>
      </a:folHlink>
    </a:clrScheme>
    <a:fontScheme name="Mountain Top">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1" eaLnBrk="1" fontAlgn="base" latinLnBrk="0" hangingPunct="1">
          <a:lnSpc>
            <a:spcPct val="100000"/>
          </a:lnSpc>
          <a:spcBef>
            <a:spcPct val="0"/>
          </a:spcBef>
          <a:spcAft>
            <a:spcPct val="0"/>
          </a:spcAft>
          <a:buClrTx/>
          <a:buSzTx/>
          <a:buFontTx/>
          <a:buNone/>
          <a:tabLst/>
          <a:defRPr kumimoji="0" lang="ar-SA" sz="1800" b="0"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1" eaLnBrk="1" fontAlgn="base" latinLnBrk="0" hangingPunct="1">
          <a:lnSpc>
            <a:spcPct val="100000"/>
          </a:lnSpc>
          <a:spcBef>
            <a:spcPct val="0"/>
          </a:spcBef>
          <a:spcAft>
            <a:spcPct val="0"/>
          </a:spcAft>
          <a:buClrTx/>
          <a:buSzTx/>
          <a:buFontTx/>
          <a:buNone/>
          <a:tabLst/>
          <a:defRPr kumimoji="0" lang="ar-SA" sz="1800" b="0" i="0" u="none" strike="noStrike" cap="none" normalizeH="0" baseline="0" smtClean="0">
            <a:ln>
              <a:noFill/>
            </a:ln>
            <a:solidFill>
              <a:schemeClr val="tx1"/>
            </a:solidFill>
            <a:effectLst/>
            <a:latin typeface="Arial" pitchFamily="34" charset="0"/>
            <a:cs typeface="Arial" pitchFamily="34" charset="0"/>
          </a:defRPr>
        </a:defPPr>
      </a:lstStyle>
    </a:lnDef>
  </a:objectDefaults>
  <a:extraClrSchemeLst>
    <a:extraClrScheme>
      <a:clrScheme name="Mountain Top 1">
        <a:dk1>
          <a:srgbClr val="4C3A1C"/>
        </a:dk1>
        <a:lt1>
          <a:srgbClr val="FFFFFF"/>
        </a:lt1>
        <a:dk2>
          <a:srgbClr val="993300"/>
        </a:dk2>
        <a:lt2>
          <a:srgbClr val="CCAA00"/>
        </a:lt2>
        <a:accent1>
          <a:srgbClr val="FF3300"/>
        </a:accent1>
        <a:accent2>
          <a:srgbClr val="9E6600"/>
        </a:accent2>
        <a:accent3>
          <a:srgbClr val="CAADAA"/>
        </a:accent3>
        <a:accent4>
          <a:srgbClr val="DADADA"/>
        </a:accent4>
        <a:accent5>
          <a:srgbClr val="FFADAA"/>
        </a:accent5>
        <a:accent6>
          <a:srgbClr val="8F5C00"/>
        </a:accent6>
        <a:hlink>
          <a:srgbClr val="FFCC00"/>
        </a:hlink>
        <a:folHlink>
          <a:srgbClr val="F7DC97"/>
        </a:folHlink>
      </a:clrScheme>
      <a:clrMap bg1="dk2" tx1="lt1" bg2="dk1" tx2="lt2" accent1="accent1" accent2="accent2" accent3="accent3" accent4="accent4" accent5="accent5" accent6="accent6" hlink="hlink" folHlink="folHlink"/>
    </a:extraClrScheme>
    <a:extraClrScheme>
      <a:clrScheme name="Mountain Top 2">
        <a:dk1>
          <a:srgbClr val="3D0058"/>
        </a:dk1>
        <a:lt1>
          <a:srgbClr val="FFFFFF"/>
        </a:lt1>
        <a:dk2>
          <a:srgbClr val="9188B0"/>
        </a:dk2>
        <a:lt2>
          <a:srgbClr val="DDE0DC"/>
        </a:lt2>
        <a:accent1>
          <a:srgbClr val="FFCC00"/>
        </a:accent1>
        <a:accent2>
          <a:srgbClr val="4C3D78"/>
        </a:accent2>
        <a:accent3>
          <a:srgbClr val="C7C3D4"/>
        </a:accent3>
        <a:accent4>
          <a:srgbClr val="DADADA"/>
        </a:accent4>
        <a:accent5>
          <a:srgbClr val="FFE2AA"/>
        </a:accent5>
        <a:accent6>
          <a:srgbClr val="44366C"/>
        </a:accent6>
        <a:hlink>
          <a:srgbClr val="743D78"/>
        </a:hlink>
        <a:folHlink>
          <a:srgbClr val="CC9900"/>
        </a:folHlink>
      </a:clrScheme>
      <a:clrMap bg1="dk2" tx1="lt1" bg2="dk1" tx2="lt2" accent1="accent1" accent2="accent2" accent3="accent3" accent4="accent4" accent5="accent5" accent6="accent6" hlink="hlink" folHlink="folHlink"/>
    </a:extraClrScheme>
    <a:extraClrScheme>
      <a:clrScheme name="Mountain Top 3">
        <a:dk1>
          <a:srgbClr val="10104C"/>
        </a:dk1>
        <a:lt1>
          <a:srgbClr val="FFFFFF"/>
        </a:lt1>
        <a:dk2>
          <a:srgbClr val="003366"/>
        </a:dk2>
        <a:lt2>
          <a:srgbClr val="C6CCD4"/>
        </a:lt2>
        <a:accent1>
          <a:srgbClr val="33CCFF"/>
        </a:accent1>
        <a:accent2>
          <a:srgbClr val="5B5B8D"/>
        </a:accent2>
        <a:accent3>
          <a:srgbClr val="AAADB8"/>
        </a:accent3>
        <a:accent4>
          <a:srgbClr val="DADADA"/>
        </a:accent4>
        <a:accent5>
          <a:srgbClr val="ADE2FF"/>
        </a:accent5>
        <a:accent6>
          <a:srgbClr val="52527F"/>
        </a:accent6>
        <a:hlink>
          <a:srgbClr val="4529AB"/>
        </a:hlink>
        <a:folHlink>
          <a:srgbClr val="00CC99"/>
        </a:folHlink>
      </a:clrScheme>
      <a:clrMap bg1="dk2" tx1="lt1" bg2="dk1" tx2="lt2" accent1="accent1" accent2="accent2" accent3="accent3" accent4="accent4" accent5="accent5" accent6="accent6" hlink="hlink" folHlink="folHlink"/>
    </a:extraClrScheme>
    <a:extraClrScheme>
      <a:clrScheme name="Mountain Top 4">
        <a:dk1>
          <a:srgbClr val="B0C8CA"/>
        </a:dk1>
        <a:lt1>
          <a:srgbClr val="FFFFFF"/>
        </a:lt1>
        <a:dk2>
          <a:srgbClr val="000099"/>
        </a:dk2>
        <a:lt2>
          <a:srgbClr val="FFFFFF"/>
        </a:lt2>
        <a:accent1>
          <a:srgbClr val="89C4FF"/>
        </a:accent1>
        <a:accent2>
          <a:srgbClr val="00008C"/>
        </a:accent2>
        <a:accent3>
          <a:srgbClr val="AAAACA"/>
        </a:accent3>
        <a:accent4>
          <a:srgbClr val="DADADA"/>
        </a:accent4>
        <a:accent5>
          <a:srgbClr val="C4DEFF"/>
        </a:accent5>
        <a:accent6>
          <a:srgbClr val="00007E"/>
        </a:accent6>
        <a:hlink>
          <a:srgbClr val="6666FF"/>
        </a:hlink>
        <a:folHlink>
          <a:srgbClr val="C0C0C0"/>
        </a:folHlink>
      </a:clrScheme>
      <a:clrMap bg1="dk2" tx1="lt1" bg2="dk1" tx2="lt2" accent1="accent1" accent2="accent2" accent3="accent3" accent4="accent4" accent5="accent5" accent6="accent6" hlink="hlink" folHlink="folHlink"/>
    </a:extraClrScheme>
    <a:extraClrScheme>
      <a:clrScheme name="Mountain Top 5">
        <a:dk1>
          <a:srgbClr val="463416"/>
        </a:dk1>
        <a:lt1>
          <a:srgbClr val="FFFFFF"/>
        </a:lt1>
        <a:dk2>
          <a:srgbClr val="003399"/>
        </a:dk2>
        <a:lt2>
          <a:srgbClr val="E3E3FF"/>
        </a:lt2>
        <a:accent1>
          <a:srgbClr val="3399FF"/>
        </a:accent1>
        <a:accent2>
          <a:srgbClr val="33CCCC"/>
        </a:accent2>
        <a:accent3>
          <a:srgbClr val="AAADCA"/>
        </a:accent3>
        <a:accent4>
          <a:srgbClr val="DADADA"/>
        </a:accent4>
        <a:accent5>
          <a:srgbClr val="ADCAFF"/>
        </a:accent5>
        <a:accent6>
          <a:srgbClr val="2DB9B9"/>
        </a:accent6>
        <a:hlink>
          <a:srgbClr val="00FFCC"/>
        </a:hlink>
        <a:folHlink>
          <a:srgbClr val="808000"/>
        </a:folHlink>
      </a:clrScheme>
      <a:clrMap bg1="dk2" tx1="lt1" bg2="dk1" tx2="lt2" accent1="accent1" accent2="accent2" accent3="accent3" accent4="accent4" accent5="accent5" accent6="accent6" hlink="hlink" folHlink="folHlink"/>
    </a:extraClrScheme>
    <a:extraClrScheme>
      <a:clrScheme name="Mountain Top 6">
        <a:dk1>
          <a:srgbClr val="809296"/>
        </a:dk1>
        <a:lt1>
          <a:srgbClr val="FFFFFF"/>
        </a:lt1>
        <a:dk2>
          <a:srgbClr val="6699FF"/>
        </a:dk2>
        <a:lt2>
          <a:srgbClr val="B3EDFF"/>
        </a:lt2>
        <a:accent1>
          <a:srgbClr val="FF9933"/>
        </a:accent1>
        <a:accent2>
          <a:srgbClr val="FFAA99"/>
        </a:accent2>
        <a:accent3>
          <a:srgbClr val="B8CAFF"/>
        </a:accent3>
        <a:accent4>
          <a:srgbClr val="DADADA"/>
        </a:accent4>
        <a:accent5>
          <a:srgbClr val="FFCAAD"/>
        </a:accent5>
        <a:accent6>
          <a:srgbClr val="E79A8A"/>
        </a:accent6>
        <a:hlink>
          <a:srgbClr val="FFCFAB"/>
        </a:hlink>
        <a:folHlink>
          <a:srgbClr val="CC9900"/>
        </a:folHlink>
      </a:clrScheme>
      <a:clrMap bg1="dk2" tx1="lt1" bg2="dk1" tx2="lt2" accent1="accent1" accent2="accent2" accent3="accent3" accent4="accent4" accent5="accent5" accent6="accent6" hlink="hlink" folHlink="folHlink"/>
    </a:extraClrScheme>
    <a:extraClrScheme>
      <a:clrScheme name="Mountain Top 7">
        <a:dk1>
          <a:srgbClr val="006666"/>
        </a:dk1>
        <a:lt1>
          <a:srgbClr val="FFFFFF"/>
        </a:lt1>
        <a:dk2>
          <a:srgbClr val="85D1E3"/>
        </a:dk2>
        <a:lt2>
          <a:srgbClr val="CCFFFF"/>
        </a:lt2>
        <a:accent1>
          <a:srgbClr val="FFCC00"/>
        </a:accent1>
        <a:accent2>
          <a:srgbClr val="00CC99"/>
        </a:accent2>
        <a:accent3>
          <a:srgbClr val="C2E5EF"/>
        </a:accent3>
        <a:accent4>
          <a:srgbClr val="DADADA"/>
        </a:accent4>
        <a:accent5>
          <a:srgbClr val="FFE2AA"/>
        </a:accent5>
        <a:accent6>
          <a:srgbClr val="00B98A"/>
        </a:accent6>
        <a:hlink>
          <a:srgbClr val="0099FF"/>
        </a:hlink>
        <a:folHlink>
          <a:srgbClr val="6600CC"/>
        </a:folHlink>
      </a:clrScheme>
      <a:clrMap bg1="dk2" tx1="lt1" bg2="dk1" tx2="lt2" accent1="accent1" accent2="accent2" accent3="accent3" accent4="accent4" accent5="accent5" accent6="accent6" hlink="hlink" folHlink="folHlink"/>
    </a:extraClrScheme>
    <a:extraClrScheme>
      <a:clrScheme name="Mountain Top 8">
        <a:dk1>
          <a:srgbClr val="404B3D"/>
        </a:dk1>
        <a:lt1>
          <a:srgbClr val="FFFFFF"/>
        </a:lt1>
        <a:dk2>
          <a:srgbClr val="A7A491"/>
        </a:dk2>
        <a:lt2>
          <a:srgbClr val="CCD0CA"/>
        </a:lt2>
        <a:accent1>
          <a:srgbClr val="33CCCC"/>
        </a:accent1>
        <a:accent2>
          <a:srgbClr val="004E4C"/>
        </a:accent2>
        <a:accent3>
          <a:srgbClr val="D0CFC7"/>
        </a:accent3>
        <a:accent4>
          <a:srgbClr val="DADADA"/>
        </a:accent4>
        <a:accent5>
          <a:srgbClr val="ADE2E2"/>
        </a:accent5>
        <a:accent6>
          <a:srgbClr val="004644"/>
        </a:accent6>
        <a:hlink>
          <a:srgbClr val="477781"/>
        </a:hlink>
        <a:folHlink>
          <a:srgbClr val="85CC74"/>
        </a:folHlink>
      </a:clrScheme>
      <a:clrMap bg1="dk2" tx1="lt1" bg2="dk1" tx2="lt2" accent1="accent1" accent2="accent2" accent3="accent3" accent4="accent4" accent5="accent5" accent6="accent6" hlink="hlink" folHlink="folHlink"/>
    </a:extraClrScheme>
    <a:extraClrScheme>
      <a:clrScheme name="Mountain Top 9">
        <a:dk1>
          <a:srgbClr val="000000"/>
        </a:dk1>
        <a:lt1>
          <a:srgbClr val="FFFFFF"/>
        </a:lt1>
        <a:dk2>
          <a:srgbClr val="FFFFAF"/>
        </a:dk2>
        <a:lt2>
          <a:srgbClr val="676597"/>
        </a:lt2>
        <a:accent1>
          <a:srgbClr val="66CCFF"/>
        </a:accent1>
        <a:accent2>
          <a:srgbClr val="CCECFF"/>
        </a:accent2>
        <a:accent3>
          <a:srgbClr val="FFFFFF"/>
        </a:accent3>
        <a:accent4>
          <a:srgbClr val="000000"/>
        </a:accent4>
        <a:accent5>
          <a:srgbClr val="B8E2FF"/>
        </a:accent5>
        <a:accent6>
          <a:srgbClr val="B9D6E7"/>
        </a:accent6>
        <a:hlink>
          <a:srgbClr val="6600CC"/>
        </a:hlink>
        <a:folHlink>
          <a:srgbClr val="00808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7_Symbicort Branded">
  <a:themeElements>
    <a:clrScheme name="Custom 4">
      <a:dk1>
        <a:srgbClr val="5C5C5C"/>
      </a:dk1>
      <a:lt1>
        <a:sysClr val="window" lastClr="FFFFFF"/>
      </a:lt1>
      <a:dk2>
        <a:srgbClr val="1F497D"/>
      </a:dk2>
      <a:lt2>
        <a:srgbClr val="EEECE1"/>
      </a:lt2>
      <a:accent1>
        <a:srgbClr val="E41F13"/>
      </a:accent1>
      <a:accent2>
        <a:srgbClr val="C0CD06"/>
      </a:accent2>
      <a:accent3>
        <a:srgbClr val="98C6EA"/>
      </a:accent3>
      <a:accent4>
        <a:srgbClr val="5C5C5C"/>
      </a:accent4>
      <a:accent5>
        <a:srgbClr val="999999"/>
      </a:accent5>
      <a:accent6>
        <a:srgbClr val="BEBEBE"/>
      </a:accent6>
      <a:hlink>
        <a:srgbClr val="E41F13"/>
      </a:hlink>
      <a:folHlink>
        <a:srgbClr val="0081C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2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3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2_Median">
  <a:themeElements>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19.xml><?xml version="1.0" encoding="utf-8"?>
<a:theme xmlns:a="http://schemas.openxmlformats.org/drawingml/2006/main" name="3_Median">
  <a:themeElements>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Median">
  <a:themeElements>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0.xml><?xml version="1.0" encoding="utf-8"?>
<a:theme xmlns:a="http://schemas.openxmlformats.org/drawingml/2006/main" name="4_Median">
  <a:themeElements>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1.xml><?xml version="1.0" encoding="utf-8"?>
<a:theme xmlns:a="http://schemas.openxmlformats.org/drawingml/2006/main" name="Depth">
  <a:themeElements>
    <a:clrScheme name="Depth">
      <a:dk1>
        <a:sysClr val="windowText" lastClr="000000"/>
      </a:dk1>
      <a:lt1>
        <a:sysClr val="window" lastClr="FFFFFF"/>
      </a:lt1>
      <a:dk2>
        <a:srgbClr val="455F51"/>
      </a:dk2>
      <a:lt2>
        <a:srgbClr val="94D7E4"/>
      </a:lt2>
      <a:accent1>
        <a:srgbClr val="41AEBD"/>
      </a:accent1>
      <a:accent2>
        <a:srgbClr val="97E9D5"/>
      </a:accent2>
      <a:accent3>
        <a:srgbClr val="A2CF49"/>
      </a:accent3>
      <a:accent4>
        <a:srgbClr val="608F3D"/>
      </a:accent4>
      <a:accent5>
        <a:srgbClr val="F4DE3A"/>
      </a:accent5>
      <a:accent6>
        <a:srgbClr val="FCB11C"/>
      </a:accent6>
      <a:hlink>
        <a:srgbClr val="FBCA98"/>
      </a:hlink>
      <a:folHlink>
        <a:srgbClr val="D3B86D"/>
      </a:folHlink>
    </a:clrScheme>
    <a:fontScheme name="Depth">
      <a:maj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pth" id="{7BEAFC2A-325C-49C4-AC08-2B765DA903F9}" vid="{1735E755-43E6-43AA-ABA2-C989ECC79AF5}"/>
    </a:ext>
  </a:extLst>
</a:theme>
</file>

<file path=ppt/theme/theme2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2_Office Theme">
  <a:themeElements>
    <a:clrScheme name="Verve">
      <a:dk1>
        <a:sysClr val="windowText" lastClr="000000"/>
      </a:dk1>
      <a:lt1>
        <a:sysClr val="window" lastClr="FFFFFF"/>
      </a:lt1>
      <a:dk2>
        <a:srgbClr val="666666"/>
      </a:dk2>
      <a:lt2>
        <a:srgbClr val="D2D2D2"/>
      </a:lt2>
      <a:accent1>
        <a:srgbClr val="FF388C"/>
      </a:accent1>
      <a:accent2>
        <a:srgbClr val="E40059"/>
      </a:accent2>
      <a:accent3>
        <a:srgbClr val="9C007F"/>
      </a:accent3>
      <a:accent4>
        <a:srgbClr val="68007F"/>
      </a:accent4>
      <a:accent5>
        <a:srgbClr val="005BD3"/>
      </a:accent5>
      <a:accent6>
        <a:srgbClr val="00349E"/>
      </a:accent6>
      <a:hlink>
        <a:srgbClr val="17BBFD"/>
      </a:hlink>
      <a:folHlink>
        <a:srgbClr val="FF79C2"/>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3_Office Theme">
  <a:themeElements>
    <a:clrScheme name="Verve">
      <a:dk1>
        <a:sysClr val="windowText" lastClr="000000"/>
      </a:dk1>
      <a:lt1>
        <a:sysClr val="window" lastClr="FFFFFF"/>
      </a:lt1>
      <a:dk2>
        <a:srgbClr val="666666"/>
      </a:dk2>
      <a:lt2>
        <a:srgbClr val="D2D2D2"/>
      </a:lt2>
      <a:accent1>
        <a:srgbClr val="FF388C"/>
      </a:accent1>
      <a:accent2>
        <a:srgbClr val="E40059"/>
      </a:accent2>
      <a:accent3>
        <a:srgbClr val="9C007F"/>
      </a:accent3>
      <a:accent4>
        <a:srgbClr val="68007F"/>
      </a:accent4>
      <a:accent5>
        <a:srgbClr val="005BD3"/>
      </a:accent5>
      <a:accent6>
        <a:srgbClr val="00349E"/>
      </a:accent6>
      <a:hlink>
        <a:srgbClr val="17BBFD"/>
      </a:hlink>
      <a:folHlink>
        <a:srgbClr val="FF79C2"/>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4_Office Theme">
  <a:themeElements>
    <a:clrScheme name="Verve">
      <a:dk1>
        <a:sysClr val="windowText" lastClr="000000"/>
      </a:dk1>
      <a:lt1>
        <a:sysClr val="window" lastClr="FFFFFF"/>
      </a:lt1>
      <a:dk2>
        <a:srgbClr val="666666"/>
      </a:dk2>
      <a:lt2>
        <a:srgbClr val="D2D2D2"/>
      </a:lt2>
      <a:accent1>
        <a:srgbClr val="FF388C"/>
      </a:accent1>
      <a:accent2>
        <a:srgbClr val="E40059"/>
      </a:accent2>
      <a:accent3>
        <a:srgbClr val="9C007F"/>
      </a:accent3>
      <a:accent4>
        <a:srgbClr val="68007F"/>
      </a:accent4>
      <a:accent5>
        <a:srgbClr val="005BD3"/>
      </a:accent5>
      <a:accent6>
        <a:srgbClr val="00349E"/>
      </a:accent6>
      <a:hlink>
        <a:srgbClr val="17BBFD"/>
      </a:hlink>
      <a:folHlink>
        <a:srgbClr val="FF79C2"/>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Pulse">
  <a:themeElements>
    <a:clrScheme name="Pulse 2">
      <a:dk1>
        <a:srgbClr val="000000"/>
      </a:dk1>
      <a:lt1>
        <a:srgbClr val="FFFFFF"/>
      </a:lt1>
      <a:dk2>
        <a:srgbClr val="000066"/>
      </a:dk2>
      <a:lt2>
        <a:srgbClr val="FFCC66"/>
      </a:lt2>
      <a:accent1>
        <a:srgbClr val="FF9900"/>
      </a:accent1>
      <a:accent2>
        <a:srgbClr val="000044"/>
      </a:accent2>
      <a:accent3>
        <a:srgbClr val="AAAAB8"/>
      </a:accent3>
      <a:accent4>
        <a:srgbClr val="DADADA"/>
      </a:accent4>
      <a:accent5>
        <a:srgbClr val="FFCAAA"/>
      </a:accent5>
      <a:accent6>
        <a:srgbClr val="00003D"/>
      </a:accent6>
      <a:hlink>
        <a:srgbClr val="3366FF"/>
      </a:hlink>
      <a:folHlink>
        <a:srgbClr val="FFFF00"/>
      </a:folHlink>
    </a:clrScheme>
    <a:fontScheme name="Pulse">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2400" b="0" i="0" u="none" strike="noStrike" cap="none" normalizeH="0" baseline="0" smtClean="0">
            <a:ln>
              <a:noFill/>
            </a:ln>
            <a:solidFill>
              <a:schemeClr val="tx1"/>
            </a:solidFill>
            <a:effectLst/>
            <a:latin typeface="Times New Roman" panose="02020603050405020304"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2400" b="0" i="0" u="none" strike="noStrike" cap="none" normalizeH="0" baseline="0" smtClean="0">
            <a:ln>
              <a:noFill/>
            </a:ln>
            <a:solidFill>
              <a:schemeClr val="tx1"/>
            </a:solidFill>
            <a:effectLst/>
            <a:latin typeface="Times New Roman" panose="02020603050405020304" pitchFamily="18" charset="0"/>
          </a:defRPr>
        </a:defPPr>
      </a:lstStyle>
    </a:lnDef>
  </a:objectDefaults>
  <a:extraClrSchemeLst>
    <a:extraClrScheme>
      <a:clrScheme name="Pulse 1">
        <a:dk1>
          <a:srgbClr val="000000"/>
        </a:dk1>
        <a:lt1>
          <a:srgbClr val="CCECFF"/>
        </a:lt1>
        <a:dk2>
          <a:srgbClr val="000066"/>
        </a:dk2>
        <a:lt2>
          <a:srgbClr val="6699FF"/>
        </a:lt2>
        <a:accent1>
          <a:srgbClr val="33CCCC"/>
        </a:accent1>
        <a:accent2>
          <a:srgbClr val="0099FF"/>
        </a:accent2>
        <a:accent3>
          <a:srgbClr val="E2F4FF"/>
        </a:accent3>
        <a:accent4>
          <a:srgbClr val="000000"/>
        </a:accent4>
        <a:accent5>
          <a:srgbClr val="ADE2E2"/>
        </a:accent5>
        <a:accent6>
          <a:srgbClr val="008AE7"/>
        </a:accent6>
        <a:hlink>
          <a:srgbClr val="FFFFFF"/>
        </a:hlink>
        <a:folHlink>
          <a:srgbClr val="3366FF"/>
        </a:folHlink>
      </a:clrScheme>
      <a:clrMap bg1="lt1" tx1="dk1" bg2="lt2" tx2="dk2" accent1="accent1" accent2="accent2" accent3="accent3" accent4="accent4" accent5="accent5" accent6="accent6" hlink="hlink" folHlink="folHlink"/>
    </a:extraClrScheme>
    <a:extraClrScheme>
      <a:clrScheme name="Pulse 2">
        <a:dk1>
          <a:srgbClr val="000000"/>
        </a:dk1>
        <a:lt1>
          <a:srgbClr val="FFFFFF"/>
        </a:lt1>
        <a:dk2>
          <a:srgbClr val="000066"/>
        </a:dk2>
        <a:lt2>
          <a:srgbClr val="FFCC66"/>
        </a:lt2>
        <a:accent1>
          <a:srgbClr val="FF9900"/>
        </a:accent1>
        <a:accent2>
          <a:srgbClr val="000044"/>
        </a:accent2>
        <a:accent3>
          <a:srgbClr val="AAAAB8"/>
        </a:accent3>
        <a:accent4>
          <a:srgbClr val="DADADA"/>
        </a:accent4>
        <a:accent5>
          <a:srgbClr val="FFCAAA"/>
        </a:accent5>
        <a:accent6>
          <a:srgbClr val="00003D"/>
        </a:accent6>
        <a:hlink>
          <a:srgbClr val="3366FF"/>
        </a:hlink>
        <a:folHlink>
          <a:srgbClr val="FFFF00"/>
        </a:folHlink>
      </a:clrScheme>
      <a:clrMap bg1="dk2" tx1="lt1" bg2="dk1" tx2="lt2" accent1="accent1" accent2="accent2" accent3="accent3" accent4="accent4" accent5="accent5" accent6="accent6" hlink="hlink" folHlink="folHlink"/>
    </a:extraClrScheme>
    <a:extraClrScheme>
      <a:clrScheme name="Pulse 3">
        <a:dk1>
          <a:srgbClr val="000000"/>
        </a:dk1>
        <a:lt1>
          <a:srgbClr val="FFFFFF"/>
        </a:lt1>
        <a:dk2>
          <a:srgbClr val="000000"/>
        </a:dk2>
        <a:lt2>
          <a:srgbClr val="DDDDDD"/>
        </a:lt2>
        <a:accent1>
          <a:srgbClr val="CBCBCB"/>
        </a:accent1>
        <a:accent2>
          <a:srgbClr val="C0C0C0"/>
        </a:accent2>
        <a:accent3>
          <a:srgbClr val="FFFFFF"/>
        </a:accent3>
        <a:accent4>
          <a:srgbClr val="000000"/>
        </a:accent4>
        <a:accent5>
          <a:srgbClr val="E2E2E2"/>
        </a:accent5>
        <a:accent6>
          <a:srgbClr val="AEAEAE"/>
        </a:accent6>
        <a:hlink>
          <a:srgbClr val="4D4D4D"/>
        </a:hlink>
        <a:folHlink>
          <a:srgbClr val="868686"/>
        </a:folHlink>
      </a:clrScheme>
      <a:clrMap bg1="lt1" tx1="dk1" bg2="lt2" tx2="dk2" accent1="accent1" accent2="accent2" accent3="accent3" accent4="accent4" accent5="accent5" accent6="accent6" hlink="hlink" folHlink="folHlink"/>
    </a:extraClrScheme>
    <a:extraClrScheme>
      <a:clrScheme name="Pulse 4">
        <a:dk1>
          <a:srgbClr val="000000"/>
        </a:dk1>
        <a:lt1>
          <a:srgbClr val="FFFFFF"/>
        </a:lt1>
        <a:dk2>
          <a:srgbClr val="660033"/>
        </a:dk2>
        <a:lt2>
          <a:srgbClr val="FFCC66"/>
        </a:lt2>
        <a:accent1>
          <a:srgbClr val="FF9900"/>
        </a:accent1>
        <a:accent2>
          <a:srgbClr val="440022"/>
        </a:accent2>
        <a:accent3>
          <a:srgbClr val="B8AAAD"/>
        </a:accent3>
        <a:accent4>
          <a:srgbClr val="DADADA"/>
        </a:accent4>
        <a:accent5>
          <a:srgbClr val="FFCAAA"/>
        </a:accent5>
        <a:accent6>
          <a:srgbClr val="3D001E"/>
        </a:accent6>
        <a:hlink>
          <a:srgbClr val="B20059"/>
        </a:hlink>
        <a:folHlink>
          <a:srgbClr val="FF6699"/>
        </a:folHlink>
      </a:clrScheme>
      <a:clrMap bg1="dk2" tx1="lt1" bg2="dk1" tx2="lt2" accent1="accent1" accent2="accent2" accent3="accent3" accent4="accent4" accent5="accent5" accent6="accent6" hlink="hlink" folHlink="folHlink"/>
    </a:extraClrScheme>
    <a:extraClrScheme>
      <a:clrScheme name="Pulse 5">
        <a:dk1>
          <a:srgbClr val="000000"/>
        </a:dk1>
        <a:lt1>
          <a:srgbClr val="FFFFFF"/>
        </a:lt1>
        <a:dk2>
          <a:srgbClr val="663300"/>
        </a:dk2>
        <a:lt2>
          <a:srgbClr val="FFCC66"/>
        </a:lt2>
        <a:accent1>
          <a:srgbClr val="FF9900"/>
        </a:accent1>
        <a:accent2>
          <a:srgbClr val="361B00"/>
        </a:accent2>
        <a:accent3>
          <a:srgbClr val="B8ADAA"/>
        </a:accent3>
        <a:accent4>
          <a:srgbClr val="DADADA"/>
        </a:accent4>
        <a:accent5>
          <a:srgbClr val="FFCAAA"/>
        </a:accent5>
        <a:accent6>
          <a:srgbClr val="301700"/>
        </a:accent6>
        <a:hlink>
          <a:srgbClr val="996633"/>
        </a:hlink>
        <a:folHlink>
          <a:srgbClr val="FF6699"/>
        </a:folHlink>
      </a:clrScheme>
      <a:clrMap bg1="dk2" tx1="lt1" bg2="dk1" tx2="lt2" accent1="accent1" accent2="accent2" accent3="accent3" accent4="accent4" accent5="accent5" accent6="accent6" hlink="hlink" folHlink="folHlink"/>
    </a:extraClrScheme>
    <a:extraClrScheme>
      <a:clrScheme name="Pulse 6">
        <a:dk1>
          <a:srgbClr val="000000"/>
        </a:dk1>
        <a:lt1>
          <a:srgbClr val="FFFFFF"/>
        </a:lt1>
        <a:dk2>
          <a:srgbClr val="003300"/>
        </a:dk2>
        <a:lt2>
          <a:srgbClr val="FFCC66"/>
        </a:lt2>
        <a:accent1>
          <a:srgbClr val="CC9900"/>
        </a:accent1>
        <a:accent2>
          <a:srgbClr val="001600"/>
        </a:accent2>
        <a:accent3>
          <a:srgbClr val="AAADAA"/>
        </a:accent3>
        <a:accent4>
          <a:srgbClr val="DADADA"/>
        </a:accent4>
        <a:accent5>
          <a:srgbClr val="E2CAAA"/>
        </a:accent5>
        <a:accent6>
          <a:srgbClr val="001300"/>
        </a:accent6>
        <a:hlink>
          <a:srgbClr val="006600"/>
        </a:hlink>
        <a:folHlink>
          <a:srgbClr val="009999"/>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Module">
  <a:themeElements>
    <a:clrScheme name="Module">
      <a:dk1>
        <a:sysClr val="windowText" lastClr="000000"/>
      </a:dk1>
      <a:lt1>
        <a:sysClr val="window" lastClr="FFFFFF"/>
      </a:lt1>
      <a:dk2>
        <a:srgbClr val="5A6378"/>
      </a:dk2>
      <a:lt2>
        <a:srgbClr val="D4D4D6"/>
      </a:lt2>
      <a:accent1>
        <a:srgbClr val="F0AD00"/>
      </a:accent1>
      <a:accent2>
        <a:srgbClr val="60B5CC"/>
      </a:accent2>
      <a:accent3>
        <a:srgbClr val="E66C7D"/>
      </a:accent3>
      <a:accent4>
        <a:srgbClr val="6BB76D"/>
      </a:accent4>
      <a:accent5>
        <a:srgbClr val="E88651"/>
      </a:accent5>
      <a:accent6>
        <a:srgbClr val="C64847"/>
      </a:accent6>
      <a:hlink>
        <a:srgbClr val="168BBA"/>
      </a:hlink>
      <a:folHlink>
        <a:srgbClr val="680000"/>
      </a:folHlink>
    </a:clrScheme>
    <a:fontScheme name="Module">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r:embed="rId1">
            <a:duotone>
              <a:schemeClr val="phClr">
                <a:shade val="75000"/>
                <a:satMod val="105000"/>
              </a:schemeClr>
              <a:schemeClr val="phClr">
                <a:tint val="95000"/>
                <a:satMod val="105000"/>
              </a:schemeClr>
            </a:duotone>
          </a:blip>
          <a:tile tx="0" ty="0" sx="38000" sy="38000" flip="none" algn="tl"/>
        </a:blipFill>
      </a:bgFillStyleLst>
    </a:fmtScheme>
  </a:themeElements>
  <a:objectDefaults/>
  <a:extraClrSchemeLst/>
</a:theme>
</file>

<file path=ppt/theme/theme28.xml><?xml version="1.0" encoding="utf-8"?>
<a:theme xmlns:a="http://schemas.openxmlformats.org/drawingml/2006/main" name="1_Concours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Concourse">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65000"/>
                <a:satMod val="300000"/>
              </a:schemeClr>
            </a:gs>
          </a:gsLst>
          <a:path path="circle">
            <a:fillToRect l="65000" b="98000"/>
          </a:path>
        </a:gradFill>
        <a:blipFill>
          <a:blip xmlns:r="http://schemas.openxmlformats.org/officeDocument/2006/relationships" r:embed="rId1">
            <a:duotone>
              <a:schemeClr val="phClr">
                <a:shade val="60000"/>
                <a:satMod val="110000"/>
              </a:schemeClr>
              <a:schemeClr val="phClr">
                <a:tint val="95000"/>
              </a:schemeClr>
            </a:duotone>
          </a:blip>
          <a:tile tx="0" ty="0" sx="50000" sy="50000" flip="none" algn="tl"/>
        </a:blipFill>
      </a:bgFillStyleLst>
    </a:fmtScheme>
  </a:themeElements>
  <a:objectDefaults/>
  <a:extraClrSchemeLst/>
</a:theme>
</file>

<file path=ppt/theme/theme29.xml><?xml version="1.0" encoding="utf-8"?>
<a:theme xmlns:a="http://schemas.openxmlformats.org/drawingml/2006/main" name="2_Hb-rich 300">
  <a:themeElements>
    <a:clrScheme name="Hb-rich 300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Hb-rich 30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3200" b="0" i="0" u="none" strike="noStrike" cap="none" normalizeH="0" baseline="0" smtClean="0">
            <a:ln>
              <a:noFill/>
            </a:ln>
            <a:solidFill>
              <a:srgbClr val="FFFF00"/>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3200" b="0" i="0" u="none" strike="noStrike" cap="none" normalizeH="0" baseline="0" smtClean="0">
            <a:ln>
              <a:noFill/>
            </a:ln>
            <a:solidFill>
              <a:srgbClr val="FFFF00"/>
            </a:solidFill>
            <a:effectLst/>
            <a:latin typeface="Arial" charset="0"/>
          </a:defRPr>
        </a:defPPr>
      </a:lstStyle>
    </a:lnDef>
  </a:objectDefaults>
  <a:extraClrSchemeLst>
    <a:extraClrScheme>
      <a:clrScheme name="Hb-rich 300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Hb-rich 300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Hb-rich 300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Hb-rich 300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Hb-rich 300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Hb-rich 300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Hb-rich 300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Median">
  <a:themeElements>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30.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1.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2.xml><?xml version="1.0" encoding="utf-8"?>
<a:theme xmlns:a="http://schemas.openxmlformats.org/drawingml/2006/main" name="Civic">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00A3D6"/>
      </a:hlink>
      <a:folHlink>
        <a:srgbClr val="694F07"/>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33.xml><?xml version="1.0" encoding="utf-8"?>
<a:theme xmlns:a="http://schemas.openxmlformats.org/drawingml/2006/main" name="Soaring">
  <a:themeElements>
    <a:clrScheme name="Soaring 1">
      <a:dk1>
        <a:srgbClr val="000000"/>
      </a:dk1>
      <a:lt1>
        <a:srgbClr val="FFFFFF"/>
      </a:lt1>
      <a:dk2>
        <a:srgbClr val="0000FF"/>
      </a:dk2>
      <a:lt2>
        <a:srgbClr val="FFCC66"/>
      </a:lt2>
      <a:accent1>
        <a:srgbClr val="00FFFF"/>
      </a:accent1>
      <a:accent2>
        <a:srgbClr val="3366FF"/>
      </a:accent2>
      <a:accent3>
        <a:srgbClr val="AAAAFF"/>
      </a:accent3>
      <a:accent4>
        <a:srgbClr val="DADADA"/>
      </a:accent4>
      <a:accent5>
        <a:srgbClr val="AAFFFF"/>
      </a:accent5>
      <a:accent6>
        <a:srgbClr val="2D5CE7"/>
      </a:accent6>
      <a:hlink>
        <a:srgbClr val="FF0033"/>
      </a:hlink>
      <a:folHlink>
        <a:srgbClr val="FFFF00"/>
      </a:folHlink>
    </a:clrScheme>
    <a:fontScheme name="Soaring">
      <a:majorFont>
        <a:latin typeface="Arial"/>
        <a:ea typeface="SimSun"/>
        <a:cs typeface=""/>
      </a:majorFont>
      <a:minorFont>
        <a:latin typeface="Times New Roman"/>
        <a:ea typeface="SimSun"/>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zh-CN" altLang="en-US" sz="2400" b="0" i="0" u="none" strike="noStrike" cap="none" normalizeH="0" baseline="0" smtClean="0">
            <a:ln>
              <a:noFill/>
            </a:ln>
            <a:solidFill>
              <a:schemeClr val="tx1"/>
            </a:solidFill>
            <a:effectLst/>
            <a:latin typeface="Times New Roman" pitchFamily="18" charset="0"/>
            <a:ea typeface="SimSun"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zh-CN" altLang="en-US" sz="2400" b="0" i="0" u="none" strike="noStrike" cap="none" normalizeH="0" baseline="0" smtClean="0">
            <a:ln>
              <a:noFill/>
            </a:ln>
            <a:solidFill>
              <a:schemeClr val="tx1"/>
            </a:solidFill>
            <a:effectLst/>
            <a:latin typeface="Times New Roman" pitchFamily="18" charset="0"/>
            <a:ea typeface="SimSun" pitchFamily="2" charset="-122"/>
          </a:defRPr>
        </a:defPPr>
      </a:lstStyle>
    </a:lnDef>
  </a:objectDefaults>
  <a:extraClrSchemeLst>
    <a:extraClrScheme>
      <a:clrScheme name="Soaring 1">
        <a:dk1>
          <a:srgbClr val="000000"/>
        </a:dk1>
        <a:lt1>
          <a:srgbClr val="FFFFFF"/>
        </a:lt1>
        <a:dk2>
          <a:srgbClr val="0000FF"/>
        </a:dk2>
        <a:lt2>
          <a:srgbClr val="FFCC66"/>
        </a:lt2>
        <a:accent1>
          <a:srgbClr val="00FFFF"/>
        </a:accent1>
        <a:accent2>
          <a:srgbClr val="3366FF"/>
        </a:accent2>
        <a:accent3>
          <a:srgbClr val="AAAAFF"/>
        </a:accent3>
        <a:accent4>
          <a:srgbClr val="DADADA"/>
        </a:accent4>
        <a:accent5>
          <a:srgbClr val="AAFFFF"/>
        </a:accent5>
        <a:accent6>
          <a:srgbClr val="2D5CE7"/>
        </a:accent6>
        <a:hlink>
          <a:srgbClr val="FF0033"/>
        </a:hlink>
        <a:folHlink>
          <a:srgbClr val="FFFF00"/>
        </a:folHlink>
      </a:clrScheme>
      <a:clrMap bg1="dk2" tx1="lt1" bg2="dk1" tx2="lt2" accent1="accent1" accent2="accent2" accent3="accent3" accent4="accent4" accent5="accent5" accent6="accent6" hlink="hlink" folHlink="folHlink"/>
    </a:extraClrScheme>
    <a:extraClrScheme>
      <a:clrScheme name="Soaring 2">
        <a:dk1>
          <a:srgbClr val="000000"/>
        </a:dk1>
        <a:lt1>
          <a:srgbClr val="FFFFFF"/>
        </a:lt1>
        <a:dk2>
          <a:srgbClr val="000000"/>
        </a:dk2>
        <a:lt2>
          <a:srgbClr val="CCECFF"/>
        </a:lt2>
        <a:accent1>
          <a:srgbClr val="6699FF"/>
        </a:accent1>
        <a:accent2>
          <a:srgbClr val="66CCFF"/>
        </a:accent2>
        <a:accent3>
          <a:srgbClr val="FFFFFF"/>
        </a:accent3>
        <a:accent4>
          <a:srgbClr val="000000"/>
        </a:accent4>
        <a:accent5>
          <a:srgbClr val="B8CAFF"/>
        </a:accent5>
        <a:accent6>
          <a:srgbClr val="5CB9E7"/>
        </a:accent6>
        <a:hlink>
          <a:srgbClr val="CC99FF"/>
        </a:hlink>
        <a:folHlink>
          <a:srgbClr val="00CCCC"/>
        </a:folHlink>
      </a:clrScheme>
      <a:clrMap bg1="lt1" tx1="dk1" bg2="lt2" tx2="dk2" accent1="accent1" accent2="accent2" accent3="accent3" accent4="accent4" accent5="accent5" accent6="accent6" hlink="hlink" folHlink="folHlink"/>
    </a:extraClrScheme>
    <a:extraClrScheme>
      <a:clrScheme name="Soaring 3">
        <a:dk1>
          <a:srgbClr val="000000"/>
        </a:dk1>
        <a:lt1>
          <a:srgbClr val="FFFFFF"/>
        </a:lt1>
        <a:dk2>
          <a:srgbClr val="000000"/>
        </a:dk2>
        <a:lt2>
          <a:srgbClr val="FFFFFF"/>
        </a:lt2>
        <a:accent1>
          <a:srgbClr val="CBCBCB"/>
        </a:accent1>
        <a:accent2>
          <a:srgbClr val="EAEAEA"/>
        </a:accent2>
        <a:accent3>
          <a:srgbClr val="FFFFFF"/>
        </a:accent3>
        <a:accent4>
          <a:srgbClr val="000000"/>
        </a:accent4>
        <a:accent5>
          <a:srgbClr val="E2E2E2"/>
        </a:accent5>
        <a:accent6>
          <a:srgbClr val="D4D4D4"/>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Soaring 4">
        <a:dk1>
          <a:srgbClr val="000000"/>
        </a:dk1>
        <a:lt1>
          <a:srgbClr val="FFFFFF"/>
        </a:lt1>
        <a:dk2>
          <a:srgbClr val="008080"/>
        </a:dk2>
        <a:lt2>
          <a:srgbClr val="FFCC66"/>
        </a:lt2>
        <a:accent1>
          <a:srgbClr val="0099CC"/>
        </a:accent1>
        <a:accent2>
          <a:srgbClr val="009999"/>
        </a:accent2>
        <a:accent3>
          <a:srgbClr val="AAC0C0"/>
        </a:accent3>
        <a:accent4>
          <a:srgbClr val="DADADA"/>
        </a:accent4>
        <a:accent5>
          <a:srgbClr val="AACAE2"/>
        </a:accent5>
        <a:accent6>
          <a:srgbClr val="008A8A"/>
        </a:accent6>
        <a:hlink>
          <a:srgbClr val="6600CC"/>
        </a:hlink>
        <a:folHlink>
          <a:srgbClr val="FFFF00"/>
        </a:folHlink>
      </a:clrScheme>
      <a:clrMap bg1="dk2" tx1="lt1" bg2="dk1" tx2="lt2" accent1="accent1" accent2="accent2" accent3="accent3" accent4="accent4" accent5="accent5" accent6="accent6" hlink="hlink" folHlink="folHlink"/>
    </a:extraClrScheme>
    <a:extraClrScheme>
      <a:clrScheme name="Soaring 5">
        <a:dk1>
          <a:srgbClr val="000000"/>
        </a:dk1>
        <a:lt1>
          <a:srgbClr val="FFFFFF"/>
        </a:lt1>
        <a:dk2>
          <a:srgbClr val="993300"/>
        </a:dk2>
        <a:lt2>
          <a:srgbClr val="FFCC66"/>
        </a:lt2>
        <a:accent1>
          <a:srgbClr val="FF6633"/>
        </a:accent1>
        <a:accent2>
          <a:srgbClr val="CC6600"/>
        </a:accent2>
        <a:accent3>
          <a:srgbClr val="CAADAA"/>
        </a:accent3>
        <a:accent4>
          <a:srgbClr val="DADADA"/>
        </a:accent4>
        <a:accent5>
          <a:srgbClr val="FFB8AD"/>
        </a:accent5>
        <a:accent6>
          <a:srgbClr val="B95C00"/>
        </a:accent6>
        <a:hlink>
          <a:srgbClr val="CC0000"/>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6_Office Theme">
  <a:themeElements>
    <a:clrScheme name="Verve">
      <a:dk1>
        <a:sysClr val="windowText" lastClr="000000"/>
      </a:dk1>
      <a:lt1>
        <a:sysClr val="window" lastClr="FFFFFF"/>
      </a:lt1>
      <a:dk2>
        <a:srgbClr val="666666"/>
      </a:dk2>
      <a:lt2>
        <a:srgbClr val="D2D2D2"/>
      </a:lt2>
      <a:accent1>
        <a:srgbClr val="FF388C"/>
      </a:accent1>
      <a:accent2>
        <a:srgbClr val="E40059"/>
      </a:accent2>
      <a:accent3>
        <a:srgbClr val="9C007F"/>
      </a:accent3>
      <a:accent4>
        <a:srgbClr val="68007F"/>
      </a:accent4>
      <a:accent5>
        <a:srgbClr val="005BD3"/>
      </a:accent5>
      <a:accent6>
        <a:srgbClr val="00349E"/>
      </a:accent6>
      <a:hlink>
        <a:srgbClr val="17BBFD"/>
      </a:hlink>
      <a:folHlink>
        <a:srgbClr val="FF79C2"/>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5.xml><?xml version="1.0" encoding="utf-8"?>
<a:theme xmlns:a="http://schemas.openxmlformats.org/drawingml/2006/main" name="7_Office Theme">
  <a:themeElements>
    <a:clrScheme name="Verve">
      <a:dk1>
        <a:sysClr val="windowText" lastClr="000000"/>
      </a:dk1>
      <a:lt1>
        <a:sysClr val="window" lastClr="FFFFFF"/>
      </a:lt1>
      <a:dk2>
        <a:srgbClr val="666666"/>
      </a:dk2>
      <a:lt2>
        <a:srgbClr val="D2D2D2"/>
      </a:lt2>
      <a:accent1>
        <a:srgbClr val="FF388C"/>
      </a:accent1>
      <a:accent2>
        <a:srgbClr val="E40059"/>
      </a:accent2>
      <a:accent3>
        <a:srgbClr val="9C007F"/>
      </a:accent3>
      <a:accent4>
        <a:srgbClr val="68007F"/>
      </a:accent4>
      <a:accent5>
        <a:srgbClr val="005BD3"/>
      </a:accent5>
      <a:accent6>
        <a:srgbClr val="00349E"/>
      </a:accent6>
      <a:hlink>
        <a:srgbClr val="17BBFD"/>
      </a:hlink>
      <a:folHlink>
        <a:srgbClr val="FF79C2"/>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6.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7.xml><?xml version="1.0" encoding="utf-8"?>
<a:theme xmlns:a="http://schemas.openxmlformats.org/drawingml/2006/main" name="نسق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6_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7_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7.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1" eaLnBrk="1" fontAlgn="base" latinLnBrk="0" hangingPunct="1">
          <a:lnSpc>
            <a:spcPct val="100000"/>
          </a:lnSpc>
          <a:spcBef>
            <a:spcPct val="0"/>
          </a:spcBef>
          <a:spcAft>
            <a:spcPct val="0"/>
          </a:spcAft>
          <a:buClrTx/>
          <a:buSzTx/>
          <a:buFontTx/>
          <a:buNone/>
          <a:tabLst/>
          <a:defRPr kumimoji="0" lang="ar-SA"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1" eaLnBrk="1" fontAlgn="base" latinLnBrk="0" hangingPunct="1">
          <a:lnSpc>
            <a:spcPct val="100000"/>
          </a:lnSpc>
          <a:spcBef>
            <a:spcPct val="0"/>
          </a:spcBef>
          <a:spcAft>
            <a:spcPct val="0"/>
          </a:spcAft>
          <a:buClrTx/>
          <a:buSzTx/>
          <a:buFontTx/>
          <a:buNone/>
          <a:tabLst/>
          <a:defRPr kumimoji="0" lang="ar-SA"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1" eaLnBrk="1" fontAlgn="base" latinLnBrk="0" hangingPunct="1">
          <a:lnSpc>
            <a:spcPct val="100000"/>
          </a:lnSpc>
          <a:spcBef>
            <a:spcPct val="0"/>
          </a:spcBef>
          <a:spcAft>
            <a:spcPct val="0"/>
          </a:spcAft>
          <a:buClrTx/>
          <a:buSzTx/>
          <a:buFontTx/>
          <a:buNone/>
          <a:tabLst/>
          <a:defRPr kumimoji="0" lang="ar-SA"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1" eaLnBrk="1" fontAlgn="base" latinLnBrk="0" hangingPunct="1">
          <a:lnSpc>
            <a:spcPct val="100000"/>
          </a:lnSpc>
          <a:spcBef>
            <a:spcPct val="0"/>
          </a:spcBef>
          <a:spcAft>
            <a:spcPct val="0"/>
          </a:spcAft>
          <a:buClrTx/>
          <a:buSzTx/>
          <a:buFontTx/>
          <a:buNone/>
          <a:tabLst/>
          <a:defRPr kumimoji="0" lang="ar-SA"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Concours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Concourse">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65000"/>
                <a:satMod val="300000"/>
              </a:schemeClr>
            </a:gs>
          </a:gsLst>
          <a:path path="circle">
            <a:fillToRect l="65000" b="98000"/>
          </a:path>
        </a:gradFill>
        <a:blipFill>
          <a:blip xmlns:r="http://schemas.openxmlformats.org/officeDocument/2006/relationships" r:embed="rId1">
            <a:duotone>
              <a:schemeClr val="phClr">
                <a:shade val="60000"/>
                <a:satMod val="110000"/>
              </a:schemeClr>
              <a:schemeClr val="phClr">
                <a:tint val="95000"/>
              </a:schemeClr>
            </a:duotone>
          </a:blip>
          <a:tile tx="0" ty="0" sx="50000" sy="50000" flip="none" algn="tl"/>
        </a:blipFill>
      </a:bgFillStyleLst>
    </a:fmtScheme>
  </a:themeElements>
  <a:objectDefaults/>
  <a:extraClrSchemeLst/>
</a:theme>
</file>

<file path=ppt/theme/themeOverride1.xml><?xml version="1.0" encoding="utf-8"?>
<a:themeOverride xmlns:a="http://schemas.openxmlformats.org/drawingml/2006/main">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themeOverride>
</file>

<file path=ppt/theme/themeOverride2.xml><?xml version="1.0" encoding="utf-8"?>
<a:themeOverride xmlns:a="http://schemas.openxmlformats.org/drawingml/2006/main">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themeOverride>
</file>

<file path=ppt/theme/themeOverride3.xml><?xml version="1.0" encoding="utf-8"?>
<a:themeOverride xmlns:a="http://schemas.openxmlformats.org/drawingml/2006/main">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themeOverride>
</file>

<file path=ppt/theme/themeOverride4.xml><?xml version="1.0" encoding="utf-8"?>
<a:themeOverride xmlns:a="http://schemas.openxmlformats.org/drawingml/2006/main">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themeOverride>
</file>

<file path=ppt/theme/themeOverride5.xml><?xml version="1.0" encoding="utf-8"?>
<a:themeOverride xmlns:a="http://schemas.openxmlformats.org/drawingml/2006/main">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4040</TotalTime>
  <Words>2851</Words>
  <Application>Microsoft Office PowerPoint</Application>
  <PresentationFormat>On-screen Show (4:3)</PresentationFormat>
  <Paragraphs>715</Paragraphs>
  <Slides>194</Slides>
  <Notes>33</Notes>
  <HiddenSlides>0</HiddenSlides>
  <MMClips>0</MMClips>
  <ScaleCrop>false</ScaleCrop>
  <HeadingPairs>
    <vt:vector size="8" baseType="variant">
      <vt:variant>
        <vt:lpstr>Fonts Used</vt:lpstr>
      </vt:variant>
      <vt:variant>
        <vt:i4>46</vt:i4>
      </vt:variant>
      <vt:variant>
        <vt:lpstr>Theme</vt:lpstr>
      </vt:variant>
      <vt:variant>
        <vt:i4>36</vt:i4>
      </vt:variant>
      <vt:variant>
        <vt:lpstr>Embedded OLE Servers</vt:lpstr>
      </vt:variant>
      <vt:variant>
        <vt:i4>5</vt:i4>
      </vt:variant>
      <vt:variant>
        <vt:lpstr>Slide Titles</vt:lpstr>
      </vt:variant>
      <vt:variant>
        <vt:i4>194</vt:i4>
      </vt:variant>
    </vt:vector>
  </HeadingPairs>
  <TitlesOfParts>
    <vt:vector size="281" baseType="lpstr">
      <vt:lpstr>Microsoft YaHei UI</vt:lpstr>
      <vt:lpstr>ＭＳ Ｐゴシック</vt:lpstr>
      <vt:lpstr>SimSun</vt:lpstr>
      <vt:lpstr>SimSun</vt:lpstr>
      <vt:lpstr>AGA Arabesque</vt:lpstr>
      <vt:lpstr>AR ESSENCE</vt:lpstr>
      <vt:lpstr>Arabic Typesetting</vt:lpstr>
      <vt:lpstr>Arial</vt:lpstr>
      <vt:lpstr>Arial (Headings)</vt:lpstr>
      <vt:lpstr>Arial Black</vt:lpstr>
      <vt:lpstr>Arial Bold</vt:lpstr>
      <vt:lpstr>Arial Italic</vt:lpstr>
      <vt:lpstr>Arial Narrow</vt:lpstr>
      <vt:lpstr>Bahnschrift Condensed</vt:lpstr>
      <vt:lpstr>Calibri</vt:lpstr>
      <vt:lpstr>Calibri Light</vt:lpstr>
      <vt:lpstr>Cambria</vt:lpstr>
      <vt:lpstr>Candara</vt:lpstr>
      <vt:lpstr>Corbel</vt:lpstr>
      <vt:lpstr>Courier New</vt:lpstr>
      <vt:lpstr>Franklin Gothic Book</vt:lpstr>
      <vt:lpstr>方正舒体</vt:lpstr>
      <vt:lpstr>Georgia</vt:lpstr>
      <vt:lpstr>Helvetica</vt:lpstr>
      <vt:lpstr>Helvetica Neue LT Std 35 Thin</vt:lpstr>
      <vt:lpstr>Helvetica Neue LT Std 55 Roman</vt:lpstr>
      <vt:lpstr>Lucida Sans Unicode</vt:lpstr>
      <vt:lpstr>Microsoft Yi Baiti</vt:lpstr>
      <vt:lpstr>Mongolian Baiti</vt:lpstr>
      <vt:lpstr>-moz-fixed</vt:lpstr>
      <vt:lpstr>Old Antic Outline Shaded</vt:lpstr>
      <vt:lpstr>OpenSymbol</vt:lpstr>
      <vt:lpstr>Perpetua</vt:lpstr>
      <vt:lpstr>Simplified Arabic</vt:lpstr>
      <vt:lpstr>Sitka Display</vt:lpstr>
      <vt:lpstr>Sitka Heading</vt:lpstr>
      <vt:lpstr>Source Sans Pro</vt:lpstr>
      <vt:lpstr>Symbol</vt:lpstr>
      <vt:lpstr>Tahoma</vt:lpstr>
      <vt:lpstr>Times New Roman</vt:lpstr>
      <vt:lpstr>Tw Cen MT</vt:lpstr>
      <vt:lpstr>Verdana</vt:lpstr>
      <vt:lpstr>Wingdings</vt:lpstr>
      <vt:lpstr>Wingdings 2</vt:lpstr>
      <vt:lpstr>Wingdings 3</vt:lpstr>
      <vt:lpstr>ヒラギノ角ゴ ProN W3</vt:lpstr>
      <vt:lpstr>Equity</vt:lpstr>
      <vt:lpstr>Median</vt:lpstr>
      <vt:lpstr>1_Median</vt:lpstr>
      <vt:lpstr>6_Default Design</vt:lpstr>
      <vt:lpstr>7_Default Design</vt:lpstr>
      <vt:lpstr>2_Equity</vt:lpstr>
      <vt:lpstr>1_Default Design</vt:lpstr>
      <vt:lpstr>2_Default Design</vt:lpstr>
      <vt:lpstr>Concourse</vt:lpstr>
      <vt:lpstr>Office Theme</vt:lpstr>
      <vt:lpstr>Office 主题</vt:lpstr>
      <vt:lpstr>Mountain Top</vt:lpstr>
      <vt:lpstr>1_Office 主题</vt:lpstr>
      <vt:lpstr>1_Mountain Top</vt:lpstr>
      <vt:lpstr>7_Symbicort Branded</vt:lpstr>
      <vt:lpstr>2_Office 主题</vt:lpstr>
      <vt:lpstr>3_Office 主题</vt:lpstr>
      <vt:lpstr>2_Median</vt:lpstr>
      <vt:lpstr>3_Median</vt:lpstr>
      <vt:lpstr>4_Median</vt:lpstr>
      <vt:lpstr>Depth</vt:lpstr>
      <vt:lpstr>1_Office Theme</vt:lpstr>
      <vt:lpstr>2_Office Theme</vt:lpstr>
      <vt:lpstr>3_Office Theme</vt:lpstr>
      <vt:lpstr>4_Office Theme</vt:lpstr>
      <vt:lpstr>Pulse</vt:lpstr>
      <vt:lpstr>Module</vt:lpstr>
      <vt:lpstr>1_Concourse</vt:lpstr>
      <vt:lpstr>2_Hb-rich 300</vt:lpstr>
      <vt:lpstr>5_Office Theme</vt:lpstr>
      <vt:lpstr>2_Custom Design</vt:lpstr>
      <vt:lpstr>Civic</vt:lpstr>
      <vt:lpstr>Soaring</vt:lpstr>
      <vt:lpstr>6_Office Theme</vt:lpstr>
      <vt:lpstr>7_Office Theme</vt:lpstr>
      <vt:lpstr>8_Office Theme</vt:lpstr>
      <vt:lpstr>think-cell Slide</vt:lpstr>
      <vt:lpstr>Image</vt:lpstr>
      <vt:lpstr>Photo Editor Photo</vt:lpstr>
      <vt:lpstr>Document</vt:lpstr>
      <vt:lpstr>Clip</vt:lpstr>
      <vt:lpstr>PowerPoint Presentation</vt:lpstr>
      <vt:lpstr>PowerPoint Presentation</vt:lpstr>
      <vt:lpstr>Case study 1 </vt:lpstr>
      <vt:lpstr>Airway diseases Bronchitis bronchiectasis B Asthma COPD Bronchiolitis </vt:lpstr>
      <vt:lpstr>History</vt:lpstr>
      <vt:lpstr>Examination</vt:lpstr>
      <vt:lpstr>PowerPoint Presentation</vt:lpstr>
      <vt:lpstr>PowerPoint Presentation</vt:lpstr>
      <vt:lpstr>PowerPoint Presentation</vt:lpstr>
      <vt:lpstr>Questions</vt:lpstr>
      <vt:lpstr>CX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next investigations diagnosis</vt:lpstr>
      <vt:lpstr>Laboratory Tests for CAP </vt:lpstr>
      <vt:lpstr>CBC</vt:lpstr>
      <vt:lpstr>Questions</vt:lpstr>
      <vt:lpstr>PowerPoint Presentation</vt:lpstr>
      <vt:lpstr>Group I: Outpatients but no Comorbidities </vt:lpstr>
      <vt:lpstr>Group ll:  Outpatient, with Comorbidities</vt:lpstr>
      <vt:lpstr>PowerPoint Presentation</vt:lpstr>
      <vt:lpstr>Diagnosis</vt:lpstr>
      <vt:lpstr>PowerPoint Presentation</vt:lpstr>
      <vt:lpstr>Case study 2 </vt:lpstr>
      <vt:lpstr>PowerPoint Presentation</vt:lpstr>
      <vt:lpstr>PowerPoint Presentation</vt:lpstr>
      <vt:lpstr>PowerPoint Presentation</vt:lpstr>
      <vt:lpstr>PowerPoint Presentation</vt:lpstr>
      <vt:lpstr>What i your diagnosis</vt:lpstr>
      <vt:lpstr> What is the most probable diagnosis ?   a. Bronchial asthma b. COPD c. Bronchiectasis  d. Extrinsic allergic alveolitis  </vt:lpstr>
      <vt:lpstr>PowerPoint Presentation</vt:lpstr>
      <vt:lpstr>PowerPoint Presentation</vt:lpstr>
      <vt:lpstr> All of the following are the main cause of airway obstruction in asthma except:   a. Bronchospasm  B. Mucus Hypersecretion C. Inflammation Of Bronchial Wall D. Extra bronchial compression     </vt:lpstr>
      <vt:lpstr>Asthma: Pathological changes</vt:lpstr>
      <vt:lpstr>PowerPoint Presentation</vt:lpstr>
      <vt:lpstr>PowerPoint Presentation</vt:lpstr>
      <vt:lpstr>PowerPoint Presentation</vt:lpstr>
      <vt:lpstr>PowerPoint Presentation</vt:lpstr>
      <vt:lpstr>  Which is the diagnostic test you will order next for this asthmatic patient?   (a) ABGs  (b) PFTs (PEFR or FEV1)  (c) Pulse oximetry  (d) CXR </vt:lpstr>
      <vt:lpstr>CXR</vt:lpstr>
      <vt:lpstr>  Which is the diagnostic test you will order to confirm diagnosis of asthmatic patient?   (a) ABGs  (b) PFTs (PEFR or FEV1)  (c) Pulse oximetry  (d) CXR </vt:lpstr>
      <vt:lpstr>Obstructive airway defect is characterized on PFT by which one of the following   a. Reduced FEV1/FVC ratio b. Decreased total lung capacity  c. Reduced residual volume  d. Decrease in diffusing capacity </vt:lpstr>
      <vt:lpstr>Diagnostic testing</vt:lpstr>
      <vt:lpstr>PowerPoint Presentation</vt:lpstr>
      <vt:lpstr>Reversibility and variability of Airflow Obstruction</vt:lpstr>
      <vt:lpstr>PowerPoint Presentation</vt:lpstr>
      <vt:lpstr>  Which is the other diagnostic test you will order to this asthmatic patient?   (a) ABGs  (b) PFTs (PEFR or FEV1)  (c) Pulse oximetry  (d) CXR </vt:lpstr>
      <vt:lpstr>PowerPoint Presentation</vt:lpstr>
      <vt:lpstr> Which one of the following is the first-line therapy in the management of an acute asthma attack   a. Steroids b. β2-agonists c. Theophylline d. Antibiotics e. Magnesium sulfate </vt:lpstr>
      <vt:lpstr>PowerPoint Presentation</vt:lpstr>
      <vt:lpstr>PowerPoint Presentation</vt:lpstr>
      <vt:lpstr>PowerPoint Presentation</vt:lpstr>
      <vt:lpstr>  All of the following are accurate indicators of a life threating asthma except:   (a) The presence of wheezing  (b) The use of accessory muscles  (c) The presence of diaphoresis and cyanosis  (d) The presence of a pulsus paradoxus &gt; 12mmHg </vt:lpstr>
      <vt:lpstr>Acute severe asthma</vt:lpstr>
      <vt:lpstr>Life-threatening asthma</vt:lpstr>
      <vt:lpstr> The cornerstone drug of choice for the control of asthmatic patient is:   (a) Inhaled Corticosteroids  (b) Atropine  (c) Inhaled beta-adrenergic agents  (d) Subcutaneous beta-adrenergic agents </vt:lpstr>
      <vt:lpstr>PowerPoint Presentation</vt:lpstr>
      <vt:lpstr>PowerPoint Presentation</vt:lpstr>
      <vt:lpstr>PowerPoint Presentation</vt:lpstr>
      <vt:lpstr>A Lot Going On Beneath The Surfa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Initiative for Asthma (GINA)   What’s new in GINA 2018?</vt:lpstr>
      <vt:lpstr>Step 1 – As-needed  low dose ICS-Formoterol </vt:lpstr>
      <vt:lpstr>case scenario 3 </vt:lpstr>
      <vt:lpstr>PowerPoint Presentation</vt:lpstr>
      <vt:lpstr>PowerPoint Presentation</vt:lpstr>
      <vt:lpstr>PowerPoint Presentation</vt:lpstr>
      <vt:lpstr>PowerPoint Presentation</vt:lpstr>
      <vt:lpstr>What about your diagnosis</vt:lpstr>
      <vt:lpstr>PowerPoint Presentation</vt:lpstr>
      <vt:lpstr>PowerPoint Presentation</vt:lpstr>
      <vt:lpstr>What next step for diagnosis</vt:lpstr>
      <vt:lpstr>PowerPoint Presentation</vt:lpstr>
      <vt:lpstr>PowerPoint Presentation</vt:lpstr>
      <vt:lpstr>PowerPoint Presentation</vt:lpstr>
      <vt:lpstr>Chest X-ray </vt:lpstr>
      <vt:lpstr>Treatment:</vt:lpstr>
      <vt:lpstr>Treatment:</vt:lpstr>
      <vt:lpstr>PowerPoint Presentation</vt:lpstr>
      <vt:lpstr>History </vt:lpstr>
      <vt:lpstr>History </vt:lpstr>
      <vt:lpstr>Examination  </vt:lpstr>
      <vt:lpstr>Examination  </vt:lpstr>
      <vt:lpstr>What is your diagnosis</vt:lpstr>
      <vt:lpstr>Diagnosis   </vt:lpstr>
      <vt:lpstr>What is your differential diagnosis</vt:lpstr>
      <vt:lpstr>Differential Diagnosis   </vt:lpstr>
      <vt:lpstr>What is the first investigation?</vt:lpstr>
      <vt:lpstr>Investigations   </vt:lpstr>
      <vt:lpstr>PowerPoint Presentation</vt:lpstr>
      <vt:lpstr>What are further investigation?</vt:lpstr>
      <vt:lpstr>Investigations   </vt:lpstr>
      <vt:lpstr>After lab result and CXR, What is your diagnosis</vt:lpstr>
      <vt:lpstr>Diagnosis   </vt:lpstr>
      <vt:lpstr>What are further investigation ?</vt:lpstr>
      <vt:lpstr>Further Investigation    </vt:lpstr>
      <vt:lpstr>Further Investigation    </vt:lpstr>
      <vt:lpstr>Tuberculin Testing “Mantoux Test”</vt:lpstr>
      <vt:lpstr>PowerPoint Presentation</vt:lpstr>
      <vt:lpstr>Reading the TST </vt:lpstr>
      <vt:lpstr>PowerPoint Presentation</vt:lpstr>
      <vt:lpstr>PowerPoint Presentation</vt:lpstr>
      <vt:lpstr>PowerPoint Presentation</vt:lpstr>
      <vt:lpstr>PowerPoint Presentation</vt:lpstr>
      <vt:lpstr>Mycobacteria unique cell wall structure </vt:lpstr>
      <vt:lpstr>PowerPoint Presentation</vt:lpstr>
      <vt:lpstr>High risk groups for tuberculosis    </vt:lpstr>
      <vt:lpstr>PowerPoint Presentation</vt:lpstr>
      <vt:lpstr>Activity assessment of  tuberculosis    </vt:lpstr>
      <vt:lpstr>PowerPoint Presentation</vt:lpstr>
      <vt:lpstr>PowerPoint Presentation</vt:lpstr>
      <vt:lpstr>PowerPoint Presentation</vt:lpstr>
      <vt:lpstr>PowerPoint Presentation</vt:lpstr>
      <vt:lpstr>PowerPoint Presentation</vt:lpstr>
      <vt:lpstr>Treatment of  tuberculosis    </vt:lpstr>
      <vt:lpstr>PowerPoint Presentation</vt:lpstr>
      <vt:lpstr>PowerPoint Presentation</vt:lpstr>
      <vt:lpstr>Interpreting PFTs</vt:lpstr>
      <vt:lpstr>PowerPoint Presentation</vt:lpstr>
      <vt:lpstr>PowerPoint Presentation</vt:lpstr>
      <vt:lpstr>PowerPoint Presentation</vt:lpstr>
      <vt:lpstr>PowerPoint Presentation</vt:lpstr>
      <vt:lpstr> A 66 year old female complains of cough after dust exposure </vt:lpstr>
      <vt:lpstr>PowerPoint Presentation</vt:lpstr>
      <vt:lpstr> A 66 year old female complains of cough after dust exposure </vt:lpstr>
      <vt:lpstr>PowerPoint Presentation</vt:lpstr>
      <vt:lpstr>Step4: For a metabolic disturbance, is the respiratory system compensating OK?</vt:lpstr>
      <vt:lpstr>Step4: For a metabolic acidosis, Anion gap?</vt:lpstr>
      <vt:lpstr>PowerPoint Presentation</vt:lpstr>
      <vt:lpstr>   Step 3: For Primary Respiratory disturbance, is it acute or chronic? then Compansation  </vt:lpstr>
      <vt:lpstr>   </vt:lpstr>
      <vt:lpstr>PowerPoint Presentation</vt:lpstr>
      <vt:lpstr>How to com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ergency Chest radiography</dc:title>
  <dc:creator>Dr.Mohamed</dc:creator>
  <cp:lastModifiedBy>Admin</cp:lastModifiedBy>
  <cp:revision>228</cp:revision>
  <dcterms:created xsi:type="dcterms:W3CDTF">2013-04-15T20:44:22Z</dcterms:created>
  <dcterms:modified xsi:type="dcterms:W3CDTF">2024-08-15T07:52:48Z</dcterms:modified>
</cp:coreProperties>
</file>